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48" r:id="rId1"/>
    <p:sldMasterId id="2147483652" r:id="rId2"/>
    <p:sldMasterId id="2147483665" r:id="rId3"/>
  </p:sldMasterIdLst>
  <p:notesMasterIdLst>
    <p:notesMasterId r:id="rId13"/>
  </p:notesMasterIdLst>
  <p:handoutMasterIdLst>
    <p:handoutMasterId r:id="rId14"/>
  </p:handoutMasterIdLst>
  <p:sldIdLst>
    <p:sldId id="256" r:id="rId4"/>
    <p:sldId id="289" r:id="rId5"/>
    <p:sldId id="290" r:id="rId6"/>
    <p:sldId id="291" r:id="rId7"/>
    <p:sldId id="336" r:id="rId8"/>
    <p:sldId id="334" r:id="rId9"/>
    <p:sldId id="335" r:id="rId10"/>
    <p:sldId id="337" r:id="rId11"/>
    <p:sldId id="318" r:id="rId12"/>
  </p:sldIdLst>
  <p:sldSz cx="12192000" cy="6858000"/>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37" roundtripDataSignature="AMtx7mjxBfhQNWyflh/KkozQ5bQpi+z/1w=="/>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8C"/>
    <a:srgbClr val="F091B9"/>
    <a:srgbClr val="4BD2AF"/>
    <a:srgbClr val="2D4182"/>
    <a:srgbClr val="DC4B78"/>
    <a:srgbClr val="F5F0F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186" autoAdjust="0"/>
    <p:restoredTop sz="94660"/>
  </p:normalViewPr>
  <p:slideViewPr>
    <p:cSldViewPr snapToGrid="0">
      <p:cViewPr varScale="1">
        <p:scale>
          <a:sx n="63" d="100"/>
          <a:sy n="63" d="100"/>
        </p:scale>
        <p:origin x="912" y="56"/>
      </p:cViewPr>
      <p:guideLst/>
    </p:cSldViewPr>
  </p:slideViewPr>
  <p:notesTextViewPr>
    <p:cViewPr>
      <p:scale>
        <a:sx n="1" d="1"/>
        <a:sy n="1" d="1"/>
      </p:scale>
      <p:origin x="0" y="0"/>
    </p:cViewPr>
  </p:notesTextViewPr>
  <p:notesViewPr>
    <p:cSldViewPr snapToGrid="0">
      <p:cViewPr varScale="1">
        <p:scale>
          <a:sx n="57" d="100"/>
          <a:sy n="57" d="100"/>
        </p:scale>
        <p:origin x="2832" y="7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notesMaster" Target="notesMasters/notesMaster1.xml"/><Relationship Id="rId39"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38" Type="http://schemas.openxmlformats.org/officeDocument/2006/relationships/presProps" Target="presProps.xml"/><Relationship Id="rId2" Type="http://schemas.openxmlformats.org/officeDocument/2006/relationships/slideMaster" Target="slideMasters/slideMaster2.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37" Type="http://customschemas.google.com/relationships/presentationmetadata" Target="metadata"/><Relationship Id="rId40" Type="http://schemas.openxmlformats.org/officeDocument/2006/relationships/theme" Target="theme/theme1.xml"/><Relationship Id="rId5" Type="http://schemas.openxmlformats.org/officeDocument/2006/relationships/slide" Target="slides/slide2.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3250D12-83C8-4C15-9417-AB231E3ED9E3}" type="doc">
      <dgm:prSet loTypeId="urn:microsoft.com/office/officeart/2008/layout/RadialCluster" loCatId="cycle" qsTypeId="urn:microsoft.com/office/officeart/2005/8/quickstyle/simple1" qsCatId="simple" csTypeId="urn:microsoft.com/office/officeart/2005/8/colors/accent1_2" csCatId="accent1" phldr="1"/>
      <dgm:spPr/>
      <dgm:t>
        <a:bodyPr/>
        <a:lstStyle/>
        <a:p>
          <a:endParaRPr lang="fr-FR"/>
        </a:p>
      </dgm:t>
    </dgm:pt>
    <dgm:pt modelId="{D691F3C2-EC99-409D-8E39-1E2D93730475}">
      <dgm:prSet phldrT="[Texte]" custT="1"/>
      <dgm:spPr>
        <a:solidFill>
          <a:schemeClr val="tx1">
            <a:lumMod val="65000"/>
            <a:lumOff val="35000"/>
          </a:schemeClr>
        </a:solidFill>
      </dgm:spPr>
      <dgm:t>
        <a:bodyPr/>
        <a:lstStyle/>
        <a:p>
          <a:r>
            <a:rPr lang="fr-FR" sz="1600" b="0" dirty="0"/>
            <a:t>Réacteurs</a:t>
          </a:r>
          <a:br>
            <a:rPr lang="fr-FR" sz="1600" b="0" dirty="0"/>
          </a:br>
          <a:r>
            <a:rPr lang="fr-FR" sz="1600" b="0" dirty="0"/>
            <a:t>123</a:t>
          </a:r>
        </a:p>
      </dgm:t>
    </dgm:pt>
    <dgm:pt modelId="{D77579C6-C4C9-4AFB-B713-E7FC27D4DC92}" type="parTrans" cxnId="{779AD3A5-CA78-4AAA-B944-FFB998328013}">
      <dgm:prSet/>
      <dgm:spPr/>
      <dgm:t>
        <a:bodyPr/>
        <a:lstStyle/>
        <a:p>
          <a:endParaRPr lang="fr-FR"/>
        </a:p>
      </dgm:t>
    </dgm:pt>
    <dgm:pt modelId="{789FD249-DAE4-40D5-A2A4-A777F0141F74}" type="sibTrans" cxnId="{779AD3A5-CA78-4AAA-B944-FFB998328013}">
      <dgm:prSet/>
      <dgm:spPr/>
      <dgm:t>
        <a:bodyPr/>
        <a:lstStyle/>
        <a:p>
          <a:endParaRPr lang="fr-FR"/>
        </a:p>
      </dgm:t>
    </dgm:pt>
    <dgm:pt modelId="{482999CB-5F66-48F0-BB88-E5994B980CD9}">
      <dgm:prSet phldrT="[Texte]" custT="1"/>
      <dgm:spPr>
        <a:solidFill>
          <a:schemeClr val="tx1">
            <a:lumMod val="65000"/>
            <a:lumOff val="35000"/>
          </a:schemeClr>
        </a:solidFill>
      </dgm:spPr>
      <dgm:t>
        <a:bodyPr anchor="t" anchorCtr="0"/>
        <a:lstStyle/>
        <a:p>
          <a:r>
            <a:rPr lang="fr-FR" sz="1600" dirty="0"/>
            <a:t>Partis</a:t>
          </a:r>
          <a:endParaRPr lang="fr-FR" sz="1800" dirty="0"/>
        </a:p>
      </dgm:t>
    </dgm:pt>
    <dgm:pt modelId="{C7233CD6-7F84-43E3-A0D1-44790E92D0A8}" type="parTrans" cxnId="{60F11A16-BCC2-4A0F-80FC-A5C3310F19C3}">
      <dgm:prSet/>
      <dgm:spPr/>
      <dgm:t>
        <a:bodyPr/>
        <a:lstStyle/>
        <a:p>
          <a:endParaRPr lang="fr-FR"/>
        </a:p>
      </dgm:t>
    </dgm:pt>
    <dgm:pt modelId="{3CC7AEC8-0D42-40F0-A913-94CE276AA592}" type="sibTrans" cxnId="{60F11A16-BCC2-4A0F-80FC-A5C3310F19C3}">
      <dgm:prSet/>
      <dgm:spPr/>
      <dgm:t>
        <a:bodyPr/>
        <a:lstStyle/>
        <a:p>
          <a:endParaRPr lang="fr-FR"/>
        </a:p>
      </dgm:t>
    </dgm:pt>
    <dgm:pt modelId="{350A5975-B29A-4DB3-AFAF-AFDDD52E9B5A}">
      <dgm:prSet phldrT="[Texte]" custT="1"/>
      <dgm:spPr>
        <a:solidFill>
          <a:schemeClr val="tx1">
            <a:lumMod val="65000"/>
            <a:lumOff val="35000"/>
          </a:schemeClr>
        </a:solidFill>
      </dgm:spPr>
      <dgm:t>
        <a:bodyPr lIns="0" rIns="0" anchor="t" anchorCtr="0"/>
        <a:lstStyle/>
        <a:p>
          <a:r>
            <a:rPr lang="fr-FR" sz="1600" dirty="0"/>
            <a:t>Opinion</a:t>
          </a:r>
        </a:p>
      </dgm:t>
    </dgm:pt>
    <dgm:pt modelId="{3C1C6556-7761-4674-8A82-E471293DEE03}" type="parTrans" cxnId="{8AE4EEB4-21CB-4C28-A06A-7CF65157398C}">
      <dgm:prSet/>
      <dgm:spPr/>
      <dgm:t>
        <a:bodyPr/>
        <a:lstStyle/>
        <a:p>
          <a:endParaRPr lang="fr-FR"/>
        </a:p>
      </dgm:t>
    </dgm:pt>
    <dgm:pt modelId="{215D8B06-44C3-4C7C-8E5A-8BB3FFDCC25C}" type="sibTrans" cxnId="{8AE4EEB4-21CB-4C28-A06A-7CF65157398C}">
      <dgm:prSet/>
      <dgm:spPr/>
      <dgm:t>
        <a:bodyPr/>
        <a:lstStyle/>
        <a:p>
          <a:endParaRPr lang="fr-FR"/>
        </a:p>
      </dgm:t>
    </dgm:pt>
    <dgm:pt modelId="{F836612A-6A34-4CF7-A577-6E6E0C2FBC5A}">
      <dgm:prSet phldrT="[Texte]" custT="1"/>
      <dgm:spPr>
        <a:solidFill>
          <a:schemeClr val="tx1">
            <a:lumMod val="65000"/>
            <a:lumOff val="35000"/>
          </a:schemeClr>
        </a:solidFill>
      </dgm:spPr>
      <dgm:t>
        <a:bodyPr lIns="0" rIns="0"/>
        <a:lstStyle/>
        <a:p>
          <a:r>
            <a:rPr lang="fr-FR" sz="1600" dirty="0"/>
            <a:t>Projets</a:t>
          </a:r>
          <a:br>
            <a:rPr lang="fr-FR" sz="1600" dirty="0"/>
          </a:br>
          <a:r>
            <a:rPr lang="fr-FR" sz="1600" dirty="0"/>
            <a:t>25</a:t>
          </a:r>
        </a:p>
      </dgm:t>
    </dgm:pt>
    <dgm:pt modelId="{121CC207-36EA-4AEC-A846-F166DE9CE5FB}" type="sibTrans" cxnId="{EDE6CC4E-9C7C-41EF-9AB7-2C9A30625A5A}">
      <dgm:prSet/>
      <dgm:spPr/>
      <dgm:t>
        <a:bodyPr/>
        <a:lstStyle/>
        <a:p>
          <a:endParaRPr lang="fr-FR"/>
        </a:p>
      </dgm:t>
    </dgm:pt>
    <dgm:pt modelId="{50649F72-A1D6-4EB5-9EAA-A68C32936884}" type="parTrans" cxnId="{EDE6CC4E-9C7C-41EF-9AB7-2C9A30625A5A}">
      <dgm:prSet/>
      <dgm:spPr/>
      <dgm:t>
        <a:bodyPr/>
        <a:lstStyle/>
        <a:p>
          <a:endParaRPr lang="fr-FR"/>
        </a:p>
      </dgm:t>
    </dgm:pt>
    <dgm:pt modelId="{D90E7126-A6FB-401F-BFC0-23636AF1F0F9}" type="pres">
      <dgm:prSet presAssocID="{E3250D12-83C8-4C15-9417-AB231E3ED9E3}" presName="Name0" presStyleCnt="0">
        <dgm:presLayoutVars>
          <dgm:chMax val="1"/>
          <dgm:chPref val="1"/>
          <dgm:dir/>
          <dgm:animOne val="branch"/>
          <dgm:animLvl val="lvl"/>
        </dgm:presLayoutVars>
      </dgm:prSet>
      <dgm:spPr/>
    </dgm:pt>
    <dgm:pt modelId="{9BEBBFFB-2C5B-46DF-BE72-8A1EACD44B7A}" type="pres">
      <dgm:prSet presAssocID="{D691F3C2-EC99-409D-8E39-1E2D93730475}" presName="singleCycle" presStyleCnt="0"/>
      <dgm:spPr/>
    </dgm:pt>
    <dgm:pt modelId="{0BB4E305-6055-4BE7-BFEE-D09DFEC7A840}" type="pres">
      <dgm:prSet presAssocID="{D691F3C2-EC99-409D-8E39-1E2D93730475}" presName="singleCenter" presStyleLbl="node1" presStyleIdx="0" presStyleCnt="4" custScaleX="139245" custScaleY="114916">
        <dgm:presLayoutVars>
          <dgm:chMax val="7"/>
          <dgm:chPref val="7"/>
        </dgm:presLayoutVars>
      </dgm:prSet>
      <dgm:spPr/>
    </dgm:pt>
    <dgm:pt modelId="{C62BAC32-505E-4ECB-BD57-6C08BF91DBD0}" type="pres">
      <dgm:prSet presAssocID="{50649F72-A1D6-4EB5-9EAA-A68C32936884}" presName="Name56" presStyleLbl="parChTrans1D2" presStyleIdx="0" presStyleCnt="3"/>
      <dgm:spPr/>
    </dgm:pt>
    <dgm:pt modelId="{6116A350-D3D7-4BE9-9A1D-416A810BF2F0}" type="pres">
      <dgm:prSet presAssocID="{F836612A-6A34-4CF7-A577-6E6E0C2FBC5A}" presName="text0" presStyleLbl="node1" presStyleIdx="1" presStyleCnt="4" custScaleX="154681" custScaleY="128591" custRadScaleRad="71589" custRadScaleInc="3013">
        <dgm:presLayoutVars>
          <dgm:bulletEnabled val="1"/>
        </dgm:presLayoutVars>
      </dgm:prSet>
      <dgm:spPr/>
    </dgm:pt>
    <dgm:pt modelId="{1C1A1BA4-CD3C-4466-BF23-98F7FD38A43D}" type="pres">
      <dgm:prSet presAssocID="{C7233CD6-7F84-43E3-A0D1-44790E92D0A8}" presName="Name56" presStyleLbl="parChTrans1D2" presStyleIdx="1" presStyleCnt="3"/>
      <dgm:spPr/>
    </dgm:pt>
    <dgm:pt modelId="{B4F0616A-820F-4125-913E-8FCE3528637C}" type="pres">
      <dgm:prSet presAssocID="{482999CB-5F66-48F0-BB88-E5994B980CD9}" presName="text0" presStyleLbl="node1" presStyleIdx="2" presStyleCnt="4" custScaleX="170739" custScaleY="162660" custRadScaleRad="94829" custRadScaleInc="2951">
        <dgm:presLayoutVars>
          <dgm:bulletEnabled val="1"/>
        </dgm:presLayoutVars>
      </dgm:prSet>
      <dgm:spPr/>
    </dgm:pt>
    <dgm:pt modelId="{5500C2BB-7B86-496A-B0A3-88B69E2156F2}" type="pres">
      <dgm:prSet presAssocID="{3C1C6556-7761-4674-8A82-E471293DEE03}" presName="Name56" presStyleLbl="parChTrans1D2" presStyleIdx="2" presStyleCnt="3"/>
      <dgm:spPr/>
    </dgm:pt>
    <dgm:pt modelId="{7215C5D6-1F7D-4DCF-B55C-287C4F821339}" type="pres">
      <dgm:prSet presAssocID="{350A5975-B29A-4DB3-AFAF-AFDDD52E9B5A}" presName="text0" presStyleLbl="node1" presStyleIdx="3" presStyleCnt="4" custScaleX="173114" custScaleY="159829" custRadScaleRad="89564" custRadScaleInc="-6384">
        <dgm:presLayoutVars>
          <dgm:bulletEnabled val="1"/>
        </dgm:presLayoutVars>
      </dgm:prSet>
      <dgm:spPr/>
    </dgm:pt>
  </dgm:ptLst>
  <dgm:cxnLst>
    <dgm:cxn modelId="{60F11A16-BCC2-4A0F-80FC-A5C3310F19C3}" srcId="{D691F3C2-EC99-409D-8E39-1E2D93730475}" destId="{482999CB-5F66-48F0-BB88-E5994B980CD9}" srcOrd="1" destOrd="0" parTransId="{C7233CD6-7F84-43E3-A0D1-44790E92D0A8}" sibTransId="{3CC7AEC8-0D42-40F0-A913-94CE276AA592}"/>
    <dgm:cxn modelId="{67550E2F-A78B-49FC-8CB7-384F4F8038FC}" type="presOf" srcId="{D691F3C2-EC99-409D-8E39-1E2D93730475}" destId="{0BB4E305-6055-4BE7-BFEE-D09DFEC7A840}" srcOrd="0" destOrd="0" presId="urn:microsoft.com/office/officeart/2008/layout/RadialCluster"/>
    <dgm:cxn modelId="{CA86433B-65C6-4E4C-BE29-9DEEB96515ED}" type="presOf" srcId="{E3250D12-83C8-4C15-9417-AB231E3ED9E3}" destId="{D90E7126-A6FB-401F-BFC0-23636AF1F0F9}" srcOrd="0" destOrd="0" presId="urn:microsoft.com/office/officeart/2008/layout/RadialCluster"/>
    <dgm:cxn modelId="{A858C25B-7517-432B-AECE-65EB3C9FD25A}" type="presOf" srcId="{3C1C6556-7761-4674-8A82-E471293DEE03}" destId="{5500C2BB-7B86-496A-B0A3-88B69E2156F2}" srcOrd="0" destOrd="0" presId="urn:microsoft.com/office/officeart/2008/layout/RadialCluster"/>
    <dgm:cxn modelId="{EDE6CC4E-9C7C-41EF-9AB7-2C9A30625A5A}" srcId="{D691F3C2-EC99-409D-8E39-1E2D93730475}" destId="{F836612A-6A34-4CF7-A577-6E6E0C2FBC5A}" srcOrd="0" destOrd="0" parTransId="{50649F72-A1D6-4EB5-9EAA-A68C32936884}" sibTransId="{121CC207-36EA-4AEC-A846-F166DE9CE5FB}"/>
    <dgm:cxn modelId="{A197A87C-2D86-488C-9A12-F0BA2B951595}" type="presOf" srcId="{350A5975-B29A-4DB3-AFAF-AFDDD52E9B5A}" destId="{7215C5D6-1F7D-4DCF-B55C-287C4F821339}" srcOrd="0" destOrd="0" presId="urn:microsoft.com/office/officeart/2008/layout/RadialCluster"/>
    <dgm:cxn modelId="{9FA8D391-B85F-4F6A-A4F6-75554B57583A}" type="presOf" srcId="{F836612A-6A34-4CF7-A577-6E6E0C2FBC5A}" destId="{6116A350-D3D7-4BE9-9A1D-416A810BF2F0}" srcOrd="0" destOrd="0" presId="urn:microsoft.com/office/officeart/2008/layout/RadialCluster"/>
    <dgm:cxn modelId="{779AD3A5-CA78-4AAA-B944-FFB998328013}" srcId="{E3250D12-83C8-4C15-9417-AB231E3ED9E3}" destId="{D691F3C2-EC99-409D-8E39-1E2D93730475}" srcOrd="0" destOrd="0" parTransId="{D77579C6-C4C9-4AFB-B713-E7FC27D4DC92}" sibTransId="{789FD249-DAE4-40D5-A2A4-A777F0141F74}"/>
    <dgm:cxn modelId="{8AE4EEB4-21CB-4C28-A06A-7CF65157398C}" srcId="{D691F3C2-EC99-409D-8E39-1E2D93730475}" destId="{350A5975-B29A-4DB3-AFAF-AFDDD52E9B5A}" srcOrd="2" destOrd="0" parTransId="{3C1C6556-7761-4674-8A82-E471293DEE03}" sibTransId="{215D8B06-44C3-4C7C-8E5A-8BB3FFDCC25C}"/>
    <dgm:cxn modelId="{13AD0DBB-D383-4392-93A4-E531DFF1D7D0}" type="presOf" srcId="{50649F72-A1D6-4EB5-9EAA-A68C32936884}" destId="{C62BAC32-505E-4ECB-BD57-6C08BF91DBD0}" srcOrd="0" destOrd="0" presId="urn:microsoft.com/office/officeart/2008/layout/RadialCluster"/>
    <dgm:cxn modelId="{86D301D4-4371-4539-A47F-780545F1E0A3}" type="presOf" srcId="{482999CB-5F66-48F0-BB88-E5994B980CD9}" destId="{B4F0616A-820F-4125-913E-8FCE3528637C}" srcOrd="0" destOrd="0" presId="urn:microsoft.com/office/officeart/2008/layout/RadialCluster"/>
    <dgm:cxn modelId="{60D624D9-A0C1-4114-B338-CF9AE1E1FB13}" type="presOf" srcId="{C7233CD6-7F84-43E3-A0D1-44790E92D0A8}" destId="{1C1A1BA4-CD3C-4466-BF23-98F7FD38A43D}" srcOrd="0" destOrd="0" presId="urn:microsoft.com/office/officeart/2008/layout/RadialCluster"/>
    <dgm:cxn modelId="{4F0E7E04-F541-4B22-9418-A4A9A0148726}" type="presParOf" srcId="{D90E7126-A6FB-401F-BFC0-23636AF1F0F9}" destId="{9BEBBFFB-2C5B-46DF-BE72-8A1EACD44B7A}" srcOrd="0" destOrd="0" presId="urn:microsoft.com/office/officeart/2008/layout/RadialCluster"/>
    <dgm:cxn modelId="{A8B88EC7-91DB-4DD0-A921-06D35F91AB19}" type="presParOf" srcId="{9BEBBFFB-2C5B-46DF-BE72-8A1EACD44B7A}" destId="{0BB4E305-6055-4BE7-BFEE-D09DFEC7A840}" srcOrd="0" destOrd="0" presId="urn:microsoft.com/office/officeart/2008/layout/RadialCluster"/>
    <dgm:cxn modelId="{CF0EE642-D656-4D4D-8C6F-28CEDA61D46E}" type="presParOf" srcId="{9BEBBFFB-2C5B-46DF-BE72-8A1EACD44B7A}" destId="{C62BAC32-505E-4ECB-BD57-6C08BF91DBD0}" srcOrd="1" destOrd="0" presId="urn:microsoft.com/office/officeart/2008/layout/RadialCluster"/>
    <dgm:cxn modelId="{8C6F34ED-5E23-4B7F-B228-D4CBAA0BB4F4}" type="presParOf" srcId="{9BEBBFFB-2C5B-46DF-BE72-8A1EACD44B7A}" destId="{6116A350-D3D7-4BE9-9A1D-416A810BF2F0}" srcOrd="2" destOrd="0" presId="urn:microsoft.com/office/officeart/2008/layout/RadialCluster"/>
    <dgm:cxn modelId="{FC50FFA5-1565-44DF-8337-6C7A6E16150E}" type="presParOf" srcId="{9BEBBFFB-2C5B-46DF-BE72-8A1EACD44B7A}" destId="{1C1A1BA4-CD3C-4466-BF23-98F7FD38A43D}" srcOrd="3" destOrd="0" presId="urn:microsoft.com/office/officeart/2008/layout/RadialCluster"/>
    <dgm:cxn modelId="{4C976AEA-BC1D-4D5F-893A-DFECD4A3B17A}" type="presParOf" srcId="{9BEBBFFB-2C5B-46DF-BE72-8A1EACD44B7A}" destId="{B4F0616A-820F-4125-913E-8FCE3528637C}" srcOrd="4" destOrd="0" presId="urn:microsoft.com/office/officeart/2008/layout/RadialCluster"/>
    <dgm:cxn modelId="{7EE3FE5A-80C6-4A55-85EE-021C5DFEFA0D}" type="presParOf" srcId="{9BEBBFFB-2C5B-46DF-BE72-8A1EACD44B7A}" destId="{5500C2BB-7B86-496A-B0A3-88B69E2156F2}" srcOrd="5" destOrd="0" presId="urn:microsoft.com/office/officeart/2008/layout/RadialCluster"/>
    <dgm:cxn modelId="{016CE25F-53A6-41B8-9343-79D592061131}" type="presParOf" srcId="{9BEBBFFB-2C5B-46DF-BE72-8A1EACD44B7A}" destId="{7215C5D6-1F7D-4DCF-B55C-287C4F821339}" srcOrd="6" destOrd="0" presId="urn:microsoft.com/office/officeart/2008/layout/RadialCluster"/>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B4E305-6055-4BE7-BFEE-D09DFEC7A840}">
      <dsp:nvSpPr>
        <dsp:cNvPr id="0" name=""/>
        <dsp:cNvSpPr/>
      </dsp:nvSpPr>
      <dsp:spPr>
        <a:xfrm>
          <a:off x="734697" y="900778"/>
          <a:ext cx="883840" cy="729415"/>
        </a:xfrm>
        <a:prstGeom prst="roundRect">
          <a:avLst/>
        </a:prstGeom>
        <a:solidFill>
          <a:schemeClr val="tx1">
            <a:lumMod val="65000"/>
            <a:lumOff val="3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40640" rIns="40640" bIns="40640" numCol="1" spcCol="1270" anchor="ctr" anchorCtr="0">
          <a:noAutofit/>
        </a:bodyPr>
        <a:lstStyle/>
        <a:p>
          <a:pPr marL="0" lvl="0" indent="0" algn="ctr" defTabSz="711200">
            <a:lnSpc>
              <a:spcPct val="90000"/>
            </a:lnSpc>
            <a:spcBef>
              <a:spcPct val="0"/>
            </a:spcBef>
            <a:spcAft>
              <a:spcPct val="35000"/>
            </a:spcAft>
            <a:buNone/>
          </a:pPr>
          <a:r>
            <a:rPr lang="fr-FR" sz="1600" b="0" kern="1200" dirty="0"/>
            <a:t>Réacteurs</a:t>
          </a:r>
          <a:br>
            <a:rPr lang="fr-FR" sz="1600" b="0" kern="1200" dirty="0"/>
          </a:br>
          <a:r>
            <a:rPr lang="fr-FR" sz="1600" b="0" kern="1200" dirty="0"/>
            <a:t>123</a:t>
          </a:r>
        </a:p>
      </dsp:txBody>
      <dsp:txXfrm>
        <a:off x="770304" y="936385"/>
        <a:ext cx="812626" cy="658201"/>
      </dsp:txXfrm>
    </dsp:sp>
    <dsp:sp modelId="{C62BAC32-505E-4ECB-BD57-6C08BF91DBD0}">
      <dsp:nvSpPr>
        <dsp:cNvPr id="0" name=""/>
        <dsp:cNvSpPr/>
      </dsp:nvSpPr>
      <dsp:spPr>
        <a:xfrm rot="16308468">
          <a:off x="1159214" y="870937"/>
          <a:ext cx="59712" cy="0"/>
        </a:xfrm>
        <a:custGeom>
          <a:avLst/>
          <a:gdLst/>
          <a:ahLst/>
          <a:cxnLst/>
          <a:rect l="0" t="0" r="0" b="0"/>
          <a:pathLst>
            <a:path>
              <a:moveTo>
                <a:pt x="0" y="0"/>
              </a:moveTo>
              <a:lnTo>
                <a:pt x="59712"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116A350-D3D7-4BE9-9A1D-416A810BF2F0}">
      <dsp:nvSpPr>
        <dsp:cNvPr id="0" name=""/>
        <dsp:cNvSpPr/>
      </dsp:nvSpPr>
      <dsp:spPr>
        <a:xfrm>
          <a:off x="869733" y="294231"/>
          <a:ext cx="657818" cy="546864"/>
        </a:xfrm>
        <a:prstGeom prst="roundRect">
          <a:avLst/>
        </a:prstGeom>
        <a:solidFill>
          <a:schemeClr val="tx1">
            <a:lumMod val="65000"/>
            <a:lumOff val="3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40640" rIns="0" bIns="40640" numCol="1" spcCol="1270" anchor="ctr" anchorCtr="0">
          <a:noAutofit/>
        </a:bodyPr>
        <a:lstStyle/>
        <a:p>
          <a:pPr marL="0" lvl="0" indent="0" algn="ctr" defTabSz="711200">
            <a:lnSpc>
              <a:spcPct val="90000"/>
            </a:lnSpc>
            <a:spcBef>
              <a:spcPct val="0"/>
            </a:spcBef>
            <a:spcAft>
              <a:spcPct val="35000"/>
            </a:spcAft>
            <a:buNone/>
          </a:pPr>
          <a:r>
            <a:rPr lang="fr-FR" sz="1600" kern="1200" dirty="0"/>
            <a:t>Projets</a:t>
          </a:r>
          <a:br>
            <a:rPr lang="fr-FR" sz="1600" kern="1200" dirty="0"/>
          </a:br>
          <a:r>
            <a:rPr lang="fr-FR" sz="1600" kern="1200" dirty="0"/>
            <a:t>25</a:t>
          </a:r>
        </a:p>
      </dsp:txBody>
      <dsp:txXfrm>
        <a:off x="896429" y="320927"/>
        <a:ext cx="604426" cy="493472"/>
      </dsp:txXfrm>
    </dsp:sp>
    <dsp:sp modelId="{1C1A1BA4-CD3C-4466-BF23-98F7FD38A43D}">
      <dsp:nvSpPr>
        <dsp:cNvPr id="0" name=""/>
        <dsp:cNvSpPr/>
      </dsp:nvSpPr>
      <dsp:spPr>
        <a:xfrm rot="12706236">
          <a:off x="1598159" y="1533375"/>
          <a:ext cx="22029" cy="0"/>
        </a:xfrm>
        <a:custGeom>
          <a:avLst/>
          <a:gdLst/>
          <a:ahLst/>
          <a:cxnLst/>
          <a:rect l="0" t="0" r="0" b="0"/>
          <a:pathLst>
            <a:path>
              <a:moveTo>
                <a:pt x="0" y="0"/>
              </a:moveTo>
              <a:lnTo>
                <a:pt x="22029"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4F0616A-820F-4125-913E-8FCE3528637C}">
      <dsp:nvSpPr>
        <dsp:cNvPr id="0" name=""/>
        <dsp:cNvSpPr/>
      </dsp:nvSpPr>
      <dsp:spPr>
        <a:xfrm>
          <a:off x="1599809" y="1406545"/>
          <a:ext cx="726108" cy="691751"/>
        </a:xfrm>
        <a:prstGeom prst="roundRect">
          <a:avLst/>
        </a:prstGeom>
        <a:solidFill>
          <a:schemeClr val="tx1">
            <a:lumMod val="65000"/>
            <a:lumOff val="3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40640" rIns="40640" bIns="40640" numCol="1" spcCol="1270" anchor="t" anchorCtr="0">
          <a:noAutofit/>
        </a:bodyPr>
        <a:lstStyle/>
        <a:p>
          <a:pPr marL="0" lvl="0" indent="0" algn="ctr" defTabSz="711200">
            <a:lnSpc>
              <a:spcPct val="90000"/>
            </a:lnSpc>
            <a:spcBef>
              <a:spcPct val="0"/>
            </a:spcBef>
            <a:spcAft>
              <a:spcPct val="35000"/>
            </a:spcAft>
            <a:buNone/>
          </a:pPr>
          <a:r>
            <a:rPr lang="fr-FR" sz="1600" kern="1200" dirty="0"/>
            <a:t>Partis</a:t>
          </a:r>
          <a:endParaRPr lang="fr-FR" sz="1800" kern="1200" dirty="0"/>
        </a:p>
      </dsp:txBody>
      <dsp:txXfrm>
        <a:off x="1633578" y="1440314"/>
        <a:ext cx="658570" cy="624213"/>
      </dsp:txXfrm>
    </dsp:sp>
    <dsp:sp modelId="{5500C2BB-7B86-496A-B0A3-88B69E2156F2}">
      <dsp:nvSpPr>
        <dsp:cNvPr id="0" name=""/>
        <dsp:cNvSpPr/>
      </dsp:nvSpPr>
      <dsp:spPr>
        <a:xfrm rot="19570176">
          <a:off x="726092" y="1533368"/>
          <a:ext cx="101652" cy="0"/>
        </a:xfrm>
        <a:custGeom>
          <a:avLst/>
          <a:gdLst/>
          <a:ahLst/>
          <a:cxnLst/>
          <a:rect l="0" t="0" r="0" b="0"/>
          <a:pathLst>
            <a:path>
              <a:moveTo>
                <a:pt x="0" y="0"/>
              </a:moveTo>
              <a:lnTo>
                <a:pt x="101652"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215C5D6-1F7D-4DCF-B55C-287C4F821339}">
      <dsp:nvSpPr>
        <dsp:cNvPr id="0" name=""/>
        <dsp:cNvSpPr/>
      </dsp:nvSpPr>
      <dsp:spPr>
        <a:xfrm>
          <a:off x="82930" y="1411923"/>
          <a:ext cx="736209" cy="679711"/>
        </a:xfrm>
        <a:prstGeom prst="roundRect">
          <a:avLst/>
        </a:prstGeom>
        <a:solidFill>
          <a:schemeClr val="tx1">
            <a:lumMod val="65000"/>
            <a:lumOff val="3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40640" rIns="0" bIns="40640" numCol="1" spcCol="1270" anchor="t" anchorCtr="0">
          <a:noAutofit/>
        </a:bodyPr>
        <a:lstStyle/>
        <a:p>
          <a:pPr marL="0" lvl="0" indent="0" algn="ctr" defTabSz="711200">
            <a:lnSpc>
              <a:spcPct val="90000"/>
            </a:lnSpc>
            <a:spcBef>
              <a:spcPct val="0"/>
            </a:spcBef>
            <a:spcAft>
              <a:spcPct val="35000"/>
            </a:spcAft>
            <a:buNone/>
          </a:pPr>
          <a:r>
            <a:rPr lang="fr-FR" sz="1600" kern="1200" dirty="0"/>
            <a:t>Opinion</a:t>
          </a:r>
        </a:p>
      </dsp:txBody>
      <dsp:txXfrm>
        <a:off x="116111" y="1445104"/>
        <a:ext cx="669847" cy="613349"/>
      </dsp:txXfrm>
    </dsp:sp>
  </dsp:spTree>
</dsp:drawing>
</file>

<file path=ppt/diagrams/layout1.xml><?xml version="1.0" encoding="utf-8"?>
<dgm:layoutDef xmlns:dgm="http://schemas.openxmlformats.org/drawingml/2006/diagram" xmlns:a="http://schemas.openxmlformats.org/drawingml/2006/main" uniqueId="urn:microsoft.com/office/officeart/2008/layout/RadialCluster">
  <dgm:title val=""/>
  <dgm:desc val=""/>
  <dgm:catLst>
    <dgm:cat type="relationship" pri="19500"/>
    <dgm:cat type="cycle" pri="15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useDef="1">
    <dgm:dataModel>
      <dgm:ptLst/>
      <dgm:bg/>
      <dgm:whole/>
    </dgm:dataModel>
  </dgm:styleData>
  <dgm:clrData useDef="1">
    <dgm:dataModel>
      <dgm:ptLst/>
      <dgm:bg/>
      <dgm:whole/>
    </dgm:dataModel>
  </dgm:clrData>
  <dgm:layoutNode name="Name0">
    <dgm:varLst>
      <dgm:chMax val="1"/>
      <dgm:chPref val="1"/>
      <dgm:dir/>
      <dgm:animOne val="branch"/>
      <dgm:animLvl val="lvl"/>
    </dgm:varLst>
    <dgm:alg type="composite">
      <dgm:param type="ar" val="1.00"/>
    </dgm:alg>
    <dgm:shape xmlns:r="http://schemas.openxmlformats.org/officeDocument/2006/relationships" r:blip="">
      <dgm:adjLst/>
    </dgm:shape>
    <dgm:choose name="Name1">
      <dgm:if name="Name2" func="var" arg="dir" op="equ" val="norm">
        <dgm:choose name="Name3">
          <dgm:if name="Name4" axis="ch ch" ptType="node node" cnt="1 0" func="cnt" op="equ" val="1">
            <dgm:constrLst>
              <dgm:constr type="l" for="ch" forName="textCenter"/>
              <dgm:constr type="ctrY" for="ch" forName="textCenter" refType="h" fact="0.5"/>
              <dgm:constr type="w" for="ch" forName="textCenter" refType="w" fact="0.32"/>
              <dgm:constr type="h" for="ch" forName="textCenter" refType="w" refFor="ch" refForName="textCenter"/>
              <dgm:constr type="r" for="ch" forName="cycle_1" refType="w"/>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5" axis="ch ch" ptType="node node" cnt="1 0"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6" axis="ch ch" ptType="node node" cnt="1 0" func="cnt" op="equ" val="3">
            <dgm:choose name="Name7">
              <dgm:if name="Name8" axis="ch ch ch" ptType="node node node" st="1 2 0" cnt="1 1 0" func="cnt" op="equ" val="1">
                <dgm:choose name="Name9">
                  <dgm:if name="Name10"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12">
                <dgm:choose name="Name13">
                  <dgm:if name="Name14"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5">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16" axis="ch ch" ptType="node node" cnt="1 0"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r" for="ch" forName="cycle_2" refType="w"/>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l" for="ch" forName="cycle_4"/>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17" axis="ch ch" ptType="node node" cnt="1 0"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24"/>
              <dgm:constr type="w" for="ch" forName="cycle_2" refType="w" fact="0.33"/>
              <dgm:constr type="h" for="ch" forName="cycle_2" refType="w" refFor="ch" refForName="cycle_2"/>
              <dgm:constr type="r" for="ch" forName="cycle_3" refType="w" fact="0.89"/>
              <dgm:constr type="b" for="ch" forName="cycle_3" refType="h"/>
              <dgm:constr type="w" for="ch" forName="cycle_3" refType="w" fact="0.33"/>
              <dgm:constr type="h" for="ch" forName="cycle_3" refType="w" refFor="ch" refForName="cycle_3"/>
              <dgm:constr type="l" for="ch" forName="cycle_4" refType="w" fact="0.11"/>
              <dgm:constr type="b" for="ch" forName="cycle_4" refType="h"/>
              <dgm:constr type="w" for="ch" forName="cycle_4" refType="w" fact="0.33"/>
              <dgm:constr type="h" for="ch" forName="cycle_4" refType="w" refFor="ch" refForName="cycle_4"/>
              <dgm:constr type="l" for="ch" forName="cycle_5"/>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18" axis="ch ch" ptType="node node" cnt="1 0"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17"/>
              <dgm:constr type="w" for="ch" forName="cycle_2" refType="w" fact="0.33"/>
              <dgm:constr type="h" for="ch" forName="cycle_2" refType="w" refFor="ch" refForName="cycle_2"/>
              <dgm:constr type="r" for="ch" forName="cycle_3" refType="w"/>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l" for="ch" forName="cycle_5"/>
              <dgm:constr type="b" for="ch" forName="cycle_5" refType="h" fact="0.83"/>
              <dgm:constr type="w" for="ch" forName="cycle_5" refType="w" fact="0.33"/>
              <dgm:constr type="h" for="ch" forName="cycle_5" refType="w" refFor="ch" refForName="cycle_5"/>
              <dgm:constr type="l" for="ch" forName="cycle_6"/>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19">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r" for="ch" forName="cycle_2" refType="w" fact="0.938"/>
              <dgm:constr type="t" for="ch" forName="cycle_2" refType="h" fact="0.141"/>
              <dgm:constr type="w" for="ch" forName="cycle_2" refType="w" fact="0.263"/>
              <dgm:constr type="h" for="ch" forName="cycle_2" refType="w" refFor="ch" refForName="cycle_2"/>
              <dgm:constr type="r" for="ch" forName="cycle_3" refType="w"/>
              <dgm:constr type="b" for="ch" forName="cycle_3" refType="h" fact="0.74"/>
              <dgm:constr type="w" for="ch" forName="cycle_3" refType="w" fact="0.263"/>
              <dgm:constr type="h" for="ch" forName="cycle_3" refType="w" refFor="ch" refForName="cycle_3"/>
              <dgm:constr type="r" for="ch" forName="cycle_4" refType="w" fact="0.8"/>
              <dgm:constr type="b" for="ch" forName="cycle_4" refType="h"/>
              <dgm:constr type="w" for="ch" forName="cycle_4" refType="w" fact="0.263"/>
              <dgm:constr type="h" for="ch" forName="cycle_4" refType="w" refFor="ch" refForName="cycle_4"/>
              <dgm:constr type="l" for="ch" forName="cycle_5" refType="w" fact="0.2"/>
              <dgm:constr type="b" for="ch" forName="cycle_5" refType="h"/>
              <dgm:constr type="w" for="ch" forName="cycle_5" refType="w" fact="0.263"/>
              <dgm:constr type="h" for="ch" forName="cycle_5" refType="w" refFor="ch" refForName="cycle_5"/>
              <dgm:constr type="l" for="ch" forName="cycle_6"/>
              <dgm:constr type="b" for="ch" forName="cycle_6" refType="h" fact="0.74"/>
              <dgm:constr type="w" for="ch" forName="cycle_6" refType="w" fact="0.263"/>
              <dgm:constr type="h" for="ch" forName="cycle_6" refType="w" refFor="ch" refForName="cycle_6"/>
              <dgm:constr type="l" for="ch" forName="cycle_7" refType="w" fact="0.062"/>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if>
      <dgm:else name="Name20">
        <dgm:choose name="Name21">
          <dgm:if name="Name22" axis="ch ch" ptType="node node" func="cnt" op="equ" val="1">
            <dgm:constrLst>
              <dgm:constr type="r" for="ch" forName="textCenter" refType="w"/>
              <dgm:constr type="ctrY" for="ch" forName="textCenter" refType="h" fact="0.5"/>
              <dgm:constr type="w" for="ch" forName="textCenter" refType="w" fact="0.32"/>
              <dgm:constr type="h" for="ch" forName="textCenter" refType="w" refFor="ch" refForName="textCenter"/>
              <dgm:constr type="l" for="ch" forName="cycle_1"/>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23" axis="ch ch" ptType="node node"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24" axis="ch ch" ptType="node node" func="cnt" op="equ" val="3">
            <dgm:choose name="Name25">
              <dgm:if name="Name26" axis="ch ch ch" ptType="node node node" st="1 2 0" cnt="1 1 0" func="cnt" op="equ" val="1">
                <dgm:choose name="Name27">
                  <dgm:if name="Name28"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29">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30">
                <dgm:choose name="Name31">
                  <dgm:if name="Name32"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33">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34" axis="ch ch" ptType="node node"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l" for="ch" forName="cycle_2"/>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r" for="ch" forName="cycle_4" refType="w"/>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35" axis="ch ch" ptType="node node"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24"/>
              <dgm:constr type="w" for="ch" forName="cycle_2" refType="w" fact="0.33"/>
              <dgm:constr type="h" for="ch" forName="cycle_2" refType="w" refFor="ch" refForName="cycle_2"/>
              <dgm:constr type="l" for="ch" forName="cycle_3" refType="w" fact="0.11"/>
              <dgm:constr type="b" for="ch" forName="cycle_3" refType="h"/>
              <dgm:constr type="w" for="ch" forName="cycle_3" refType="w" fact="0.33"/>
              <dgm:constr type="h" for="ch" forName="cycle_3" refType="w" refFor="ch" refForName="cycle_3"/>
              <dgm:constr type="r" for="ch" forName="cycle_4" refType="w" fact="0.89"/>
              <dgm:constr type="b" for="ch" forName="cycle_4" refType="h"/>
              <dgm:constr type="w" for="ch" forName="cycle_4" refType="w" fact="0.33"/>
              <dgm:constr type="h" for="ch" forName="cycle_4" refType="w" refFor="ch" refForName="cycle_4"/>
              <dgm:constr type="r" for="ch" forName="cycle_5" refType="w"/>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36" axis="ch ch" ptType="node node"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17"/>
              <dgm:constr type="w" for="ch" forName="cycle_2" refType="w" fact="0.33"/>
              <dgm:constr type="h" for="ch" forName="cycle_2" refType="w" refFor="ch" refForName="cycle_2"/>
              <dgm:constr type="l" for="ch" forName="cycle_3"/>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r" for="ch" forName="cycle_5" refType="w"/>
              <dgm:constr type="b" for="ch" forName="cycle_5" refType="h" fact="0.83"/>
              <dgm:constr type="w" for="ch" forName="cycle_5" refType="w" fact="0.33"/>
              <dgm:constr type="h" for="ch" forName="cycle_5" refType="w" refFor="ch" refForName="cycle_5"/>
              <dgm:constr type="r" for="ch" forName="cycle_6" refType="w"/>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37">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l" for="ch" forName="cycle_2" refType="w" fact="0.062"/>
              <dgm:constr type="t" for="ch" forName="cycle_2" refType="h" fact="0.141"/>
              <dgm:constr type="w" for="ch" forName="cycle_2" refType="w" fact="0.263"/>
              <dgm:constr type="h" for="ch" forName="cycle_2" refType="w" refFor="ch" refForName="cycle_2"/>
              <dgm:constr type="l" for="ch" forName="cycle_3"/>
              <dgm:constr type="b" for="ch" forName="cycle_3" refType="h" fact="0.74"/>
              <dgm:constr type="w" for="ch" forName="cycle_3" refType="w" fact="0.263"/>
              <dgm:constr type="h" for="ch" forName="cycle_3" refType="w" refFor="ch" refForName="cycle_3"/>
              <dgm:constr type="l" for="ch" forName="cycle_4" refType="w" fact="0.2"/>
              <dgm:constr type="b" for="ch" forName="cycle_4" refType="h"/>
              <dgm:constr type="w" for="ch" forName="cycle_4" refType="w" fact="0.263"/>
              <dgm:constr type="h" for="ch" forName="cycle_4" refType="w" refFor="ch" refForName="cycle_4"/>
              <dgm:constr type="r" for="ch" forName="cycle_5" refType="w" fact="0.8"/>
              <dgm:constr type="b" for="ch" forName="cycle_5" refType="h"/>
              <dgm:constr type="w" for="ch" forName="cycle_5" refType="w" fact="0.263"/>
              <dgm:constr type="h" for="ch" forName="cycle_5" refType="w" refFor="ch" refForName="cycle_5"/>
              <dgm:constr type="r" for="ch" forName="cycle_6" refType="w"/>
              <dgm:constr type="b" for="ch" forName="cycle_6" refType="h" fact="0.74"/>
              <dgm:constr type="w" for="ch" forName="cycle_6" refType="w" fact="0.263"/>
              <dgm:constr type="h" for="ch" forName="cycle_6" refType="w" refFor="ch" refForName="cycle_6"/>
              <dgm:constr type="r" for="ch" forName="cycle_7" refType="w" fact="0.938"/>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else>
    </dgm:choose>
    <dgm:forEach name="Name38" axis="ch" ptType="node" cnt="1">
      <dgm:choose name="Name39">
        <dgm:if name="Name40" axis="des" func="maxDepth" op="lte" val="1">
          <dgm:layoutNode name="singleCycle">
            <dgm:choose name="Name41">
              <dgm:if name="Name42" axis="ch" ptType="node" func="cnt" op="equ" val="1">
                <dgm:choose name="Name43">
                  <dgm:if name="Name44" func="var" arg="dir" op="equ" val="norm">
                    <dgm:alg type="cycle">
                      <dgm:param type="stAng" val="90"/>
                      <dgm:param type="ctrShpMap" val="fNode"/>
                    </dgm:alg>
                  </dgm:if>
                  <dgm:else name="Name45">
                    <dgm:alg type="cycle">
                      <dgm:param type="stAng" val="-90"/>
                      <dgm:param type="spanAng" val="-360"/>
                      <dgm:param type="ctrShpMap" val="fNode"/>
                    </dgm:alg>
                  </dgm:else>
                </dgm:choose>
              </dgm:if>
              <dgm:else name="Name46">
                <dgm:choose name="Name47">
                  <dgm:if name="Name48" func="var" arg="dir" op="equ" val="norm">
                    <dgm:alg type="cycle">
                      <dgm:param type="ctrShpMap" val="fNode"/>
                    </dgm:alg>
                  </dgm:if>
                  <dgm:else name="Name49">
                    <dgm:alg type="cycle">
                      <dgm:param type="spanAng" val="-360"/>
                      <dgm:param type="ctrShpMap" val="fNode"/>
                    </dgm:alg>
                  </dgm:else>
                </dgm:choose>
              </dgm:else>
            </dgm:choose>
            <dgm:shape xmlns:r="http://schemas.openxmlformats.org/officeDocument/2006/relationships" r:blip="">
              <dgm:adjLst/>
            </dgm:shape>
            <dgm:presOf/>
            <dgm:choose name="Name50">
              <dgm:if name="Name51" axis="ch" ptType="node" func="cnt" op="equ" val="0">
                <dgm:constrLst>
                  <dgm:constr type="w" for="ch" forName="singleCenter" refType="w"/>
                  <dgm:constr type="h" for="ch" forName="singleCenter" refType="w" refFor="ch" refForName="singleCenter"/>
                </dgm:constrLst>
              </dgm:if>
              <dgm:if name="Name52" axis="ch" ptType="node" func="cnt" op="equ" val="1">
                <dgm:constrLst>
                  <dgm:constr type="w" for="ch" forName="singleCenter" refType="w" fact="0.5"/>
                  <dgm:constr type="h" for="ch" forName="singleCenter" refType="w" refFor="ch" refForName="singleCenter"/>
                  <dgm:constr type="userS" for="ch" ptType="node" refType="w" refFor="ch" refForName="singleCenter" fact="0.67"/>
                </dgm:constrLst>
              </dgm:if>
              <dgm:else name="Name53">
                <dgm:constrLst>
                  <dgm:constr type="w" for="ch" forName="singleCenter" refType="w" fact="0.3"/>
                  <dgm:constr type="h" for="ch" forName="singleCenter" refType="w" refFor="ch" refForName="singleCenter"/>
                  <dgm:constr type="userS" for="ch" ptType="node" refType="w" refFor="ch" refForName="singleCenter" fact="0.67"/>
                </dgm:constrLst>
              </dgm:else>
            </dgm:choose>
            <dgm:layoutNode name="singleCenter" styleLbl="node1">
              <dgm:varLst>
                <dgm:chMax val="7"/>
                <dgm:chPref val="7"/>
              </dgm:varLst>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54" axis="ch" cnt="21">
              <dgm:forEach name="Name55" axis="self" ptType="parTrans">
                <dgm:layoutNode name="Name5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57" axis="self" ptType="node">
                <dgm:layoutNode name="text0"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layoutNode>
        </dgm:if>
        <dgm:else name="Name58">
          <dgm:layoutNode name="textCenter" styleLbl="node1">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choose name="Name59">
            <dgm:if name="Name60" axis="ch" ptType="node" func="cnt" op="gte" val="1">
              <dgm:layoutNode name="cycle_1">
                <dgm:choose name="Name61">
                  <dgm:if name="Name62" func="var" arg="dir" op="equ" val="norm">
                    <dgm:choose name="Name63">
                      <dgm:if name="Name64" axis="ch" ptType="node" func="cnt" op="equ" val="1">
                        <dgm:choose name="Name65">
                          <dgm:if name="Name66" axis="ch ch" ptType="node node" st="1 1" cnt="1 0" func="cnt" op="equ" val="1">
                            <dgm:alg type="cycle">
                              <dgm:param type="ctrShpMap" val="fNode"/>
                              <dgm:param type="stAng" val="90"/>
                            </dgm:alg>
                          </dgm:if>
                          <dgm:if name="Name67" axis="ch ch" ptType="node node" st="1 1" cnt="1 0" func="cnt" op="equ" val="2">
                            <dgm:alg type="cycle">
                              <dgm:param type="ctrShpMap" val="fNode"/>
                              <dgm:param type="stAng" val="45"/>
                              <dgm:param type="spanAng" val="90"/>
                            </dgm:alg>
                          </dgm:if>
                          <dgm:else name="Name68">
                            <dgm:alg type="cycle">
                              <dgm:param type="ctrShpMap" val="fNode"/>
                              <dgm:param type="stAng" val="0"/>
                              <dgm:param type="spanAng" val="180"/>
                            </dgm:alg>
                          </dgm:else>
                        </dgm:choose>
                      </dgm:if>
                      <dgm:if name="Name69" axis="ch" ptType="node" func="cnt" op="equ" val="2">
                        <dgm:choose name="Name70">
                          <dgm:if name="Name71" axis="ch ch" ptType="node node" st="1 1" cnt="1 0" func="cnt" op="equ" val="1">
                            <dgm:alg type="cycle">
                              <dgm:param type="ctrShpMap" val="fNode"/>
                              <dgm:param type="stAng" val="0"/>
                            </dgm:alg>
                          </dgm:if>
                          <dgm:if name="Name72" axis="ch ch" ptType="node node" st="1 1" cnt="1 0" func="cnt" op="equ" val="2">
                            <dgm:alg type="cycle">
                              <dgm:param type="ctrShpMap" val="fNode"/>
                              <dgm:param type="stAng" val="315"/>
                              <dgm:param type="spanAng" val="90"/>
                            </dgm:alg>
                          </dgm:if>
                          <dgm:else name="Name73">
                            <dgm:alg type="cycle">
                              <dgm:param type="ctrShpMap" val="fNode"/>
                              <dgm:param type="stAng" val="270"/>
                              <dgm:param type="spanAng" val="180"/>
                            </dgm:alg>
                          </dgm:else>
                        </dgm:choose>
                      </dgm:if>
                      <dgm:if name="Name74" axis="ch" ptType="node" func="cnt" op="equ" val="3">
                        <dgm:choose name="Name75">
                          <dgm:if name="Name76" axis="ch ch" ptType="node node" st="1 1" cnt="1 0" func="cnt" op="equ" val="1">
                            <dgm:alg type="cycle">
                              <dgm:param type="ctrShpMap" val="fNode"/>
                              <dgm:param type="stAng" val="0"/>
                            </dgm:alg>
                          </dgm:if>
                          <dgm:if name="Name77" axis="ch ch" ptType="node node" st="1 1" cnt="1 0" func="cnt" op="equ" val="2">
                            <dgm:alg type="cycle">
                              <dgm:param type="ctrShpMap" val="fNode"/>
                              <dgm:param type="stAng" val="315"/>
                              <dgm:param type="spanAng" val="90"/>
                            </dgm:alg>
                          </dgm:if>
                          <dgm:else name="Name78">
                            <dgm:alg type="cycle">
                              <dgm:param type="ctrShpMap" val="fNode"/>
                              <dgm:param type="stAng" val="270"/>
                              <dgm:param type="spanAng" val="180"/>
                            </dgm:alg>
                          </dgm:else>
                        </dgm:choose>
                      </dgm:if>
                      <dgm:if name="Name79" axis="ch" ptType="node" func="cnt" op="equ" val="4">
                        <dgm:choose name="Name80">
                          <dgm:if name="Name81" axis="ch ch" ptType="node node" st="1 1" cnt="1 0" func="cnt" op="equ" val="1">
                            <dgm:alg type="cycle">
                              <dgm:param type="ctrShpMap" val="fNode"/>
                              <dgm:param type="stAng" val="0"/>
                            </dgm:alg>
                          </dgm:if>
                          <dgm:if name="Name82" axis="ch ch" ptType="node node" st="1 1" cnt="1 0" func="cnt" op="equ" val="2">
                            <dgm:alg type="cycle">
                              <dgm:param type="ctrShpMap" val="fNode"/>
                              <dgm:param type="stAng" val="315"/>
                              <dgm:param type="spanAng" val="90"/>
                            </dgm:alg>
                          </dgm:if>
                          <dgm:else name="Name83">
                            <dgm:alg type="cycle">
                              <dgm:param type="ctrShpMap" val="fNode"/>
                              <dgm:param type="stAng" val="292.5"/>
                              <dgm:param type="spanAng" val="135"/>
                            </dgm:alg>
                          </dgm:else>
                        </dgm:choose>
                      </dgm:if>
                      <dgm:if name="Name84" axis="ch" ptType="node" func="cnt" op="equ" val="5">
                        <dgm:choose name="Name85">
                          <dgm:if name="Name86" axis="ch ch" ptType="node node" st="1 1" cnt="1 0" func="cnt" op="equ" val="1">
                            <dgm:alg type="cycle">
                              <dgm:param type="ctrShpMap" val="fNode"/>
                              <dgm:param type="stAng" val="0"/>
                            </dgm:alg>
                          </dgm:if>
                          <dgm:if name="Name87" axis="ch ch" ptType="node node" st="1 1" cnt="1 0" func="cnt" op="equ" val="2">
                            <dgm:alg type="cycle">
                              <dgm:param type="ctrShpMap" val="fNode"/>
                              <dgm:param type="stAng" val="315"/>
                              <dgm:param type="spanAng" val="90"/>
                            </dgm:alg>
                          </dgm:if>
                          <dgm:else name="Name88">
                            <dgm:alg type="cycle">
                              <dgm:param type="ctrShpMap" val="fNode"/>
                              <dgm:param type="stAng" val="0"/>
                              <dgm:param type="spanAng" val="360"/>
                            </dgm:alg>
                          </dgm:else>
                        </dgm:choose>
                      </dgm:if>
                      <dgm:if name="Name89" axis="ch" ptType="node" func="cnt" op="equ" val="6">
                        <dgm:choose name="Name90">
                          <dgm:if name="Name91" axis="ch ch" ptType="node node" st="1 1" cnt="1 0" func="cnt" op="equ" val="1">
                            <dgm:alg type="cycle">
                              <dgm:param type="ctrShpMap" val="fNode"/>
                              <dgm:param type="stAng" val="0"/>
                            </dgm:alg>
                          </dgm:if>
                          <dgm:if name="Name92" axis="ch ch" ptType="node node" st="1 1" cnt="1 0" func="cnt" op="equ" val="2">
                            <dgm:alg type="cycle">
                              <dgm:param type="ctrShpMap" val="fNode"/>
                              <dgm:param type="stAng" val="315"/>
                              <dgm:param type="spanAng" val="90"/>
                            </dgm:alg>
                          </dgm:if>
                          <dgm:else name="Name93">
                            <dgm:alg type="cycle">
                              <dgm:param type="ctrShpMap" val="fNode"/>
                              <dgm:param type="stAng" val="0"/>
                              <dgm:param type="spanAng" val="360"/>
                            </dgm:alg>
                          </dgm:else>
                        </dgm:choose>
                      </dgm:if>
                      <dgm:if name="Name94" axis="ch" ptType="node" func="cnt" op="gte" val="7">
                        <dgm:choose name="Name95">
                          <dgm:if name="Name96" axis="ch ch" ptType="node node" st="1 1" cnt="1 0" func="cnt" op="equ" val="1">
                            <dgm:alg type="cycle">
                              <dgm:param type="ctrShpMap" val="fNode"/>
                              <dgm:param type="stAng" val="0"/>
                            </dgm:alg>
                          </dgm:if>
                          <dgm:if name="Name97" axis="ch ch" ptType="node node" st="1 1" cnt="1 0" func="cnt" op="equ" val="2">
                            <dgm:alg type="cycle">
                              <dgm:param type="ctrShpMap" val="fNode"/>
                              <dgm:param type="stAng" val="315"/>
                              <dgm:param type="spanAng" val="90"/>
                            </dgm:alg>
                          </dgm:if>
                          <dgm:else name="Name98">
                            <dgm:alg type="cycle">
                              <dgm:param type="ctrShpMap" val="fNode"/>
                              <dgm:param type="stAng" val="0"/>
                              <dgm:param type="spanAng" val="360"/>
                            </dgm:alg>
                          </dgm:else>
                        </dgm:choose>
                      </dgm:if>
                      <dgm:else name="Name99"/>
                    </dgm:choose>
                  </dgm:if>
                  <dgm:else name="Name100">
                    <dgm:choose name="Name101">
                      <dgm:if name="Name102" axis="ch" ptType="node" func="cnt" op="equ" val="1">
                        <dgm:choose name="Name103">
                          <dgm:if name="Name104" axis="ch ch" ptType="node node" st="1 1" cnt="1 0" func="cnt" op="equ" val="1">
                            <dgm:alg type="cycle">
                              <dgm:param type="ctrShpMap" val="fNode"/>
                              <dgm:param type="stAng" val="270"/>
                            </dgm:alg>
                          </dgm:if>
                          <dgm:if name="Name105" axis="ch ch" ptType="node node" st="1 1" cnt="1 0" func="cnt" op="equ" val="2">
                            <dgm:alg type="cycle">
                              <dgm:param type="ctrShpMap" val="fNode"/>
                              <dgm:param type="stAng" val="315"/>
                              <dgm:param type="spanAng" val="-90"/>
                            </dgm:alg>
                          </dgm:if>
                          <dgm:else name="Name106">
                            <dgm:alg type="cycle">
                              <dgm:param type="ctrShpMap" val="fNode"/>
                              <dgm:param type="stAng" val="0"/>
                              <dgm:param type="spanAng" val="-180"/>
                            </dgm:alg>
                          </dgm:else>
                        </dgm:choose>
                      </dgm:if>
                      <dgm:if name="Name107" axis="ch" ptType="node" func="cnt" op="equ" val="2">
                        <dgm:choose name="Name108">
                          <dgm:if name="Name109" axis="ch ch" ptType="node node" st="1 1" cnt="1 0" func="cnt" op="equ" val="1">
                            <dgm:alg type="cycle">
                              <dgm:param type="ctrShpMap" val="fNode"/>
                              <dgm:param type="stAng" val="0"/>
                            </dgm:alg>
                          </dgm:if>
                          <dgm:if name="Name110" axis="ch ch" ptType="node node" st="1 1" cnt="1 0" func="cnt" op="equ" val="2">
                            <dgm:alg type="cycle">
                              <dgm:param type="ctrShpMap" val="fNode"/>
                              <dgm:param type="stAng" val="45"/>
                              <dgm:param type="spanAng" val="-90"/>
                            </dgm:alg>
                          </dgm:if>
                          <dgm:else name="Name111">
                            <dgm:alg type="cycle">
                              <dgm:param type="ctrShpMap" val="fNode"/>
                              <dgm:param type="stAng" val="90"/>
                              <dgm:param type="spanAng" val="-180"/>
                            </dgm:alg>
                          </dgm:else>
                        </dgm:choose>
                      </dgm:if>
                      <dgm:if name="Name112" axis="ch" ptType="node" func="cnt" op="equ" val="3">
                        <dgm:choose name="Name113">
                          <dgm:if name="Name114" axis="ch ch" ptType="node node" st="1 1" cnt="1 0" func="cnt" op="equ" val="1">
                            <dgm:alg type="cycle">
                              <dgm:param type="ctrShpMap" val="fNode"/>
                              <dgm:param type="stAng" val="0"/>
                            </dgm:alg>
                          </dgm:if>
                          <dgm:if name="Name115" axis="ch ch" ptType="node node" st="1 1" cnt="1 0" func="cnt" op="equ" val="2">
                            <dgm:alg type="cycle">
                              <dgm:param type="ctrShpMap" val="fNode"/>
                              <dgm:param type="stAng" val="45"/>
                              <dgm:param type="spanAng" val="-90"/>
                            </dgm:alg>
                          </dgm:if>
                          <dgm:else name="Name116">
                            <dgm:alg type="cycle">
                              <dgm:param type="ctrShpMap" val="fNode"/>
                              <dgm:param type="stAng" val="90"/>
                              <dgm:param type="spanAng" val="-180"/>
                            </dgm:alg>
                          </dgm:else>
                        </dgm:choose>
                      </dgm:if>
                      <dgm:if name="Name117" axis="ch" ptType="node" func="cnt" op="equ" val="4">
                        <dgm:choose name="Name118">
                          <dgm:if name="Name119" axis="ch ch" ptType="node node" st="1 1" cnt="1 0" func="cnt" op="equ" val="1">
                            <dgm:alg type="cycle">
                              <dgm:param type="ctrShpMap" val="fNode"/>
                              <dgm:param type="stAng" val="0"/>
                            </dgm:alg>
                          </dgm:if>
                          <dgm:if name="Name120" axis="ch ch" ptType="node node" st="1 1" cnt="1 0" func="cnt" op="equ" val="2">
                            <dgm:alg type="cycle">
                              <dgm:param type="ctrShpMap" val="fNode"/>
                              <dgm:param type="stAng" val="45"/>
                              <dgm:param type="spanAng" val="-90"/>
                            </dgm:alg>
                          </dgm:if>
                          <dgm:else name="Name121">
                            <dgm:alg type="cycle">
                              <dgm:param type="ctrShpMap" val="fNode"/>
                              <dgm:param type="stAng" val="67.5"/>
                              <dgm:param type="spanAng" val="-135"/>
                            </dgm:alg>
                          </dgm:else>
                        </dgm:choose>
                      </dgm:if>
                      <dgm:if name="Name122" axis="ch" ptType="node" func="cnt" op="equ" val="5">
                        <dgm:choose name="Name123">
                          <dgm:if name="Name124" axis="ch ch" ptType="node node" st="1 1" cnt="1 0" func="cnt" op="equ" val="1">
                            <dgm:alg type="cycle">
                              <dgm:param type="ctrShpMap" val="fNode"/>
                              <dgm:param type="stAng" val="0"/>
                            </dgm:alg>
                          </dgm:if>
                          <dgm:if name="Name125" axis="ch ch" ptType="node node" st="1 1" cnt="1 0" func="cnt" op="equ" val="2">
                            <dgm:alg type="cycle">
                              <dgm:param type="ctrShpMap" val="fNode"/>
                              <dgm:param type="stAng" val="45"/>
                              <dgm:param type="spanAng" val="-90"/>
                            </dgm:alg>
                          </dgm:if>
                          <dgm:else name="Name126">
                            <dgm:alg type="cycle">
                              <dgm:param type="ctrShpMap" val="fNode"/>
                              <dgm:param type="stAng" val="0"/>
                              <dgm:param type="spanAng" val="-360"/>
                            </dgm:alg>
                          </dgm:else>
                        </dgm:choose>
                      </dgm:if>
                      <dgm:if name="Name127" axis="ch" ptType="node" func="cnt" op="equ" val="6">
                        <dgm:choose name="Name128">
                          <dgm:if name="Name129" axis="ch ch" ptType="node node" st="1 1" cnt="1 0" func="cnt" op="equ" val="1">
                            <dgm:alg type="cycle">
                              <dgm:param type="ctrShpMap" val="fNode"/>
                              <dgm:param type="stAng" val="0"/>
                            </dgm:alg>
                          </dgm:if>
                          <dgm:if name="Name130" axis="ch ch" ptType="node node" st="1 1" cnt="1 0" func="cnt" op="equ" val="2">
                            <dgm:alg type="cycle">
                              <dgm:param type="ctrShpMap" val="fNode"/>
                              <dgm:param type="stAng" val="45"/>
                              <dgm:param type="spanAng" val="-90"/>
                            </dgm:alg>
                          </dgm:if>
                          <dgm:else name="Name131">
                            <dgm:alg type="cycle">
                              <dgm:param type="ctrShpMap" val="fNode"/>
                              <dgm:param type="stAng" val="0"/>
                              <dgm:param type="spanAng" val="-360"/>
                            </dgm:alg>
                          </dgm:else>
                        </dgm:choose>
                      </dgm:if>
                      <dgm:if name="Name132" axis="ch" ptType="node" func="cnt" op="gte" val="7">
                        <dgm:choose name="Name133">
                          <dgm:if name="Name134" axis="ch ch" ptType="node node" st="1 1" cnt="1 0" func="cnt" op="equ" val="1">
                            <dgm:alg type="cycle">
                              <dgm:param type="ctrShpMap" val="fNode"/>
                              <dgm:param type="stAng" val="0"/>
                            </dgm:alg>
                          </dgm:if>
                          <dgm:if name="Name135" axis="ch ch" ptType="node node" st="1 1" cnt="1 0" func="cnt" op="equ" val="2">
                            <dgm:alg type="cycle">
                              <dgm:param type="ctrShpMap" val="fNode"/>
                              <dgm:param type="stAng" val="45"/>
                              <dgm:param type="spanAng" val="-90"/>
                            </dgm:alg>
                          </dgm:if>
                          <dgm:else name="Name136">
                            <dgm:alg type="cycle">
                              <dgm:param type="ctrShpMap" val="fNode"/>
                              <dgm:param type="stAng" val="0"/>
                              <dgm:param type="spanAng" val="-360"/>
                            </dgm:alg>
                          </dgm:else>
                        </dgm:choose>
                      </dgm:if>
                      <dgm:else name="Name137"/>
                    </dgm:choose>
                  </dgm:else>
                </dgm:choose>
                <dgm:shape xmlns:r="http://schemas.openxmlformats.org/officeDocument/2006/relationships" r:blip="">
                  <dgm:adjLst/>
                </dgm:shape>
                <dgm:presOf/>
                <dgm:constrLst>
                  <dgm:constr type="sp" refType="w" fact="0.1"/>
                  <dgm:constr type="sibSp" refType="w" fact="0.1"/>
                </dgm:constrLst>
                <dgm:forEach name="Name138" axis="ch" ptType="node" cnt="1">
                  <dgm:layoutNode name="childCenter1"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139" axis="ch">
                    <dgm:forEach name="Name140" axis="self" ptType="parTrans">
                      <dgm:layoutNode name="Name141">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142" axis="self" ptType="node">
                      <dgm:layoutNode name="text1"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143" axis="ch" ptType="parTrans" cnt="1">
                <dgm:layoutNode name="Name144">
                  <dgm:alg type="conn">
                    <dgm:param type="dim" val="1D"/>
                    <dgm:param type="begPts" val="auto"/>
                    <dgm:param type="endPts" val="auto"/>
                    <dgm:param type="endSty" val="noArr"/>
                    <dgm:param type="srcNode" val="textCenter"/>
                    <dgm:param type="dstNode" val="childCenter1"/>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145"/>
          </dgm:choose>
          <dgm:choose name="Name146">
            <dgm:if name="Name147" axis="ch" ptType="node" func="cnt" op="gte" val="2">
              <dgm:layoutNode name="cycle_2">
                <dgm:choose name="Name148">
                  <dgm:if name="Name149" func="var" arg="dir" op="equ" val="norm">
                    <dgm:choose name="Name150">
                      <dgm:if name="Name151" axis="ch" ptType="node" func="cnt" op="equ" val="2">
                        <dgm:choose name="Name152">
                          <dgm:if name="Name153" axis="ch ch" ptType="node node" st="2 1" cnt="1 0" func="cnt" op="equ" val="1">
                            <dgm:alg type="cycle">
                              <dgm:param type="ctrShpMap" val="fNode"/>
                              <dgm:param type="stAng" val="180"/>
                            </dgm:alg>
                          </dgm:if>
                          <dgm:if name="Name154" axis="ch ch" ptType="node node" st="2 1" cnt="1 0" func="cnt" op="equ" val="2">
                            <dgm:alg type="cycle">
                              <dgm:param type="ctrShpMap" val="fNode"/>
                              <dgm:param type="stAng" val="135"/>
                              <dgm:param type="spanAng" val="90"/>
                            </dgm:alg>
                          </dgm:if>
                          <dgm:else name="Name155">
                            <dgm:alg type="cycle">
                              <dgm:param type="ctrShpMap" val="fNode"/>
                              <dgm:param type="stAng" val="90"/>
                              <dgm:param type="spanAng" val="180"/>
                            </dgm:alg>
                          </dgm:else>
                        </dgm:choose>
                      </dgm:if>
                      <dgm:if name="Name156" axis="ch" ptType="node" func="cnt" op="equ" val="3">
                        <dgm:choose name="Name157">
                          <dgm:if name="Name158" axis="ch ch" ptType="node node" st="2 1" cnt="1 0" func="cnt" op="equ" val="1">
                            <dgm:alg type="cycle">
                              <dgm:param type="ctrShpMap" val="fNode"/>
                              <dgm:param type="stAng" val="120"/>
                              <dgm:param type="horzAlign" val="r"/>
                              <dgm:param type="vertAlign" val="b"/>
                            </dgm:alg>
                          </dgm:if>
                          <dgm:if name="Name159" axis="ch ch" ptType="node node" st="2 1" cnt="1 0" func="cnt" op="equ" val="2">
                            <dgm:alg type="cycle">
                              <dgm:param type="ctrShpMap" val="fNode"/>
                              <dgm:param type="stAng" val="75"/>
                              <dgm:param type="spanAng" val="90"/>
                              <dgm:param type="horzAlign" val="r"/>
                              <dgm:param type="vertAlign" val="b"/>
                            </dgm:alg>
                          </dgm:if>
                          <dgm:else name="Name160">
                            <dgm:alg type="cycle">
                              <dgm:param type="ctrShpMap" val="fNode"/>
                              <dgm:param type="stAng" val="30"/>
                              <dgm:param type="spanAng" val="180"/>
                            </dgm:alg>
                          </dgm:else>
                        </dgm:choose>
                      </dgm:if>
                      <dgm:if name="Name161" axis="ch" ptType="node" func="cnt" op="equ" val="4">
                        <dgm:choose name="Name162">
                          <dgm:if name="Name163" axis="ch ch" ptType="node node" st="2 1" cnt="1 0" func="cnt" op="equ" val="1">
                            <dgm:alg type="cycle">
                              <dgm:param type="ctrShpMap" val="fNode"/>
                              <dgm:param type="stAng" val="90"/>
                            </dgm:alg>
                          </dgm:if>
                          <dgm:if name="Name164" axis="ch ch" ptType="node node" st="2 1" cnt="1 0" func="cnt" op="equ" val="2">
                            <dgm:alg type="cycle">
                              <dgm:param type="ctrShpMap" val="fNode"/>
                              <dgm:param type="stAng" val="45"/>
                              <dgm:param type="spanAng" val="90"/>
                            </dgm:alg>
                          </dgm:if>
                          <dgm:else name="Name165">
                            <dgm:alg type="cycle">
                              <dgm:param type="ctrShpMap" val="fNode"/>
                              <dgm:param type="stAng" val="22.5"/>
                              <dgm:param type="spanAng" val="135"/>
                            </dgm:alg>
                          </dgm:else>
                        </dgm:choose>
                      </dgm:if>
                      <dgm:if name="Name166" axis="ch" ptType="node" func="cnt" op="equ" val="5">
                        <dgm:choose name="Name167">
                          <dgm:if name="Name168" axis="ch ch" ptType="node node" st="2 1" cnt="1 0" func="cnt" op="equ" val="1">
                            <dgm:alg type="cycle">
                              <dgm:param type="ctrShpMap" val="fNode"/>
                              <dgm:param type="stAng" val="72"/>
                            </dgm:alg>
                          </dgm:if>
                          <dgm:if name="Name169" axis="ch ch" ptType="node node" st="2 1" cnt="1 0" func="cnt" op="equ" val="2">
                            <dgm:alg type="cycle">
                              <dgm:param type="ctrShpMap" val="fNode"/>
                              <dgm:param type="stAng" val="27"/>
                              <dgm:param type="spanAng" val="90"/>
                            </dgm:alg>
                          </dgm:if>
                          <dgm:else name="Name170">
                            <dgm:alg type="cycle">
                              <dgm:param type="ctrShpMap" val="fNode"/>
                              <dgm:param type="stAng" val="0"/>
                              <dgm:param type="spanAng" val="360"/>
                            </dgm:alg>
                          </dgm:else>
                        </dgm:choose>
                      </dgm:if>
                      <dgm:if name="Name171" axis="ch" ptType="node" func="cnt" op="equ" val="6">
                        <dgm:choose name="Name172">
                          <dgm:if name="Name173" axis="ch ch" ptType="node node" st="2 1" cnt="1 0" func="cnt" op="equ" val="1">
                            <dgm:alg type="cycle">
                              <dgm:param type="ctrShpMap" val="fNode"/>
                              <dgm:param type="stAng" val="60"/>
                            </dgm:alg>
                          </dgm:if>
                          <dgm:if name="Name174" axis="ch ch" ptType="node node" st="2 1" cnt="1 0" func="cnt" op="equ" val="2">
                            <dgm:alg type="cycle">
                              <dgm:param type="ctrShpMap" val="fNode"/>
                              <dgm:param type="stAng" val="15"/>
                              <dgm:param type="spanAng" val="90"/>
                            </dgm:alg>
                          </dgm:if>
                          <dgm:else name="Name175">
                            <dgm:alg type="cycle">
                              <dgm:param type="ctrShpMap" val="fNode"/>
                              <dgm:param type="stAng" val="0"/>
                              <dgm:param type="spanAng" val="360"/>
                            </dgm:alg>
                          </dgm:else>
                        </dgm:choose>
                      </dgm:if>
                      <dgm:if name="Name176" axis="ch" ptType="node" func="cnt" op="gte" val="7">
                        <dgm:choose name="Name177">
                          <dgm:if name="Name178" axis="ch ch" ptType="node node" st="2 1" cnt="1 0" func="cnt" op="equ" val="1">
                            <dgm:alg type="cycle">
                              <dgm:param type="ctrShpMap" val="fNode"/>
                              <dgm:param type="stAng" val="51"/>
                            </dgm:alg>
                          </dgm:if>
                          <dgm:if name="Name179" axis="ch ch" ptType="node node" st="2 1" cnt="1 0" func="cnt" op="equ" val="2">
                            <dgm:alg type="cycle">
                              <dgm:param type="ctrShpMap" val="fNode"/>
                              <dgm:param type="stAng" val="6"/>
                              <dgm:param type="spanAng" val="90"/>
                            </dgm:alg>
                          </dgm:if>
                          <dgm:else name="Name180">
                            <dgm:alg type="cycle">
                              <dgm:param type="ctrShpMap" val="fNode"/>
                              <dgm:param type="stAng" val="0"/>
                              <dgm:param type="spanAng" val="360"/>
                            </dgm:alg>
                          </dgm:else>
                        </dgm:choose>
                      </dgm:if>
                      <dgm:else name="Name181"/>
                    </dgm:choose>
                  </dgm:if>
                  <dgm:else name="Name182">
                    <dgm:choose name="Name183">
                      <dgm:if name="Name184" axis="ch" ptType="node" func="cnt" op="equ" val="2">
                        <dgm:choose name="Name185">
                          <dgm:if name="Name186" axis="ch ch" ptType="node node" st="2 1" cnt="1 0" func="cnt" op="equ" val="1">
                            <dgm:alg type="cycle">
                              <dgm:param type="ctrShpMap" val="fNode"/>
                              <dgm:param type="stAng" val="180"/>
                            </dgm:alg>
                          </dgm:if>
                          <dgm:if name="Name187" axis="ch ch" ptType="node node" st="2 1" cnt="1 0" func="cnt" op="equ" val="2">
                            <dgm:alg type="cycle">
                              <dgm:param type="ctrShpMap" val="fNode"/>
                              <dgm:param type="stAng" val="225"/>
                              <dgm:param type="spanAng" val="-90"/>
                            </dgm:alg>
                          </dgm:if>
                          <dgm:else name="Name188">
                            <dgm:alg type="cycle">
                              <dgm:param type="ctrShpMap" val="fNode"/>
                              <dgm:param type="stAng" val="270"/>
                              <dgm:param type="spanAng" val="-180"/>
                            </dgm:alg>
                          </dgm:else>
                        </dgm:choose>
                      </dgm:if>
                      <dgm:if name="Name189" axis="ch" ptType="node" func="cnt" op="equ" val="3">
                        <dgm:choose name="Name190">
                          <dgm:if name="Name191" axis="ch ch" ptType="node node" st="2 1" cnt="1 0" func="cnt" op="equ" val="1">
                            <dgm:alg type="cycle">
                              <dgm:param type="ctrShpMap" val="fNode"/>
                              <dgm:param type="stAng" val="240"/>
                              <dgm:param type="horzAlign" val="l"/>
                              <dgm:param type="vertAlign" val="b"/>
                            </dgm:alg>
                          </dgm:if>
                          <dgm:if name="Name192" axis="ch ch" ptType="node node" st="2 1" cnt="1 0" func="cnt" op="equ" val="2">
                            <dgm:alg type="cycle">
                              <dgm:param type="ctrShpMap" val="fNode"/>
                              <dgm:param type="stAng" val="285"/>
                              <dgm:param type="spanAng" val="-90"/>
                              <dgm:param type="horzAlign" val="l"/>
                              <dgm:param type="vertAlign" val="b"/>
                            </dgm:alg>
                          </dgm:if>
                          <dgm:else name="Name193">
                            <dgm:alg type="cycle">
                              <dgm:param type="ctrShpMap" val="fNode"/>
                              <dgm:param type="stAng" val="330"/>
                              <dgm:param type="spanAng" val="-180"/>
                            </dgm:alg>
                          </dgm:else>
                        </dgm:choose>
                      </dgm:if>
                      <dgm:if name="Name194" axis="ch" ptType="node" func="cnt" op="equ" val="4">
                        <dgm:choose name="Name195">
                          <dgm:if name="Name196" axis="ch ch" ptType="node node" st="2 1" cnt="1 0" func="cnt" op="equ" val="1">
                            <dgm:alg type="cycle">
                              <dgm:param type="ctrShpMap" val="fNode"/>
                              <dgm:param type="stAng" val="270"/>
                            </dgm:alg>
                          </dgm:if>
                          <dgm:if name="Name197" axis="ch ch" ptType="node node" st="2 1" cnt="1 0" func="cnt" op="equ" val="2">
                            <dgm:alg type="cycle">
                              <dgm:param type="ctrShpMap" val="fNode"/>
                              <dgm:param type="stAng" val="315"/>
                              <dgm:param type="spanAng" val="-90"/>
                            </dgm:alg>
                          </dgm:if>
                          <dgm:else name="Name198">
                            <dgm:alg type="cycle">
                              <dgm:param type="ctrShpMap" val="fNode"/>
                              <dgm:param type="stAng" val="337.5"/>
                              <dgm:param type="spanAng" val="-135"/>
                            </dgm:alg>
                          </dgm:else>
                        </dgm:choose>
                      </dgm:if>
                      <dgm:if name="Name199" axis="ch" ptType="node" func="cnt" op="equ" val="5">
                        <dgm:choose name="Name200">
                          <dgm:if name="Name201" axis="ch ch" ptType="node node" st="2 1" cnt="1 0" func="cnt" op="equ" val="1">
                            <dgm:alg type="cycle">
                              <dgm:param type="ctrShpMap" val="fNode"/>
                              <dgm:param type="stAng" val="288"/>
                            </dgm:alg>
                          </dgm:if>
                          <dgm:if name="Name202" axis="ch ch" ptType="node node" st="2 1" cnt="1 0" func="cnt" op="equ" val="2">
                            <dgm:alg type="cycle">
                              <dgm:param type="ctrShpMap" val="fNode"/>
                              <dgm:param type="stAng" val="333"/>
                              <dgm:param type="spanAng" val="-90"/>
                            </dgm:alg>
                          </dgm:if>
                          <dgm:else name="Name203">
                            <dgm:alg type="cycle">
                              <dgm:param type="ctrShpMap" val="fNode"/>
                              <dgm:param type="stAng" val="0"/>
                              <dgm:param type="spanAng" val="-360"/>
                            </dgm:alg>
                          </dgm:else>
                        </dgm:choose>
                      </dgm:if>
                      <dgm:if name="Name204" axis="ch" ptType="node" func="cnt" op="equ" val="6">
                        <dgm:choose name="Name205">
                          <dgm:if name="Name206" axis="ch ch" ptType="node node" st="2 1" cnt="1 0" func="cnt" op="equ" val="1">
                            <dgm:alg type="cycle">
                              <dgm:param type="ctrShpMap" val="fNode"/>
                              <dgm:param type="stAng" val="300"/>
                            </dgm:alg>
                          </dgm:if>
                          <dgm:if name="Name207" axis="ch ch" ptType="node node" st="2 1" cnt="1 0" func="cnt" op="equ" val="2">
                            <dgm:alg type="cycle">
                              <dgm:param type="ctrShpMap" val="fNode"/>
                              <dgm:param type="stAng" val="345"/>
                              <dgm:param type="spanAng" val="-90"/>
                            </dgm:alg>
                          </dgm:if>
                          <dgm:else name="Name208">
                            <dgm:alg type="cycle">
                              <dgm:param type="ctrShpMap" val="fNode"/>
                              <dgm:param type="stAng" val="0"/>
                              <dgm:param type="spanAng" val="-360"/>
                            </dgm:alg>
                          </dgm:else>
                        </dgm:choose>
                      </dgm:if>
                      <dgm:if name="Name209" axis="ch" ptType="node" func="cnt" op="gte" val="7">
                        <dgm:choose name="Name210">
                          <dgm:if name="Name211" axis="ch ch" ptType="node node" st="2 1" cnt="1 0" func="cnt" op="equ" val="1">
                            <dgm:alg type="cycle">
                              <dgm:param type="ctrShpMap" val="fNode"/>
                              <dgm:param type="stAng" val="308"/>
                            </dgm:alg>
                          </dgm:if>
                          <dgm:if name="Name212" axis="ch ch" ptType="node node" st="2 1" cnt="1 0" func="cnt" op="equ" val="2">
                            <dgm:alg type="cycle">
                              <dgm:param type="ctrShpMap" val="fNode"/>
                              <dgm:param type="stAng" val="353"/>
                              <dgm:param type="spanAng" val="-90"/>
                            </dgm:alg>
                          </dgm:if>
                          <dgm:else name="Name213">
                            <dgm:alg type="cycle">
                              <dgm:param type="ctrShpMap" val="fNode"/>
                              <dgm:param type="stAng" val="0"/>
                              <dgm:param type="spanAng" val="-360"/>
                            </dgm:alg>
                          </dgm:else>
                        </dgm:choose>
                      </dgm:if>
                      <dgm:else name="Name214"/>
                    </dgm:choose>
                  </dgm:else>
                </dgm:choose>
                <dgm:shape xmlns:r="http://schemas.openxmlformats.org/officeDocument/2006/relationships" r:blip="">
                  <dgm:adjLst/>
                </dgm:shape>
                <dgm:presOf/>
                <dgm:constrLst>
                  <dgm:constr type="sp" refType="w" fact="0.1"/>
                  <dgm:constr type="sibSp" refType="w" fact="0.1"/>
                </dgm:constrLst>
                <dgm:forEach name="Name215" axis="ch" ptType="node" st="2" cnt="1">
                  <dgm:layoutNode name="childCenter2"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16" axis="ch">
                    <dgm:forEach name="Name217" axis="self" ptType="parTrans">
                      <dgm:layoutNode name="Name218">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19" axis="self" ptType="node">
                      <dgm:layoutNode name="text2"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20" axis="ch" ptType="parTrans" st="2" cnt="1">
                <dgm:layoutNode name="Name221">
                  <dgm:alg type="conn">
                    <dgm:param type="dim" val="1D"/>
                    <dgm:param type="begPts" val="auto"/>
                    <dgm:param type="endPts" val="auto"/>
                    <dgm:param type="endSty" val="noArr"/>
                    <dgm:param type="srcNode" val="textCenter"/>
                    <dgm:param type="dstNode" val="childCenter2"/>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22"/>
          </dgm:choose>
          <dgm:choose name="Name223">
            <dgm:if name="Name224" axis="ch" ptType="node" func="cnt" op="gte" val="3">
              <dgm:layoutNode name="cycle_3">
                <dgm:choose name="Name225">
                  <dgm:if name="Name226" func="var" arg="dir" op="equ" val="norm">
                    <dgm:choose name="Name227">
                      <dgm:if name="Name228" axis="ch" ptType="node" func="cnt" op="equ" val="3">
                        <dgm:choose name="Name229">
                          <dgm:if name="Name230" axis="ch ch" ptType="node node" st="3 1" cnt="1 0" func="cnt" op="equ" val="1">
                            <dgm:alg type="cycle">
                              <dgm:param type="ctrShpMap" val="fNode"/>
                              <dgm:param type="stAng" val="240"/>
                              <dgm:param type="horzAlign" val="l"/>
                              <dgm:param type="vertAlign" val="b"/>
                            </dgm:alg>
                          </dgm:if>
                          <dgm:if name="Name231" axis="ch ch" ptType="node node" st="3 1" cnt="1 0" func="cnt" op="equ" val="2">
                            <dgm:alg type="cycle">
                              <dgm:param type="ctrShpMap" val="fNode"/>
                              <dgm:param type="stAng" val="195"/>
                              <dgm:param type="spanAng" val="90"/>
                              <dgm:param type="horzAlign" val="l"/>
                              <dgm:param type="vertAlign" val="b"/>
                            </dgm:alg>
                          </dgm:if>
                          <dgm:else name="Name232">
                            <dgm:alg type="cycle">
                              <dgm:param type="ctrShpMap" val="fNode"/>
                              <dgm:param type="stAng" val="150"/>
                              <dgm:param type="spanAng" val="180"/>
                            </dgm:alg>
                          </dgm:else>
                        </dgm:choose>
                      </dgm:if>
                      <dgm:if name="Name233" axis="ch" ptType="node" func="cnt" op="equ" val="4">
                        <dgm:choose name="Name234">
                          <dgm:if name="Name235" axis="ch ch" ptType="node node" st="3 1" cnt="1 0" func="cnt" op="equ" val="1">
                            <dgm:alg type="cycle">
                              <dgm:param type="ctrShpMap" val="fNode"/>
                              <dgm:param type="stAng" val="180"/>
                            </dgm:alg>
                          </dgm:if>
                          <dgm:if name="Name236" axis="ch ch" ptType="node node" st="3 1" cnt="1 0" func="cnt" op="equ" val="2">
                            <dgm:alg type="cycle">
                              <dgm:param type="ctrShpMap" val="fNode"/>
                              <dgm:param type="stAng" val="135"/>
                              <dgm:param type="spanAng" val="90"/>
                            </dgm:alg>
                          </dgm:if>
                          <dgm:else name="Name237">
                            <dgm:alg type="cycle">
                              <dgm:param type="ctrShpMap" val="fNode"/>
                              <dgm:param type="stAng" val="112.5"/>
                              <dgm:param type="spanAng" val="135"/>
                            </dgm:alg>
                          </dgm:else>
                        </dgm:choose>
                      </dgm:if>
                      <dgm:if name="Name238" axis="ch" ptType="node" func="cnt" op="equ" val="5">
                        <dgm:choose name="Name239">
                          <dgm:if name="Name240" axis="ch ch" ptType="node node" st="3 1" cnt="1 0" func="cnt" op="equ" val="1">
                            <dgm:alg type="cycle">
                              <dgm:param type="ctrShpMap" val="fNode"/>
                              <dgm:param type="stAng" val="144"/>
                            </dgm:alg>
                          </dgm:if>
                          <dgm:if name="Name241" axis="ch ch" ptType="node node" st="3 1" cnt="1 0" func="cnt" op="equ" val="2">
                            <dgm:alg type="cycle">
                              <dgm:param type="ctrShpMap" val="fNode"/>
                              <dgm:param type="stAng" val="99"/>
                              <dgm:param type="spanAng" val="90"/>
                            </dgm:alg>
                          </dgm:if>
                          <dgm:else name="Name242">
                            <dgm:alg type="cycle">
                              <dgm:param type="ctrShpMap" val="fNode"/>
                              <dgm:param type="stAng" val="0"/>
                              <dgm:param type="spanAng" val="360"/>
                            </dgm:alg>
                          </dgm:else>
                        </dgm:choose>
                      </dgm:if>
                      <dgm:if name="Name243" axis="ch" ptType="node" func="cnt" op="equ" val="6">
                        <dgm:choose name="Name244">
                          <dgm:if name="Name245" axis="ch ch" ptType="node node" st="3 1" cnt="1 0" func="cnt" op="equ" val="1">
                            <dgm:alg type="cycle">
                              <dgm:param type="ctrShpMap" val="fNode"/>
                              <dgm:param type="stAng" val="120"/>
                            </dgm:alg>
                          </dgm:if>
                          <dgm:if name="Name246" axis="ch ch" ptType="node node" st="3 1" cnt="1 0" func="cnt" op="equ" val="2">
                            <dgm:alg type="cycle">
                              <dgm:param type="ctrShpMap" val="fNode"/>
                              <dgm:param type="stAng" val="75"/>
                              <dgm:param type="spanAng" val="90"/>
                            </dgm:alg>
                          </dgm:if>
                          <dgm:else name="Name247">
                            <dgm:alg type="cycle">
                              <dgm:param type="ctrShpMap" val="fNode"/>
                              <dgm:param type="stAng" val="0"/>
                              <dgm:param type="spanAng" val="360"/>
                            </dgm:alg>
                          </dgm:else>
                        </dgm:choose>
                      </dgm:if>
                      <dgm:if name="Name248" axis="ch" ptType="node" func="cnt" op="gte" val="7">
                        <dgm:choose name="Name249">
                          <dgm:if name="Name250" axis="ch ch" ptType="node node" st="3 1" cnt="1 0" func="cnt" op="equ" val="1">
                            <dgm:alg type="cycle">
                              <dgm:param type="ctrShpMap" val="fNode"/>
                              <dgm:param type="stAng" val="102"/>
                            </dgm:alg>
                          </dgm:if>
                          <dgm:if name="Name251" axis="ch ch" ptType="node node" st="3 1" cnt="1 0" func="cnt" op="equ" val="2">
                            <dgm:alg type="cycle">
                              <dgm:param type="ctrShpMap" val="fNode"/>
                              <dgm:param type="stAng" val="57"/>
                              <dgm:param type="spanAng" val="90"/>
                            </dgm:alg>
                          </dgm:if>
                          <dgm:else name="Name252">
                            <dgm:alg type="cycle">
                              <dgm:param type="ctrShpMap" val="fNode"/>
                              <dgm:param type="stAng" val="0"/>
                              <dgm:param type="spanAng" val="360"/>
                            </dgm:alg>
                          </dgm:else>
                        </dgm:choose>
                      </dgm:if>
                      <dgm:else name="Name253"/>
                    </dgm:choose>
                  </dgm:if>
                  <dgm:else name="Name254">
                    <dgm:choose name="Name255">
                      <dgm:if name="Name256" axis="ch" ptType="node" func="cnt" op="equ" val="3">
                        <dgm:choose name="Name257">
                          <dgm:if name="Name258" axis="ch ch" ptType="node node" st="3 1" cnt="1 0" func="cnt" op="equ" val="1">
                            <dgm:alg type="cycle">
                              <dgm:param type="ctrShpMap" val="fNode"/>
                              <dgm:param type="stAng" val="120"/>
                              <dgm:param type="horzAlign" val="r"/>
                              <dgm:param type="vertAlign" val="b"/>
                            </dgm:alg>
                          </dgm:if>
                          <dgm:if name="Name259" axis="ch ch" ptType="node node" st="3 1" cnt="1 0" func="cnt" op="equ" val="2">
                            <dgm:alg type="cycle">
                              <dgm:param type="ctrShpMap" val="fNode"/>
                              <dgm:param type="stAng" val="165"/>
                              <dgm:param type="spanAng" val="-90"/>
                              <dgm:param type="horzAlign" val="r"/>
                              <dgm:param type="vertAlign" val="b"/>
                            </dgm:alg>
                          </dgm:if>
                          <dgm:else name="Name260">
                            <dgm:alg type="cycle">
                              <dgm:param type="ctrShpMap" val="fNode"/>
                              <dgm:param type="stAng" val="210"/>
                              <dgm:param type="spanAng" val="-180"/>
                            </dgm:alg>
                          </dgm:else>
                        </dgm:choose>
                      </dgm:if>
                      <dgm:if name="Name261" axis="ch" ptType="node" func="cnt" op="equ" val="4">
                        <dgm:choose name="Name262">
                          <dgm:if name="Name263" axis="ch ch" ptType="node node" st="3 1" cnt="1 0" func="cnt" op="equ" val="1">
                            <dgm:alg type="cycle">
                              <dgm:param type="ctrShpMap" val="fNode"/>
                              <dgm:param type="stAng" val="180"/>
                            </dgm:alg>
                          </dgm:if>
                          <dgm:if name="Name264" axis="ch ch" ptType="node node" st="3 1" cnt="1 0" func="cnt" op="equ" val="2">
                            <dgm:alg type="cycle">
                              <dgm:param type="ctrShpMap" val="fNode"/>
                              <dgm:param type="stAng" val="225"/>
                              <dgm:param type="spanAng" val="-90"/>
                            </dgm:alg>
                          </dgm:if>
                          <dgm:else name="Name265">
                            <dgm:alg type="cycle">
                              <dgm:param type="ctrShpMap" val="fNode"/>
                              <dgm:param type="stAng" val="247.5"/>
                              <dgm:param type="spanAng" val="-135"/>
                            </dgm:alg>
                          </dgm:else>
                        </dgm:choose>
                      </dgm:if>
                      <dgm:if name="Name266" axis="ch" ptType="node" func="cnt" op="equ" val="5">
                        <dgm:choose name="Name267">
                          <dgm:if name="Name268" axis="ch ch" ptType="node node" st="3 1" cnt="1 0" func="cnt" op="equ" val="1">
                            <dgm:alg type="cycle">
                              <dgm:param type="ctrShpMap" val="fNode"/>
                              <dgm:param type="stAng" val="216"/>
                            </dgm:alg>
                          </dgm:if>
                          <dgm:if name="Name269" axis="ch ch" ptType="node node" st="3 1" cnt="1 0" func="cnt" op="equ" val="2">
                            <dgm:alg type="cycle">
                              <dgm:param type="ctrShpMap" val="fNode"/>
                              <dgm:param type="stAng" val="261"/>
                              <dgm:param type="spanAng" val="-90"/>
                            </dgm:alg>
                          </dgm:if>
                          <dgm:else name="Name270">
                            <dgm:alg type="cycle">
                              <dgm:param type="ctrShpMap" val="fNode"/>
                              <dgm:param type="stAng" val="0"/>
                              <dgm:param type="spanAng" val="-360"/>
                            </dgm:alg>
                          </dgm:else>
                        </dgm:choose>
                      </dgm:if>
                      <dgm:if name="Name271" axis="ch" ptType="node" func="cnt" op="equ" val="6">
                        <dgm:choose name="Name272">
                          <dgm:if name="Name273" axis="ch ch" ptType="node node" st="3 1" cnt="1 0" func="cnt" op="equ" val="1">
                            <dgm:alg type="cycle">
                              <dgm:param type="ctrShpMap" val="fNode"/>
                              <dgm:param type="stAng" val="240"/>
                            </dgm:alg>
                          </dgm:if>
                          <dgm:if name="Name274" axis="ch ch" ptType="node node" st="3 1" cnt="1 0" func="cnt" op="equ" val="2">
                            <dgm:alg type="cycle">
                              <dgm:param type="ctrShpMap" val="fNode"/>
                              <dgm:param type="stAng" val="285"/>
                              <dgm:param type="spanAng" val="-90"/>
                            </dgm:alg>
                          </dgm:if>
                          <dgm:else name="Name275">
                            <dgm:alg type="cycle">
                              <dgm:param type="ctrShpMap" val="fNode"/>
                              <dgm:param type="stAng" val="0"/>
                              <dgm:param type="spanAng" val="-360"/>
                            </dgm:alg>
                          </dgm:else>
                        </dgm:choose>
                      </dgm:if>
                      <dgm:if name="Name276" axis="ch" ptType="node" func="cnt" op="gte" val="7">
                        <dgm:choose name="Name277">
                          <dgm:if name="Name278" axis="ch ch" ptType="node node" st="3 1" cnt="1 0" func="cnt" op="equ" val="1">
                            <dgm:alg type="cycle">
                              <dgm:param type="ctrShpMap" val="fNode"/>
                              <dgm:param type="stAng" val="257"/>
                            </dgm:alg>
                          </dgm:if>
                          <dgm:if name="Name279" axis="ch ch" ptType="node node" st="3 1" cnt="1 0" func="cnt" op="equ" val="2">
                            <dgm:alg type="cycle">
                              <dgm:param type="ctrShpMap" val="fNode"/>
                              <dgm:param type="stAng" val="302"/>
                              <dgm:param type="spanAng" val="-90"/>
                            </dgm:alg>
                          </dgm:if>
                          <dgm:else name="Name280">
                            <dgm:alg type="cycle">
                              <dgm:param type="ctrShpMap" val="fNode"/>
                              <dgm:param type="stAng" val="0"/>
                              <dgm:param type="spanAng" val="-360"/>
                            </dgm:alg>
                          </dgm:else>
                        </dgm:choose>
                      </dgm:if>
                      <dgm:else name="Name281"/>
                    </dgm:choose>
                  </dgm:else>
                </dgm:choose>
                <dgm:shape xmlns:r="http://schemas.openxmlformats.org/officeDocument/2006/relationships" r:blip="">
                  <dgm:adjLst/>
                </dgm:shape>
                <dgm:presOf/>
                <dgm:constrLst>
                  <dgm:constr type="sp" refType="w" fact="0.1"/>
                  <dgm:constr type="sibSp" refType="w" fact="0.1"/>
                </dgm:constrLst>
                <dgm:forEach name="Name282" axis="ch" ptType="node" st="3" cnt="1">
                  <dgm:layoutNode name="childCenter3"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83" axis="ch">
                    <dgm:forEach name="Name284" axis="self" ptType="parTrans">
                      <dgm:layoutNode name="Name285">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86" axis="self" ptType="node">
                      <dgm:layoutNode name="text3"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87" axis="ch" ptType="parTrans" st="3" cnt="1">
                <dgm:layoutNode name="Name288">
                  <dgm:alg type="conn">
                    <dgm:param type="dim" val="1D"/>
                    <dgm:param type="begPts" val="auto"/>
                    <dgm:param type="endPts" val="auto"/>
                    <dgm:param type="endSty" val="noArr"/>
                    <dgm:param type="srcNode" val="textCenter"/>
                    <dgm:param type="dstNode" val="childCenter3"/>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89"/>
          </dgm:choose>
          <dgm:choose name="Name290">
            <dgm:if name="Name291" axis="ch" ptType="node" func="cnt" op="gte" val="4">
              <dgm:layoutNode name="cycle_4">
                <dgm:choose name="Name292">
                  <dgm:if name="Name293" func="var" arg="dir" op="equ" val="norm">
                    <dgm:choose name="Name294">
                      <dgm:if name="Name295" axis="ch" ptType="node" func="cnt" op="equ" val="4">
                        <dgm:choose name="Name296">
                          <dgm:if name="Name297" axis="ch ch" ptType="node node" st="4 1" cnt="1 0" func="cnt" op="equ" val="1">
                            <dgm:alg type="cycle">
                              <dgm:param type="ctrShpMap" val="fNode"/>
                              <dgm:param type="stAng" val="270"/>
                            </dgm:alg>
                          </dgm:if>
                          <dgm:if name="Name298" axis="ch ch" ptType="node node" st="4 1" cnt="1 0" func="cnt" op="equ" val="2">
                            <dgm:alg type="cycle">
                              <dgm:param type="ctrShpMap" val="fNode"/>
                              <dgm:param type="stAng" val="225"/>
                              <dgm:param type="spanAng" val="90"/>
                            </dgm:alg>
                          </dgm:if>
                          <dgm:else name="Name299">
                            <dgm:alg type="cycle">
                              <dgm:param type="ctrShpMap" val="fNode"/>
                              <dgm:param type="stAng" val="202.5"/>
                              <dgm:param type="spanAng" val="135"/>
                            </dgm:alg>
                          </dgm:else>
                        </dgm:choose>
                      </dgm:if>
                      <dgm:if name="Name300" axis="ch" ptType="node" func="cnt" op="equ" val="5">
                        <dgm:choose name="Name301">
                          <dgm:if name="Name302" axis="ch ch" ptType="node node" st="4 1" cnt="1 0" func="cnt" op="equ" val="1">
                            <dgm:alg type="cycle">
                              <dgm:param type="ctrShpMap" val="fNode"/>
                              <dgm:param type="stAng" val="216"/>
                            </dgm:alg>
                          </dgm:if>
                          <dgm:if name="Name303" axis="ch ch" ptType="node node" st="4 1" cnt="1 0" func="cnt" op="equ" val="2">
                            <dgm:alg type="cycle">
                              <dgm:param type="ctrShpMap" val="fNode"/>
                              <dgm:param type="stAng" val="171"/>
                              <dgm:param type="spanAng" val="90"/>
                            </dgm:alg>
                          </dgm:if>
                          <dgm:else name="Name304">
                            <dgm:alg type="cycle">
                              <dgm:param type="ctrShpMap" val="fNode"/>
                              <dgm:param type="stAng" val="0"/>
                              <dgm:param type="spanAng" val="360"/>
                            </dgm:alg>
                          </dgm:else>
                        </dgm:choose>
                      </dgm:if>
                      <dgm:if name="Name305" axis="ch" ptType="node" func="cnt" op="equ" val="6">
                        <dgm:choose name="Name306">
                          <dgm:if name="Name307" axis="ch ch" ptType="node node" st="4 1" cnt="1 0" func="cnt" op="equ" val="1">
                            <dgm:alg type="cycle">
                              <dgm:param type="ctrShpMap" val="fNode"/>
                              <dgm:param type="stAng" val="180"/>
                            </dgm:alg>
                          </dgm:if>
                          <dgm:if name="Name308" axis="ch ch" ptType="node node" st="4 1" cnt="1 0" func="cnt" op="equ" val="2">
                            <dgm:alg type="cycle">
                              <dgm:param type="ctrShpMap" val="fNode"/>
                              <dgm:param type="stAng" val="135"/>
                              <dgm:param type="spanAng" val="90"/>
                            </dgm:alg>
                          </dgm:if>
                          <dgm:else name="Name309">
                            <dgm:alg type="cycle">
                              <dgm:param type="ctrShpMap" val="fNode"/>
                              <dgm:param type="stAng" val="0"/>
                              <dgm:param type="spanAng" val="360"/>
                            </dgm:alg>
                          </dgm:else>
                        </dgm:choose>
                      </dgm:if>
                      <dgm:if name="Name310" axis="ch" ptType="node" func="cnt" op="gte" val="7">
                        <dgm:choose name="Name311">
                          <dgm:if name="Name312" axis="ch ch" ptType="node node" st="4 1" cnt="1 0" func="cnt" op="equ" val="1">
                            <dgm:alg type="cycle">
                              <dgm:param type="ctrShpMap" val="fNode"/>
                              <dgm:param type="stAng" val="154"/>
                            </dgm:alg>
                          </dgm:if>
                          <dgm:if name="Name313" axis="ch ch" ptType="node node" st="4 1" cnt="1 0" func="cnt" op="equ" val="2">
                            <dgm:alg type="cycle">
                              <dgm:param type="ctrShpMap" val="fNode"/>
                              <dgm:param type="stAng" val="109"/>
                              <dgm:param type="spanAng" val="90"/>
                            </dgm:alg>
                          </dgm:if>
                          <dgm:else name="Name314">
                            <dgm:alg type="cycle">
                              <dgm:param type="ctrShpMap" val="fNode"/>
                              <dgm:param type="stAng" val="0"/>
                              <dgm:param type="spanAng" val="360"/>
                            </dgm:alg>
                          </dgm:else>
                        </dgm:choose>
                      </dgm:if>
                      <dgm:else name="Name315"/>
                    </dgm:choose>
                  </dgm:if>
                  <dgm:else name="Name316">
                    <dgm:choose name="Name317">
                      <dgm:if name="Name318" axis="ch" ptType="node" func="cnt" op="equ" val="4">
                        <dgm:choose name="Name319">
                          <dgm:if name="Name320" axis="ch ch" ptType="node node" st="4 1" cnt="1 0" func="cnt" op="equ" val="1">
                            <dgm:alg type="cycle">
                              <dgm:param type="ctrShpMap" val="fNode"/>
                              <dgm:param type="stAng" val="90"/>
                            </dgm:alg>
                          </dgm:if>
                          <dgm:if name="Name321" axis="ch ch" ptType="node node" st="4 1" cnt="1 0" func="cnt" op="equ" val="2">
                            <dgm:alg type="cycle">
                              <dgm:param type="ctrShpMap" val="fNode"/>
                              <dgm:param type="stAng" val="135"/>
                              <dgm:param type="spanAng" val="-90"/>
                            </dgm:alg>
                          </dgm:if>
                          <dgm:else name="Name322">
                            <dgm:alg type="cycle">
                              <dgm:param type="ctrShpMap" val="fNode"/>
                              <dgm:param type="stAng" val="157.5"/>
                              <dgm:param type="spanAng" val="-135"/>
                            </dgm:alg>
                          </dgm:else>
                        </dgm:choose>
                      </dgm:if>
                      <dgm:if name="Name323" axis="ch" ptType="node" func="cnt" op="equ" val="5">
                        <dgm:choose name="Name324">
                          <dgm:if name="Name325" axis="ch ch" ptType="node node" st="4 1" cnt="1 0" func="cnt" op="equ" val="1">
                            <dgm:alg type="cycle">
                              <dgm:param type="ctrShpMap" val="fNode"/>
                              <dgm:param type="stAng" val="144"/>
                            </dgm:alg>
                          </dgm:if>
                          <dgm:if name="Name326" axis="ch ch" ptType="node node" st="4 1" cnt="1 0" func="cnt" op="equ" val="2">
                            <dgm:alg type="cycle">
                              <dgm:param type="ctrShpMap" val="fNode"/>
                              <dgm:param type="stAng" val="189"/>
                              <dgm:param type="spanAng" val="-90"/>
                            </dgm:alg>
                          </dgm:if>
                          <dgm:else name="Name327">
                            <dgm:alg type="cycle">
                              <dgm:param type="ctrShpMap" val="fNode"/>
                              <dgm:param type="stAng" val="0"/>
                              <dgm:param type="spanAng" val="-360"/>
                            </dgm:alg>
                          </dgm:else>
                        </dgm:choose>
                      </dgm:if>
                      <dgm:if name="Name328" axis="ch" ptType="node" func="cnt" op="equ" val="6">
                        <dgm:choose name="Name329">
                          <dgm:if name="Name330" axis="ch ch" ptType="node node" st="4 1" cnt="1 0" func="cnt" op="equ" val="1">
                            <dgm:alg type="cycle">
                              <dgm:param type="ctrShpMap" val="fNode"/>
                              <dgm:param type="stAng" val="180"/>
                            </dgm:alg>
                          </dgm:if>
                          <dgm:if name="Name331" axis="ch ch" ptType="node node" st="4 1" cnt="1 0" func="cnt" op="equ" val="2">
                            <dgm:alg type="cycle">
                              <dgm:param type="ctrShpMap" val="fNode"/>
                              <dgm:param type="stAng" val="225"/>
                              <dgm:param type="spanAng" val="-90"/>
                            </dgm:alg>
                          </dgm:if>
                          <dgm:else name="Name332">
                            <dgm:alg type="cycle">
                              <dgm:param type="ctrShpMap" val="fNode"/>
                              <dgm:param type="stAng" val="0"/>
                              <dgm:param type="spanAng" val="-360"/>
                            </dgm:alg>
                          </dgm:else>
                        </dgm:choose>
                      </dgm:if>
                      <dgm:if name="Name333" axis="ch" ptType="node" func="cnt" op="gte" val="7">
                        <dgm:choose name="Name334">
                          <dgm:if name="Name335" axis="ch ch" ptType="node node" st="4 1" cnt="1 0" func="cnt" op="equ" val="1">
                            <dgm:alg type="cycle">
                              <dgm:param type="ctrShpMap" val="fNode"/>
                              <dgm:param type="stAng" val="205"/>
                            </dgm:alg>
                          </dgm:if>
                          <dgm:if name="Name336" axis="ch ch" ptType="node node" st="4 1" cnt="1 0" func="cnt" op="equ" val="2">
                            <dgm:alg type="cycle">
                              <dgm:param type="ctrShpMap" val="fNode"/>
                              <dgm:param type="stAng" val="250"/>
                              <dgm:param type="spanAng" val="-90"/>
                            </dgm:alg>
                          </dgm:if>
                          <dgm:else name="Name337">
                            <dgm:alg type="cycle">
                              <dgm:param type="ctrShpMap" val="fNode"/>
                              <dgm:param type="stAng" val="0"/>
                              <dgm:param type="spanAng" val="-360"/>
                            </dgm:alg>
                          </dgm:else>
                        </dgm:choose>
                      </dgm:if>
                      <dgm:else name="Name338"/>
                    </dgm:choose>
                  </dgm:else>
                </dgm:choose>
                <dgm:shape xmlns:r="http://schemas.openxmlformats.org/officeDocument/2006/relationships" r:blip="">
                  <dgm:adjLst/>
                </dgm:shape>
                <dgm:presOf/>
                <dgm:constrLst>
                  <dgm:constr type="sp" refType="w" fact="0.1"/>
                  <dgm:constr type="sibSp" refType="w" fact="0.1"/>
                </dgm:constrLst>
                <dgm:forEach name="Name339" axis="ch" ptType="node" st="4" cnt="1">
                  <dgm:layoutNode name="childCenter4"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40" axis="ch">
                    <dgm:forEach name="Name341" axis="self" ptType="parTrans">
                      <dgm:layoutNode name="Name342">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43" axis="self" ptType="node">
                      <dgm:layoutNode name="text4"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44" axis="ch" ptType="parTrans" st="4" cnt="1">
                <dgm:layoutNode name="Name345">
                  <dgm:alg type="conn">
                    <dgm:param type="dim" val="1D"/>
                    <dgm:param type="begPts" val="auto"/>
                    <dgm:param type="endPts" val="auto"/>
                    <dgm:param type="endSty" val="noArr"/>
                    <dgm:param type="srcNode" val="textCenter"/>
                    <dgm:param type="dstNode" val="childCenter4"/>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46"/>
          </dgm:choose>
          <dgm:choose name="Name347">
            <dgm:if name="Name348" axis="ch" ptType="node" func="cnt" op="gte" val="5">
              <dgm:layoutNode name="cycle_5">
                <dgm:choose name="Name349">
                  <dgm:if name="Name350" func="var" arg="dir" op="equ" val="norm">
                    <dgm:choose name="Name351">
                      <dgm:if name="Name352" axis="ch" ptType="node" func="cnt" op="equ" val="5">
                        <dgm:choose name="Name353">
                          <dgm:if name="Name354" axis="ch ch" ptType="node node" st="5 1" cnt="1 0" func="cnt" op="equ" val="1">
                            <dgm:alg type="cycle">
                              <dgm:param type="ctrShpMap" val="fNode"/>
                              <dgm:param type="stAng" val="288"/>
                            </dgm:alg>
                          </dgm:if>
                          <dgm:if name="Name355" axis="ch ch" ptType="node node" st="5 1" cnt="1 0" func="cnt" op="equ" val="2">
                            <dgm:alg type="cycle">
                              <dgm:param type="ctrShpMap" val="fNode"/>
                              <dgm:param type="stAng" val="243"/>
                              <dgm:param type="spanAng" val="90"/>
                            </dgm:alg>
                          </dgm:if>
                          <dgm:else name="Name356">
                            <dgm:alg type="cycle">
                              <dgm:param type="ctrShpMap" val="fNode"/>
                              <dgm:param type="stAng" val="0"/>
                              <dgm:param type="spanAng" val="360"/>
                            </dgm:alg>
                          </dgm:else>
                        </dgm:choose>
                      </dgm:if>
                      <dgm:if name="Name357" axis="ch" ptType="node" func="cnt" op="equ" val="6">
                        <dgm:choose name="Name358">
                          <dgm:if name="Name359" axis="ch ch" ptType="node node" st="5 1" cnt="1 0" func="cnt" op="equ" val="1">
                            <dgm:alg type="cycle">
                              <dgm:param type="ctrShpMap" val="fNode"/>
                              <dgm:param type="stAng" val="240"/>
                            </dgm:alg>
                          </dgm:if>
                          <dgm:if name="Name360" axis="ch ch" ptType="node node" st="5 1" cnt="1 0" func="cnt" op="equ" val="2">
                            <dgm:alg type="cycle">
                              <dgm:param type="ctrShpMap" val="fNode"/>
                              <dgm:param type="stAng" val="195"/>
                              <dgm:param type="spanAng" val="90"/>
                            </dgm:alg>
                          </dgm:if>
                          <dgm:else name="Name361">
                            <dgm:alg type="cycle">
                              <dgm:param type="ctrShpMap" val="fNode"/>
                              <dgm:param type="stAng" val="0"/>
                              <dgm:param type="spanAng" val="360"/>
                            </dgm:alg>
                          </dgm:else>
                        </dgm:choose>
                      </dgm:if>
                      <dgm:if name="Name362" axis="ch" ptType="node" func="cnt" op="gte" val="7">
                        <dgm:choose name="Name363">
                          <dgm:if name="Name364" axis="ch ch" ptType="node node" st="5 1" cnt="1 0" func="cnt" op="equ" val="1">
                            <dgm:alg type="cycle">
                              <dgm:param type="ctrShpMap" val="fNode"/>
                              <dgm:param type="stAng" val="205"/>
                            </dgm:alg>
                          </dgm:if>
                          <dgm:if name="Name365" axis="ch ch" ptType="node node" st="5 1" cnt="1 0" func="cnt" op="equ" val="2">
                            <dgm:alg type="cycle">
                              <dgm:param type="ctrShpMap" val="fNode"/>
                              <dgm:param type="stAng" val="160"/>
                              <dgm:param type="spanAng" val="90"/>
                            </dgm:alg>
                          </dgm:if>
                          <dgm:else name="Name366">
                            <dgm:alg type="cycle">
                              <dgm:param type="ctrShpMap" val="fNode"/>
                              <dgm:param type="stAng" val="0"/>
                              <dgm:param type="spanAng" val="360"/>
                            </dgm:alg>
                          </dgm:else>
                        </dgm:choose>
                      </dgm:if>
                      <dgm:else name="Name367"/>
                    </dgm:choose>
                  </dgm:if>
                  <dgm:else name="Name368">
                    <dgm:choose name="Name369">
                      <dgm:if name="Name370" axis="ch" ptType="node" func="cnt" op="equ" val="5">
                        <dgm:choose name="Name371">
                          <dgm:if name="Name372" axis="ch ch" ptType="node node" st="5 1" cnt="1 0" func="cnt" op="equ" val="1">
                            <dgm:alg type="cycle">
                              <dgm:param type="ctrShpMap" val="fNode"/>
                              <dgm:param type="stAng" val="72"/>
                            </dgm:alg>
                          </dgm:if>
                          <dgm:if name="Name373" axis="ch ch" ptType="node node" st="5 1" cnt="1 0" func="cnt" op="equ" val="2">
                            <dgm:alg type="cycle">
                              <dgm:param type="ctrShpMap" val="fNode"/>
                              <dgm:param type="stAng" val="117"/>
                              <dgm:param type="spanAng" val="-90"/>
                            </dgm:alg>
                          </dgm:if>
                          <dgm:else name="Name374">
                            <dgm:alg type="cycle">
                              <dgm:param type="ctrShpMap" val="fNode"/>
                              <dgm:param type="stAng" val="0"/>
                              <dgm:param type="spanAng" val="-360"/>
                            </dgm:alg>
                          </dgm:else>
                        </dgm:choose>
                      </dgm:if>
                      <dgm:if name="Name375" axis="ch" ptType="node" func="cnt" op="equ" val="6">
                        <dgm:choose name="Name376">
                          <dgm:if name="Name377" axis="ch ch" ptType="node node" st="5 1" cnt="1 0" func="cnt" op="equ" val="1">
                            <dgm:alg type="cycle">
                              <dgm:param type="ctrShpMap" val="fNode"/>
                              <dgm:param type="stAng" val="120"/>
                            </dgm:alg>
                          </dgm:if>
                          <dgm:if name="Name378" axis="ch ch" ptType="node node" st="5 1" cnt="1 0" func="cnt" op="equ" val="2">
                            <dgm:alg type="cycle">
                              <dgm:param type="ctrShpMap" val="fNode"/>
                              <dgm:param type="stAng" val="165"/>
                              <dgm:param type="spanAng" val="-90"/>
                            </dgm:alg>
                          </dgm:if>
                          <dgm:else name="Name379">
                            <dgm:alg type="cycle">
                              <dgm:param type="ctrShpMap" val="fNode"/>
                              <dgm:param type="stAng" val="0"/>
                              <dgm:param type="spanAng" val="-360"/>
                            </dgm:alg>
                          </dgm:else>
                        </dgm:choose>
                      </dgm:if>
                      <dgm:if name="Name380" axis="ch" ptType="node" func="cnt" op="gte" val="7">
                        <dgm:choose name="Name381">
                          <dgm:if name="Name382" axis="ch ch" ptType="node node" st="5 1" cnt="1 0" func="cnt" op="equ" val="1">
                            <dgm:alg type="cycle">
                              <dgm:param type="ctrShpMap" val="fNode"/>
                              <dgm:param type="stAng" val="154"/>
                            </dgm:alg>
                          </dgm:if>
                          <dgm:if name="Name383" axis="ch ch" ptType="node node" st="5 1" cnt="1 0" func="cnt" op="equ" val="2">
                            <dgm:alg type="cycle">
                              <dgm:param type="ctrShpMap" val="fNode"/>
                              <dgm:param type="stAng" val="199"/>
                              <dgm:param type="spanAng" val="-90"/>
                            </dgm:alg>
                          </dgm:if>
                          <dgm:else name="Name384">
                            <dgm:alg type="cycle">
                              <dgm:param type="ctrShpMap" val="fNode"/>
                              <dgm:param type="stAng" val="0"/>
                              <dgm:param type="spanAng" val="-360"/>
                            </dgm:alg>
                          </dgm:else>
                        </dgm:choose>
                      </dgm:if>
                      <dgm:else name="Name385"/>
                    </dgm:choose>
                  </dgm:else>
                </dgm:choose>
                <dgm:shape xmlns:r="http://schemas.openxmlformats.org/officeDocument/2006/relationships" r:blip="">
                  <dgm:adjLst/>
                </dgm:shape>
                <dgm:presOf/>
                <dgm:constrLst>
                  <dgm:constr type="sp" refType="w" fact="0.1"/>
                  <dgm:constr type="sibSp" refType="w" fact="0.1"/>
                </dgm:constrLst>
                <dgm:forEach name="Name386" axis="ch" ptType="node" st="5" cnt="1">
                  <dgm:layoutNode name="childCenter5"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87" axis="ch">
                    <dgm:forEach name="Name388" axis="self" ptType="parTrans">
                      <dgm:layoutNode name="Name38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90" axis="self" ptType="node">
                      <dgm:layoutNode name="text5"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91" axis="ch" ptType="parTrans" st="5" cnt="1">
                <dgm:layoutNode name="Name392">
                  <dgm:alg type="conn">
                    <dgm:param type="dim" val="1D"/>
                    <dgm:param type="begPts" val="auto"/>
                    <dgm:param type="endPts" val="auto"/>
                    <dgm:param type="endSty" val="noArr"/>
                    <dgm:param type="srcNode" val="textCenter"/>
                    <dgm:param type="dstNode" val="childCenter5"/>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93"/>
          </dgm:choose>
          <dgm:choose name="Name394">
            <dgm:if name="Name395" axis="ch" ptType="node" func="cnt" op="gte" val="6">
              <dgm:layoutNode name="cycle_6">
                <dgm:choose name="Name396">
                  <dgm:if name="Name397" func="var" arg="dir" op="equ" val="norm">
                    <dgm:choose name="Name398">
                      <dgm:if name="Name399" axis="ch" ptType="node" func="cnt" op="equ" val="6">
                        <dgm:choose name="Name400">
                          <dgm:if name="Name401" axis="ch ch" ptType="node node" st="6 1" cnt="1 0" func="cnt" op="equ" val="1">
                            <dgm:alg type="cycle">
                              <dgm:param type="ctrShpMap" val="fNode"/>
                              <dgm:param type="stAng" val="300"/>
                            </dgm:alg>
                          </dgm:if>
                          <dgm:if name="Name402" axis="ch ch" ptType="node node" st="6 1" cnt="1 0" func="cnt" op="equ" val="2">
                            <dgm:alg type="cycle">
                              <dgm:param type="ctrShpMap" val="fNode"/>
                              <dgm:param type="stAng" val="255"/>
                              <dgm:param type="spanAng" val="90"/>
                            </dgm:alg>
                          </dgm:if>
                          <dgm:else name="Name403">
                            <dgm:alg type="cycle">
                              <dgm:param type="ctrShpMap" val="fNode"/>
                              <dgm:param type="stAng" val="0"/>
                              <dgm:param type="spanAng" val="360"/>
                            </dgm:alg>
                          </dgm:else>
                        </dgm:choose>
                      </dgm:if>
                      <dgm:if name="Name404" axis="ch" ptType="node" func="cnt" op="gte" val="7">
                        <dgm:choose name="Name405">
                          <dgm:if name="Name406" axis="ch ch" ptType="node node" st="6 1" cnt="1 0" func="cnt" op="equ" val="1">
                            <dgm:alg type="cycle">
                              <dgm:param type="ctrShpMap" val="fNode"/>
                              <dgm:param type="stAng" val="257"/>
                            </dgm:alg>
                          </dgm:if>
                          <dgm:if name="Name407" axis="ch ch" ptType="node node" st="6 1" cnt="1 0" func="cnt" op="equ" val="2">
                            <dgm:alg type="cycle">
                              <dgm:param type="ctrShpMap" val="fNode"/>
                              <dgm:param type="stAng" val="212"/>
                              <dgm:param type="spanAng" val="90"/>
                            </dgm:alg>
                          </dgm:if>
                          <dgm:else name="Name408">
                            <dgm:alg type="cycle">
                              <dgm:param type="ctrShpMap" val="fNode"/>
                              <dgm:param type="stAng" val="0"/>
                              <dgm:param type="spanAng" val="360"/>
                            </dgm:alg>
                          </dgm:else>
                        </dgm:choose>
                      </dgm:if>
                      <dgm:else name="Name409"/>
                    </dgm:choose>
                  </dgm:if>
                  <dgm:else name="Name410">
                    <dgm:choose name="Name411">
                      <dgm:if name="Name412" axis="ch" ptType="node" func="cnt" op="equ" val="6">
                        <dgm:choose name="Name413">
                          <dgm:if name="Name414" axis="ch ch" ptType="node node" st="6 1" cnt="1 0" func="cnt" op="equ" val="1">
                            <dgm:alg type="cycle">
                              <dgm:param type="ctrShpMap" val="fNode"/>
                              <dgm:param type="stAng" val="60"/>
                            </dgm:alg>
                          </dgm:if>
                          <dgm:if name="Name415" axis="ch ch" ptType="node node" st="6 1" cnt="1 0" func="cnt" op="equ" val="2">
                            <dgm:alg type="cycle">
                              <dgm:param type="ctrShpMap" val="fNode"/>
                              <dgm:param type="stAng" val="105"/>
                              <dgm:param type="spanAng" val="-90"/>
                            </dgm:alg>
                          </dgm:if>
                          <dgm:else name="Name416">
                            <dgm:alg type="cycle">
                              <dgm:param type="ctrShpMap" val="fNode"/>
                              <dgm:param type="stAng" val="0"/>
                              <dgm:param type="spanAng" val="-360"/>
                            </dgm:alg>
                          </dgm:else>
                        </dgm:choose>
                      </dgm:if>
                      <dgm:if name="Name417" axis="ch" ptType="node" func="cnt" op="gte" val="7">
                        <dgm:choose name="Name418">
                          <dgm:if name="Name419" axis="ch ch" ptType="node node" st="6 1" cnt="1 0" func="cnt" op="equ" val="1">
                            <dgm:alg type="cycle">
                              <dgm:param type="ctrShpMap" val="fNode"/>
                              <dgm:param type="stAng" val="102"/>
                            </dgm:alg>
                          </dgm:if>
                          <dgm:if name="Name420" axis="ch ch" ptType="node node" st="6 1" cnt="1 0" func="cnt" op="equ" val="2">
                            <dgm:alg type="cycle">
                              <dgm:param type="ctrShpMap" val="fNode"/>
                              <dgm:param type="stAng" val="147"/>
                              <dgm:param type="spanAng" val="-90"/>
                            </dgm:alg>
                          </dgm:if>
                          <dgm:else name="Name421">
                            <dgm:alg type="cycle">
                              <dgm:param type="ctrShpMap" val="fNode"/>
                              <dgm:param type="stAng" val="0"/>
                              <dgm:param type="spanAng" val="-360"/>
                            </dgm:alg>
                          </dgm:else>
                        </dgm:choose>
                      </dgm:if>
                      <dgm:else name="Name422"/>
                    </dgm:choose>
                  </dgm:else>
                </dgm:choose>
                <dgm:shape xmlns:r="http://schemas.openxmlformats.org/officeDocument/2006/relationships" r:blip="">
                  <dgm:adjLst/>
                </dgm:shape>
                <dgm:presOf/>
                <dgm:constrLst>
                  <dgm:constr type="sp" refType="w" fact="0.1"/>
                  <dgm:constr type="sibSp" refType="w" fact="0.1"/>
                </dgm:constrLst>
                <dgm:forEach name="Name423" axis="ch" ptType="node" st="6" cnt="1">
                  <dgm:layoutNode name="childCenter6"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24" axis="ch">
                    <dgm:forEach name="Name425" axis="self" ptType="parTrans">
                      <dgm:layoutNode name="Name42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27" axis="self" ptType="node">
                      <dgm:layoutNode name="text6"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28" axis="ch" ptType="parTrans" st="6" cnt="1">
                <dgm:layoutNode name="Name429">
                  <dgm:alg type="conn">
                    <dgm:param type="dim" val="1D"/>
                    <dgm:param type="begPts" val="auto"/>
                    <dgm:param type="endPts" val="auto"/>
                    <dgm:param type="endSty" val="noArr"/>
                    <dgm:param type="srcNode" val="textCenter"/>
                    <dgm:param type="dstNode" val="childCenter6"/>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30"/>
          </dgm:choose>
          <dgm:choose name="Name431">
            <dgm:if name="Name432" axis="ch" ptType="node" func="cnt" op="gte" val="7">
              <dgm:layoutNode name="cycle_7">
                <dgm:choose name="Name433">
                  <dgm:if name="Name434" func="var" arg="dir" op="equ" val="norm">
                    <dgm:choose name="Name435">
                      <dgm:if name="Name436" axis="ch" ptType="node" func="cnt" op="gte" val="7">
                        <dgm:choose name="Name437">
                          <dgm:if name="Name438" axis="ch ch" ptType="node node" st="7 1" cnt="1 0" func="cnt" op="equ" val="1">
                            <dgm:alg type="cycle">
                              <dgm:param type="ctrShpMap" val="fNode"/>
                              <dgm:param type="stAng" val="308"/>
                            </dgm:alg>
                          </dgm:if>
                          <dgm:if name="Name439" axis="ch ch" ptType="node node" st="7 1" cnt="1 0" func="cnt" op="equ" val="2">
                            <dgm:alg type="cycle">
                              <dgm:param type="ctrShpMap" val="fNode"/>
                              <dgm:param type="stAng" val="263"/>
                              <dgm:param type="spanAng" val="90"/>
                            </dgm:alg>
                          </dgm:if>
                          <dgm:else name="Name440">
                            <dgm:alg type="cycle">
                              <dgm:param type="ctrShpMap" val="fNode"/>
                              <dgm:param type="stAng" val="0"/>
                              <dgm:param type="spanAng" val="360"/>
                            </dgm:alg>
                          </dgm:else>
                        </dgm:choose>
                      </dgm:if>
                      <dgm:else name="Name441"/>
                    </dgm:choose>
                  </dgm:if>
                  <dgm:else name="Name442">
                    <dgm:choose name="Name443">
                      <dgm:if name="Name444" axis="ch" ptType="node" func="cnt" op="gte" val="7">
                        <dgm:choose name="Name445">
                          <dgm:if name="Name446" axis="ch ch" ptType="node node" st="7 1" cnt="1 0" func="cnt" op="equ" val="1">
                            <dgm:alg type="cycle">
                              <dgm:param type="ctrShpMap" val="fNode"/>
                              <dgm:param type="stAng" val="51"/>
                            </dgm:alg>
                          </dgm:if>
                          <dgm:if name="Name447" axis="ch ch" ptType="node node" st="7 1" cnt="1 0" func="cnt" op="equ" val="2">
                            <dgm:alg type="cycle">
                              <dgm:param type="ctrShpMap" val="fNode"/>
                              <dgm:param type="stAng" val="96"/>
                              <dgm:param type="spanAng" val="-90"/>
                            </dgm:alg>
                          </dgm:if>
                          <dgm:else name="Name448">
                            <dgm:alg type="cycle">
                              <dgm:param type="ctrShpMap" val="fNode"/>
                              <dgm:param type="stAng" val="0"/>
                              <dgm:param type="spanAng" val="-360"/>
                            </dgm:alg>
                          </dgm:else>
                        </dgm:choose>
                      </dgm:if>
                      <dgm:else name="Name449"/>
                    </dgm:choose>
                  </dgm:else>
                </dgm:choose>
                <dgm:shape xmlns:r="http://schemas.openxmlformats.org/officeDocument/2006/relationships" r:blip="">
                  <dgm:adjLst/>
                </dgm:shape>
                <dgm:presOf/>
                <dgm:constrLst>
                  <dgm:constr type="sp" refType="w" fact="0.1"/>
                  <dgm:constr type="sibSp" refType="w" fact="0.1"/>
                </dgm:constrLst>
                <dgm:forEach name="Name450" axis="ch" ptType="node" st="7" cnt="1">
                  <dgm:layoutNode name="childCenter7"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51" axis="ch">
                    <dgm:forEach name="Name452" axis="self" ptType="parTrans">
                      <dgm:layoutNode name="Name453">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54" axis="self" ptType="node">
                      <dgm:layoutNode name="text7"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55" axis="ch" ptType="parTrans" st="7" cnt="1">
                <dgm:layoutNode name="Name456">
                  <dgm:alg type="conn">
                    <dgm:param type="dim" val="1D"/>
                    <dgm:param type="begPts" val="auto"/>
                    <dgm:param type="endPts" val="auto"/>
                    <dgm:param type="endSty" val="noArr"/>
                    <dgm:param type="srcNode" val="textCenter"/>
                    <dgm:param type="dstNode" val="childCenter7"/>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5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32117F7-88D5-401B-A3BA-E5901E923017}" type="datetimeFigureOut">
              <a:rPr lang="fr-FR" smtClean="0"/>
              <a:t>26/01/2023</a:t>
            </a:fld>
            <a:endParaRPr lang="fr-FR"/>
          </a:p>
        </p:txBody>
      </p:sp>
      <p:sp>
        <p:nvSpPr>
          <p:cNvPr id="4" name="Espace réservé du pied de page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A242756-795B-44F5-8B70-A598BE5F369E}" type="slidenum">
              <a:rPr lang="fr-FR" smtClean="0"/>
              <a:t>‹N°›</a:t>
            </a:fld>
            <a:endParaRPr lang="fr-FR"/>
          </a:p>
        </p:txBody>
      </p:sp>
    </p:spTree>
    <p:extLst>
      <p:ext uri="{BB962C8B-B14F-4D97-AF65-F5344CB8AC3E}">
        <p14:creationId xmlns:p14="http://schemas.microsoft.com/office/powerpoint/2010/main" val="2479217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1pPr>
            <a:lvl2pPr marL="914400" marR="0" lvl="1"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2pPr>
            <a:lvl3pPr marL="1371600" marR="0" lvl="2"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3pPr>
            <a:lvl4pPr marL="1828800" marR="0" lvl="3"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4pPr>
            <a:lvl5pPr marL="2286000" marR="0" lvl="4"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5pPr>
            <a:lvl6pPr marL="2743200" marR="0" lvl="5"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6pPr>
            <a:lvl7pPr marL="3200400" marR="0" lvl="6"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7pPr>
            <a:lvl8pPr marL="3657600" marR="0" lvl="7"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8pPr>
            <a:lvl9pPr marL="4114800" marR="0" lvl="8"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fr-FR" sz="1200" b="0" i="0" u="none" strike="noStrike" cap="none">
                <a:solidFill>
                  <a:schemeClr val="dk1"/>
                </a:solidFill>
                <a:latin typeface="Arial"/>
                <a:ea typeface="Arial"/>
                <a:cs typeface="Arial"/>
                <a:sym typeface="Arial"/>
              </a:rPr>
              <a:t>‹N°›</a:t>
            </a:fld>
            <a:endParaRPr sz="1200" b="0" i="0" u="none" strike="noStrike" cap="none">
              <a:solidFill>
                <a:schemeClr val="dk1"/>
              </a:solidFill>
              <a:latin typeface="Arial"/>
              <a:ea typeface="Arial"/>
              <a:cs typeface="Arial"/>
              <a:sym typeface="Arial"/>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
        <p:cNvGrpSpPr/>
        <p:nvPr/>
      </p:nvGrpSpPr>
      <p:grpSpPr>
        <a:xfrm>
          <a:off x="0" y="0"/>
          <a:ext cx="0" cy="0"/>
          <a:chOff x="0" y="0"/>
          <a:chExt cx="0" cy="0"/>
        </a:xfrm>
      </p:grpSpPr>
      <p:sp>
        <p:nvSpPr>
          <p:cNvPr id="111" name="Google Shape;111;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2" name="Google Shape;112;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5"/>
        <p:cNvGrpSpPr/>
        <p:nvPr/>
      </p:nvGrpSpPr>
      <p:grpSpPr>
        <a:xfrm>
          <a:off x="0" y="0"/>
          <a:ext cx="0" cy="0"/>
          <a:chOff x="0" y="0"/>
          <a:chExt cx="0" cy="0"/>
        </a:xfrm>
      </p:grpSpPr>
      <p:sp>
        <p:nvSpPr>
          <p:cNvPr id="856" name="Google Shape;856;p2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57" name="Google Shape;857;p2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595959"/>
              </a:buClr>
              <a:buSzPts val="900"/>
              <a:buFont typeface="Calibri"/>
              <a:buNone/>
            </a:pPr>
            <a:r>
              <a:rPr lang="fr-FR" i="1"/>
              <a:t>Messages des slides « Longue vie à la consommation » :</a:t>
            </a:r>
            <a:endParaRPr/>
          </a:p>
          <a:p>
            <a:pPr marL="228600" lvl="0" indent="-228600" algn="l" rtl="0">
              <a:spcBef>
                <a:spcPts val="0"/>
              </a:spcBef>
              <a:spcAft>
                <a:spcPts val="0"/>
              </a:spcAft>
              <a:buClr>
                <a:srgbClr val="595959"/>
              </a:buClr>
              <a:buSzPts val="900"/>
              <a:buFont typeface="Calibri"/>
              <a:buAutoNum type="arabicPeriod"/>
            </a:pPr>
            <a:r>
              <a:rPr lang="fr-FR" i="1"/>
              <a:t>À de rares exceptions près, dont 2020, depuis 1850, on envoie chaque année dans l’atmosphère plus de CO</a:t>
            </a:r>
            <a:r>
              <a:rPr lang="fr-FR" i="1" baseline="-25000"/>
              <a:t>2</a:t>
            </a:r>
            <a:r>
              <a:rPr lang="fr-FR" i="1"/>
              <a:t> que l’année d’avant.</a:t>
            </a:r>
            <a:endParaRPr/>
          </a:p>
          <a:p>
            <a:pPr marL="228600" lvl="0" indent="-228600" algn="l" rtl="0">
              <a:spcBef>
                <a:spcPts val="0"/>
              </a:spcBef>
              <a:spcAft>
                <a:spcPts val="0"/>
              </a:spcAft>
              <a:buClr>
                <a:srgbClr val="595959"/>
              </a:buClr>
              <a:buSzPts val="900"/>
              <a:buFont typeface="Calibri"/>
              <a:buAutoNum type="arabicPeriod"/>
            </a:pPr>
            <a:r>
              <a:rPr lang="fr-FR" i="1"/>
              <a:t>Le cumul, ça fait en gros 2'400 Gt CO</a:t>
            </a:r>
            <a:r>
              <a:rPr lang="fr-FR" i="1" baseline="-25000"/>
              <a:t>2</a:t>
            </a:r>
            <a:endParaRPr i="1"/>
          </a:p>
          <a:p>
            <a:pPr marL="228600" lvl="0" indent="-228600" algn="l" rtl="0">
              <a:spcBef>
                <a:spcPts val="0"/>
              </a:spcBef>
              <a:spcAft>
                <a:spcPts val="0"/>
              </a:spcAft>
              <a:buClr>
                <a:srgbClr val="595959"/>
              </a:buClr>
              <a:buSzPts val="900"/>
              <a:buFont typeface="Calibri"/>
              <a:buAutoNum type="arabicPeriod"/>
            </a:pPr>
            <a:r>
              <a:rPr lang="fr-FR" i="1"/>
              <a:t>2'400 Gt CO</a:t>
            </a:r>
            <a:r>
              <a:rPr lang="fr-FR" i="1" baseline="-25000"/>
              <a:t>2</a:t>
            </a:r>
            <a:r>
              <a:rPr lang="fr-FR" i="1"/>
              <a:t> </a:t>
            </a:r>
            <a:r>
              <a:rPr lang="fr-FR" i="0"/>
              <a:t>⇒</a:t>
            </a:r>
            <a:r>
              <a:rPr lang="fr-FR" i="1"/>
              <a:t> quasiment +1,4°C en 2100. Comme on ne va pas arrêter les émissions du jour au lendemain, dans les faits, les +1,5°C ne sont déjà plus négociables</a:t>
            </a:r>
            <a:endParaRPr/>
          </a:p>
          <a:p>
            <a:pPr marL="228600" marR="0" lvl="0" indent="-228600" algn="l" rtl="0">
              <a:lnSpc>
                <a:spcPct val="100000"/>
              </a:lnSpc>
              <a:spcBef>
                <a:spcPts val="0"/>
              </a:spcBef>
              <a:spcAft>
                <a:spcPts val="0"/>
              </a:spcAft>
              <a:buClr>
                <a:srgbClr val="595959"/>
              </a:buClr>
              <a:buSzPts val="900"/>
              <a:buFont typeface="Calibri"/>
              <a:buAutoNum type="arabicPeriod"/>
            </a:pPr>
            <a:r>
              <a:rPr lang="fr-FR" i="1"/>
              <a:t>La 2</a:t>
            </a:r>
            <a:r>
              <a:rPr lang="fr-FR" i="1" baseline="30000"/>
              <a:t>nde</a:t>
            </a:r>
            <a:r>
              <a:rPr lang="fr-FR" i="1"/>
              <a:t> moitié des 2'400 Gt CO</a:t>
            </a:r>
            <a:r>
              <a:rPr lang="fr-FR" i="1" baseline="-25000"/>
              <a:t>2</a:t>
            </a:r>
            <a:r>
              <a:rPr lang="fr-FR" i="1"/>
              <a:t>, c’est notre génération qui en est responsable (1982 </a:t>
            </a:r>
            <a:r>
              <a:rPr lang="fr-FR" i="0"/>
              <a:t>→ </a:t>
            </a:r>
            <a:r>
              <a:rPr lang="fr-FR" i="1"/>
              <a:t>2020). Et l’accélération de nos émissions est impressionnante : on a envoyé autant dans l’atmosphère ces 9 dernières années que durant les 16 années précédentes. Depuis que le protocole de Kyoto a été signé, on a à peu près émis la moitié (en plus !) de tout ce qu’on avait émis pendant tout le XIX</a:t>
            </a:r>
            <a:r>
              <a:rPr lang="fr-FR" i="1" baseline="30000"/>
              <a:t>e</a:t>
            </a:r>
            <a:r>
              <a:rPr lang="fr-FR" i="1"/>
              <a:t> et le XX</a:t>
            </a:r>
            <a:r>
              <a:rPr lang="fr-FR" i="1" baseline="30000"/>
              <a:t>e</a:t>
            </a:r>
            <a:r>
              <a:rPr lang="fr-FR" i="1"/>
              <a:t> siècle.</a:t>
            </a:r>
            <a:endParaRPr/>
          </a:p>
          <a:p>
            <a:pPr marL="228600" lvl="0" indent="-228600" algn="l" rtl="0">
              <a:spcBef>
                <a:spcPts val="0"/>
              </a:spcBef>
              <a:spcAft>
                <a:spcPts val="0"/>
              </a:spcAft>
              <a:buClr>
                <a:srgbClr val="595959"/>
              </a:buClr>
              <a:buSzPts val="900"/>
              <a:buFont typeface="Calibri"/>
              <a:buAutoNum type="arabicPeriod"/>
            </a:pPr>
            <a:r>
              <a:rPr lang="fr-FR" i="1"/>
              <a:t>Si on continue sur la même tendance, on émettra encore 4’000 à 6’000 Gt CO</a:t>
            </a:r>
            <a:r>
              <a:rPr lang="fr-FR" i="1" baseline="-25000"/>
              <a:t>2</a:t>
            </a:r>
            <a:r>
              <a:rPr lang="fr-FR" i="1"/>
              <a:t> de plus </a:t>
            </a:r>
            <a:r>
              <a:rPr lang="fr-FR" i="0"/>
              <a:t>⇒</a:t>
            </a:r>
            <a:r>
              <a:rPr lang="fr-FR" i="1"/>
              <a:t> +4°C à +6°C en 2100</a:t>
            </a:r>
            <a:endParaRPr/>
          </a:p>
          <a:p>
            <a:pPr marL="228600" lvl="0" indent="-228600" algn="l" rtl="0">
              <a:spcBef>
                <a:spcPts val="0"/>
              </a:spcBef>
              <a:spcAft>
                <a:spcPts val="0"/>
              </a:spcAft>
              <a:buClr>
                <a:srgbClr val="595959"/>
              </a:buClr>
              <a:buSzPts val="900"/>
              <a:buFont typeface="Calibri"/>
              <a:buAutoNum type="arabicPeriod"/>
            </a:pPr>
            <a:r>
              <a:rPr lang="fr-FR" i="1"/>
              <a:t>Ne dépasser +2°C = environ +1000 GtCO</a:t>
            </a:r>
            <a:r>
              <a:rPr lang="fr-FR" i="1" baseline="-25000"/>
              <a:t>2</a:t>
            </a:r>
            <a:r>
              <a:rPr lang="fr-FR" i="1"/>
              <a:t> au maximum, soit entre 20 et 25 ans d’émissions actuelles</a:t>
            </a:r>
            <a:endParaRPr/>
          </a:p>
          <a:p>
            <a:pPr marL="228600" lvl="0" indent="-228600" algn="l" rtl="0">
              <a:spcBef>
                <a:spcPts val="0"/>
              </a:spcBef>
              <a:spcAft>
                <a:spcPts val="0"/>
              </a:spcAft>
              <a:buClr>
                <a:srgbClr val="595959"/>
              </a:buClr>
              <a:buSzPts val="900"/>
              <a:buFont typeface="Calibri"/>
              <a:buAutoNum type="arabicPeriod"/>
            </a:pPr>
            <a:r>
              <a:rPr lang="fr-FR" i="1"/>
              <a:t>De façon réaliste, +1000 Gt CO</a:t>
            </a:r>
            <a:r>
              <a:rPr lang="fr-FR" i="1" baseline="-25000"/>
              <a:t>2</a:t>
            </a:r>
            <a:r>
              <a:rPr lang="fr-FR" i="1"/>
              <a:t> implique une division par 3 de nos émissions d’ici 2050, puis la neutralité carbone à l’échelle mondiale dans le 2</a:t>
            </a:r>
            <a:r>
              <a:rPr lang="fr-FR" i="1" baseline="30000"/>
              <a:t>nde</a:t>
            </a:r>
            <a:r>
              <a:rPr lang="fr-FR" i="1"/>
              <a:t> moitié du 21</a:t>
            </a:r>
            <a:r>
              <a:rPr lang="fr-FR" i="1" baseline="30000"/>
              <a:t>ème</a:t>
            </a:r>
            <a:r>
              <a:rPr lang="fr-FR" i="1"/>
              <a:t> siècle</a:t>
            </a:r>
            <a:endParaRPr/>
          </a:p>
          <a:p>
            <a:pPr marL="228600" lvl="0" indent="-228600" algn="l" rtl="0">
              <a:spcBef>
                <a:spcPts val="0"/>
              </a:spcBef>
              <a:spcAft>
                <a:spcPts val="0"/>
              </a:spcAft>
              <a:buClr>
                <a:srgbClr val="595959"/>
              </a:buClr>
              <a:buSzPts val="900"/>
              <a:buFont typeface="Calibri"/>
              <a:buAutoNum type="arabicPeriod"/>
            </a:pPr>
            <a:r>
              <a:rPr lang="fr-FR" i="1"/>
              <a:t>Cette baisse doit avoir lieu le plus vite possible.</a:t>
            </a:r>
            <a:endParaRPr/>
          </a:p>
          <a:p>
            <a:pPr marL="0" lvl="0" indent="0" algn="l" rtl="0">
              <a:spcBef>
                <a:spcPts val="0"/>
              </a:spcBef>
              <a:spcAft>
                <a:spcPts val="0"/>
              </a:spcAft>
              <a:buClr>
                <a:schemeClr val="dk1"/>
              </a:buClr>
              <a:buSzPts val="1200"/>
              <a:buFont typeface="Calibri"/>
              <a:buNone/>
            </a:pPr>
            <a:endParaRPr sz="1200">
              <a:latin typeface="Calibri"/>
              <a:ea typeface="Calibri"/>
              <a:cs typeface="Calibri"/>
              <a:sym typeface="Calibri"/>
            </a:endParaRPr>
          </a:p>
          <a:p>
            <a:pPr marL="0" lvl="0" indent="0" algn="l" rtl="0">
              <a:spcBef>
                <a:spcPts val="0"/>
              </a:spcBef>
              <a:spcAft>
                <a:spcPts val="0"/>
              </a:spcAft>
              <a:buClr>
                <a:schemeClr val="dk1"/>
              </a:buClr>
              <a:buSzPts val="1200"/>
              <a:buFont typeface="Calibri"/>
              <a:buNone/>
            </a:pPr>
            <a:r>
              <a:rPr lang="fr-FR" sz="1200">
                <a:latin typeface="Calibri"/>
                <a:ea typeface="Calibri"/>
                <a:cs typeface="Calibri"/>
                <a:sym typeface="Calibri"/>
              </a:rPr>
              <a:t>Ce que vous voyez sur ce graphique, ce sont les émissions annuelles de GES des activités humaines depuis le début de ce qu’on appelle l’ère industrielle. On constate que ces émissions ont d’abord augmenté assez faiblement pendant la 2</a:t>
            </a:r>
            <a:r>
              <a:rPr lang="fr-FR" sz="1200" baseline="30000">
                <a:latin typeface="Calibri"/>
                <a:ea typeface="Calibri"/>
                <a:cs typeface="Calibri"/>
                <a:sym typeface="Calibri"/>
              </a:rPr>
              <a:t>ème</a:t>
            </a:r>
            <a:r>
              <a:rPr lang="fr-FR" sz="1200">
                <a:latin typeface="Calibri"/>
                <a:ea typeface="Calibri"/>
                <a:cs typeface="Calibri"/>
                <a:sym typeface="Calibri"/>
              </a:rPr>
              <a:t> moitié du XIX</a:t>
            </a:r>
            <a:r>
              <a:rPr lang="fr-FR" sz="1200" baseline="30000">
                <a:latin typeface="Calibri"/>
                <a:ea typeface="Calibri"/>
                <a:cs typeface="Calibri"/>
                <a:sym typeface="Calibri"/>
              </a:rPr>
              <a:t>e</a:t>
            </a:r>
            <a:r>
              <a:rPr lang="fr-FR" sz="1200">
                <a:latin typeface="Calibri"/>
                <a:ea typeface="Calibri"/>
                <a:cs typeface="Calibri"/>
                <a:sym typeface="Calibri"/>
              </a:rPr>
              <a:t> siècle et jusqu’au début du XX</a:t>
            </a:r>
            <a:r>
              <a:rPr lang="fr-FR" sz="1200" baseline="30000">
                <a:latin typeface="Calibri"/>
                <a:ea typeface="Calibri"/>
                <a:cs typeface="Calibri"/>
                <a:sym typeface="Calibri"/>
              </a:rPr>
              <a:t>e</a:t>
            </a:r>
            <a:r>
              <a:rPr lang="fr-FR" sz="1200">
                <a:latin typeface="Calibri"/>
                <a:ea typeface="Calibri"/>
                <a:cs typeface="Calibri"/>
                <a:sym typeface="Calibri"/>
              </a:rPr>
              <a:t>, puis que, après-guerre, la hausse est beaucoup plus marquée, l’humanité a émis chaque année davantage jusqu’à aujourd’hui, de telle sorte que nous émettons 20 fois plus de GES que ce qu’émettaient nos arrières grands-parents. </a:t>
            </a:r>
            <a:r>
              <a:rPr lang="fr-FR" sz="1200" i="1">
                <a:latin typeface="Calibri"/>
                <a:ea typeface="Calibri"/>
                <a:cs typeface="Calibri"/>
                <a:sym typeface="Calibri"/>
              </a:rPr>
              <a:t>[Clic]</a:t>
            </a:r>
            <a:r>
              <a:rPr lang="fr-FR" sz="1200">
                <a:latin typeface="Calibri"/>
                <a:ea typeface="Calibri"/>
                <a:cs typeface="Calibri"/>
                <a:sym typeface="Calibri"/>
              </a:rPr>
              <a:t> Cette rupture de pente que l’on constate après-guerre correspond à la démocratisation des moteurs à explosion qu’ont vécue nos parents et grands-parents, avec notamment le développement massif de l’industrie et de la voiture individuelle, qui se sont accompagnés d’une consommation massive des énergies dites fossiles, le charbon, le gaz et le pétrole : c’est ce qu’on a appelé les Trente Glorieuses. Et depuis le début de ce petit jeu, nous avons émis l’équivalent de 2 400 milliards de tonnes d’équivalent CO</a:t>
            </a:r>
            <a:r>
              <a:rPr lang="fr-FR" sz="1200" baseline="-25000">
                <a:latin typeface="Calibri"/>
                <a:ea typeface="Calibri"/>
                <a:cs typeface="Calibri"/>
                <a:sym typeface="Calibri"/>
              </a:rPr>
              <a:t>2</a:t>
            </a:r>
            <a:r>
              <a:rPr lang="fr-FR" sz="1200">
                <a:latin typeface="Calibri"/>
                <a:ea typeface="Calibri"/>
                <a:cs typeface="Calibri"/>
                <a:sym typeface="Calibri"/>
              </a:rPr>
              <a:t>. </a:t>
            </a:r>
            <a:r>
              <a:rPr lang="fr-FR" sz="1200" i="1">
                <a:latin typeface="Calibri"/>
                <a:ea typeface="Calibri"/>
                <a:cs typeface="Calibri"/>
                <a:sym typeface="Calibri"/>
              </a:rPr>
              <a:t>[Clic]</a:t>
            </a:r>
            <a:endParaRPr/>
          </a:p>
          <a:p>
            <a:pPr marL="0" lvl="0" indent="0" algn="l" rtl="0">
              <a:spcBef>
                <a:spcPts val="0"/>
              </a:spcBef>
              <a:spcAft>
                <a:spcPts val="0"/>
              </a:spcAft>
              <a:buClr>
                <a:schemeClr val="dk1"/>
              </a:buClr>
              <a:buSzPts val="1200"/>
              <a:buFont typeface="Calibri"/>
              <a:buNone/>
            </a:pPr>
            <a:endParaRPr sz="1200">
              <a:latin typeface="Calibri"/>
              <a:ea typeface="Calibri"/>
              <a:cs typeface="Calibri"/>
              <a:sym typeface="Calibri"/>
            </a:endParaRPr>
          </a:p>
          <a:p>
            <a:pPr marL="0" lvl="0" indent="0" algn="l" rtl="0">
              <a:spcBef>
                <a:spcPts val="0"/>
              </a:spcBef>
              <a:spcAft>
                <a:spcPts val="0"/>
              </a:spcAft>
              <a:buClr>
                <a:schemeClr val="dk1"/>
              </a:buClr>
              <a:buSzPts val="1200"/>
              <a:buFont typeface="Calibri"/>
              <a:buNone/>
            </a:pPr>
            <a:r>
              <a:rPr lang="fr-FR"/>
              <a:t>Il faut savoir que, d’après les simulations scientifiques, le fait d’avoir émis 2 400 milliards de tonnes d’équivalent CO</a:t>
            </a:r>
            <a:r>
              <a:rPr lang="fr-FR" baseline="-25000"/>
              <a:t>2</a:t>
            </a:r>
            <a:r>
              <a:rPr lang="fr-FR"/>
              <a:t> nous garantit d’ores et déjà une élévation de température par rapport à l’ère préindustrielle de 1,4°C en 2100. C’est la chimie qui nous explique qu’on a d’ores et déjà signé pour 1,4°C de réchauffement, et que ce n’est déjà plus négociable. Il fallait y penser avant.</a:t>
            </a:r>
            <a:endParaRPr/>
          </a:p>
          <a:p>
            <a:pPr marL="0" lvl="0" indent="0" algn="l" rtl="0">
              <a:spcBef>
                <a:spcPts val="0"/>
              </a:spcBef>
              <a:spcAft>
                <a:spcPts val="0"/>
              </a:spcAft>
              <a:buClr>
                <a:schemeClr val="dk1"/>
              </a:buClr>
              <a:buSzPts val="1200"/>
              <a:buFont typeface="Calibri"/>
              <a:buNone/>
            </a:pPr>
            <a:endParaRPr/>
          </a:p>
          <a:p>
            <a:pPr marL="0" lvl="0" indent="0" algn="l" rtl="0">
              <a:spcBef>
                <a:spcPts val="0"/>
              </a:spcBef>
              <a:spcAft>
                <a:spcPts val="0"/>
              </a:spcAft>
              <a:buClr>
                <a:schemeClr val="dk1"/>
              </a:buClr>
              <a:buSzPts val="1200"/>
              <a:buFont typeface="Calibri"/>
              <a:buNone/>
            </a:pPr>
            <a:r>
              <a:rPr lang="fr-FR"/>
              <a:t>Petite question, au passage : à votre avis, combien de temps il nous a fallu, depuis qu’on envoie du CO</a:t>
            </a:r>
            <a:r>
              <a:rPr lang="fr-FR" baseline="-25000"/>
              <a:t>2</a:t>
            </a:r>
            <a:r>
              <a:rPr lang="fr-FR"/>
              <a:t> dans l’atmosphère, pour émettre la première moitié de tout ce CO</a:t>
            </a:r>
            <a:r>
              <a:rPr lang="fr-FR" baseline="-25000"/>
              <a:t>2</a:t>
            </a:r>
            <a:r>
              <a:rPr lang="fr-FR"/>
              <a:t> (juste le CO</a:t>
            </a:r>
            <a:r>
              <a:rPr lang="fr-FR" baseline="-25000"/>
              <a:t>2</a:t>
            </a:r>
            <a:r>
              <a:rPr lang="fr-FR"/>
              <a:t>, sans compter les autres gaz à effet de serre), et combien d’années on a mis pour émettre la seconde moitié ? </a:t>
            </a:r>
            <a:r>
              <a:rPr lang="fr-FR" i="1"/>
              <a:t>[Interaction avec le public]</a:t>
            </a:r>
            <a:r>
              <a:rPr lang="fr-FR"/>
              <a:t> Réponse : le point milieu, c’est 1982</a:t>
            </a:r>
            <a:r>
              <a:rPr lang="fr-FR" i="1"/>
              <a:t>.</a:t>
            </a:r>
            <a:r>
              <a:rPr lang="fr-FR"/>
              <a:t> </a:t>
            </a:r>
            <a:r>
              <a:rPr lang="fr-FR" i="1"/>
              <a:t>[Clic]</a:t>
            </a:r>
            <a:r>
              <a:rPr lang="fr-FR"/>
              <a:t> Depuis 1982, nous avons envoyé dans l’atmosphère autant de CO</a:t>
            </a:r>
            <a:r>
              <a:rPr lang="fr-FR" baseline="-25000"/>
              <a:t>2</a:t>
            </a:r>
            <a:r>
              <a:rPr lang="fr-FR"/>
              <a:t> que tout ce que l’humanité avait envoyé depuis la nuit des temps jusqu’en 1982. Un certain nombre d’entre vous étaient déjà nés en 1982, et pour ceux qui sont plus jeunes, vos parents avaient déjà atteint l’âge adulte à ce moment-là.</a:t>
            </a:r>
            <a:endParaRPr/>
          </a:p>
          <a:p>
            <a:pPr marL="0" lvl="0" indent="0" algn="l" rtl="0">
              <a:spcBef>
                <a:spcPts val="0"/>
              </a:spcBef>
              <a:spcAft>
                <a:spcPts val="0"/>
              </a:spcAft>
              <a:buClr>
                <a:schemeClr val="dk1"/>
              </a:buClr>
              <a:buSzPts val="1200"/>
              <a:buFont typeface="Calibri"/>
              <a:buNone/>
            </a:pPr>
            <a:endParaRPr u="none"/>
          </a:p>
          <a:p>
            <a:pPr marL="0" lvl="0" indent="0" algn="l" rtl="0">
              <a:spcBef>
                <a:spcPts val="0"/>
              </a:spcBef>
              <a:spcAft>
                <a:spcPts val="0"/>
              </a:spcAft>
              <a:buClr>
                <a:schemeClr val="dk1"/>
              </a:buClr>
              <a:buSzPts val="1200"/>
              <a:buFont typeface="Calibri"/>
              <a:buNone/>
            </a:pPr>
            <a:r>
              <a:rPr lang="fr-FR" i="1" u="none"/>
              <a:t>[A ne dire que si la slide qui découpe en 6 les émissions historiques n’est pas masquée] </a:t>
            </a:r>
            <a:r>
              <a:rPr lang="fr-FR" u="none"/>
              <a:t>On peut même aller plus loin : si on découpe en 3 parts égales chacune de ces 2 moitiés, voilà ce que cela donne.</a:t>
            </a:r>
            <a:endParaRPr u="sng"/>
          </a:p>
          <a:p>
            <a:pPr marL="0" lvl="0" indent="0" algn="l" rtl="0">
              <a:spcBef>
                <a:spcPts val="0"/>
              </a:spcBef>
              <a:spcAft>
                <a:spcPts val="0"/>
              </a:spcAft>
              <a:buClr>
                <a:schemeClr val="dk1"/>
              </a:buClr>
              <a:buSzPts val="1200"/>
              <a:buFont typeface="Calibri"/>
              <a:buNone/>
            </a:pPr>
            <a:endParaRPr i="1"/>
          </a:p>
          <a:p>
            <a:pPr marL="0" lvl="0" indent="0" algn="l" rtl="0">
              <a:spcBef>
                <a:spcPts val="0"/>
              </a:spcBef>
              <a:spcAft>
                <a:spcPts val="0"/>
              </a:spcAft>
              <a:buClr>
                <a:schemeClr val="dk1"/>
              </a:buClr>
              <a:buSzPts val="1200"/>
              <a:buFont typeface="Calibri"/>
              <a:buNone/>
            </a:pPr>
            <a:r>
              <a:rPr lang="fr-FR" i="1"/>
              <a:t>Source (2020) émissions passées de CO2 : Global Carbon Project.</a:t>
            </a:r>
            <a:endParaRPr u="sng"/>
          </a:p>
          <a:p>
            <a:pPr marL="0" lvl="0" indent="0" algn="l" rtl="0">
              <a:spcBef>
                <a:spcPts val="0"/>
              </a:spcBef>
              <a:spcAft>
                <a:spcPts val="0"/>
              </a:spcAft>
              <a:buNone/>
            </a:pPr>
            <a:endParaRPr/>
          </a:p>
        </p:txBody>
      </p:sp>
      <p:sp>
        <p:nvSpPr>
          <p:cNvPr id="858" name="Google Shape;858;p2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fr-FR"/>
              <a:t>3</a:t>
            </a:fld>
            <a:endParaRPr/>
          </a:p>
        </p:txBody>
      </p:sp>
    </p:spTree>
    <p:extLst>
      <p:ext uri="{BB962C8B-B14F-4D97-AF65-F5344CB8AC3E}">
        <p14:creationId xmlns:p14="http://schemas.microsoft.com/office/powerpoint/2010/main" val="17690560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3"/>
        <p:cNvGrpSpPr/>
        <p:nvPr/>
      </p:nvGrpSpPr>
      <p:grpSpPr>
        <a:xfrm>
          <a:off x="0" y="0"/>
          <a:ext cx="0" cy="0"/>
          <a:chOff x="0" y="0"/>
          <a:chExt cx="0" cy="0"/>
        </a:xfrm>
      </p:grpSpPr>
      <p:sp>
        <p:nvSpPr>
          <p:cNvPr id="964" name="Google Shape;964;p3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65" name="Google Shape;965;p3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595959"/>
              </a:buClr>
              <a:buSzPts val="900"/>
              <a:buFont typeface="Calibri"/>
              <a:buNone/>
            </a:pPr>
            <a:r>
              <a:rPr lang="fr-FR" i="1"/>
              <a:t>Messages des slides « Longue vie à la consommation » :</a:t>
            </a:r>
            <a:endParaRPr/>
          </a:p>
          <a:p>
            <a:pPr marL="228600" lvl="0" indent="-228600" algn="l" rtl="0">
              <a:spcBef>
                <a:spcPts val="0"/>
              </a:spcBef>
              <a:spcAft>
                <a:spcPts val="0"/>
              </a:spcAft>
              <a:buClr>
                <a:srgbClr val="595959"/>
              </a:buClr>
              <a:buSzPts val="900"/>
              <a:buFont typeface="Calibri"/>
              <a:buAutoNum type="arabicPeriod"/>
            </a:pPr>
            <a:r>
              <a:rPr lang="fr-FR" i="1"/>
              <a:t>À de rares exceptions près, dont 2020, depuis 1850, on envoie chaque année dans l’atmosphère plus de CO</a:t>
            </a:r>
            <a:r>
              <a:rPr lang="fr-FR" i="1" baseline="-25000"/>
              <a:t>2</a:t>
            </a:r>
            <a:r>
              <a:rPr lang="fr-FR" i="1"/>
              <a:t> que l’année d’avant.</a:t>
            </a:r>
            <a:endParaRPr/>
          </a:p>
          <a:p>
            <a:pPr marL="228600" lvl="0" indent="-228600" algn="l" rtl="0">
              <a:spcBef>
                <a:spcPts val="0"/>
              </a:spcBef>
              <a:spcAft>
                <a:spcPts val="0"/>
              </a:spcAft>
              <a:buClr>
                <a:srgbClr val="595959"/>
              </a:buClr>
              <a:buSzPts val="900"/>
              <a:buFont typeface="Calibri"/>
              <a:buAutoNum type="arabicPeriod"/>
            </a:pPr>
            <a:r>
              <a:rPr lang="fr-FR" i="1"/>
              <a:t>Le cumul, ça fait en gros 2'400 Gt CO</a:t>
            </a:r>
            <a:r>
              <a:rPr lang="fr-FR" i="1" baseline="-25000"/>
              <a:t>2</a:t>
            </a:r>
            <a:endParaRPr i="1"/>
          </a:p>
          <a:p>
            <a:pPr marL="228600" marR="0" lvl="0" indent="-228600" algn="l" rtl="0">
              <a:lnSpc>
                <a:spcPct val="100000"/>
              </a:lnSpc>
              <a:spcBef>
                <a:spcPts val="0"/>
              </a:spcBef>
              <a:spcAft>
                <a:spcPts val="0"/>
              </a:spcAft>
              <a:buClr>
                <a:srgbClr val="595959"/>
              </a:buClr>
              <a:buSzPts val="900"/>
              <a:buFont typeface="Calibri"/>
              <a:buAutoNum type="arabicPeriod"/>
            </a:pPr>
            <a:r>
              <a:rPr lang="fr-FR" i="1"/>
              <a:t>2'400 Gt CO</a:t>
            </a:r>
            <a:r>
              <a:rPr lang="fr-FR" i="1" baseline="-25000"/>
              <a:t>2</a:t>
            </a:r>
            <a:r>
              <a:rPr lang="fr-FR" i="1"/>
              <a:t> </a:t>
            </a:r>
            <a:r>
              <a:rPr lang="fr-FR" i="0"/>
              <a:t>⇒</a:t>
            </a:r>
            <a:r>
              <a:rPr lang="fr-FR" i="1"/>
              <a:t> quasiment +1,4°C en 2100. Comme on ne va pas arrêter les émissions du jour au lendemain, dans les faits, les +1,5°C ne sont déjà plus négociables</a:t>
            </a:r>
            <a:endParaRPr/>
          </a:p>
          <a:p>
            <a:pPr marL="228600" lvl="0" indent="-228600" algn="l" rtl="0">
              <a:spcBef>
                <a:spcPts val="0"/>
              </a:spcBef>
              <a:spcAft>
                <a:spcPts val="0"/>
              </a:spcAft>
              <a:buClr>
                <a:srgbClr val="595959"/>
              </a:buClr>
              <a:buSzPts val="900"/>
              <a:buFont typeface="Calibri"/>
              <a:buAutoNum type="arabicPeriod"/>
            </a:pPr>
            <a:r>
              <a:rPr lang="fr-FR" i="1"/>
              <a:t>La 2</a:t>
            </a:r>
            <a:r>
              <a:rPr lang="fr-FR" i="1" baseline="30000"/>
              <a:t>nde</a:t>
            </a:r>
            <a:r>
              <a:rPr lang="fr-FR" i="1"/>
              <a:t> moitié des 2'400 Gt CO</a:t>
            </a:r>
            <a:r>
              <a:rPr lang="fr-FR" i="1" baseline="-25000"/>
              <a:t>2</a:t>
            </a:r>
            <a:r>
              <a:rPr lang="fr-FR" i="1"/>
              <a:t>, c’est notre génération qui en est responsable (1982 </a:t>
            </a:r>
            <a:r>
              <a:rPr lang="fr-FR" i="0"/>
              <a:t>→ </a:t>
            </a:r>
            <a:r>
              <a:rPr lang="fr-FR" i="1"/>
              <a:t>2020). Et l’accélération de nos émissions est impressionnante : on a envoyé autant dans l’atmosphère ces 9 dernières années que durant les 16 années précédentes. Depuis que le protocole de Kyoto a été signé, on a à peu près émis la moitié (en plus !) de tout ce qu’on avait émis pendant tout le XIX</a:t>
            </a:r>
            <a:r>
              <a:rPr lang="fr-FR" i="1" baseline="30000"/>
              <a:t>e</a:t>
            </a:r>
            <a:r>
              <a:rPr lang="fr-FR" i="1"/>
              <a:t> et le XX</a:t>
            </a:r>
            <a:r>
              <a:rPr lang="fr-FR" i="1" baseline="30000"/>
              <a:t>e</a:t>
            </a:r>
            <a:r>
              <a:rPr lang="fr-FR" i="1"/>
              <a:t> siècle.</a:t>
            </a:r>
            <a:endParaRPr/>
          </a:p>
          <a:p>
            <a:pPr marL="228600" lvl="0" indent="-228600" algn="l" rtl="0">
              <a:spcBef>
                <a:spcPts val="0"/>
              </a:spcBef>
              <a:spcAft>
                <a:spcPts val="0"/>
              </a:spcAft>
              <a:buClr>
                <a:srgbClr val="595959"/>
              </a:buClr>
              <a:buSzPts val="900"/>
              <a:buFont typeface="Calibri"/>
              <a:buAutoNum type="arabicPeriod"/>
            </a:pPr>
            <a:r>
              <a:rPr lang="fr-FR" i="1"/>
              <a:t>Si on continue sur la même tendance, on émettra encore 4’000 à 6’000 Gt CO</a:t>
            </a:r>
            <a:r>
              <a:rPr lang="fr-FR" i="1" baseline="-25000"/>
              <a:t>2</a:t>
            </a:r>
            <a:r>
              <a:rPr lang="fr-FR" i="1"/>
              <a:t> de plus </a:t>
            </a:r>
            <a:r>
              <a:rPr lang="fr-FR" i="0"/>
              <a:t>⇒</a:t>
            </a:r>
            <a:r>
              <a:rPr lang="fr-FR" i="1"/>
              <a:t> +4°C à +6°C en 2100</a:t>
            </a:r>
            <a:endParaRPr/>
          </a:p>
          <a:p>
            <a:pPr marL="228600" lvl="0" indent="-228600" algn="l" rtl="0">
              <a:spcBef>
                <a:spcPts val="0"/>
              </a:spcBef>
              <a:spcAft>
                <a:spcPts val="0"/>
              </a:spcAft>
              <a:buClr>
                <a:srgbClr val="595959"/>
              </a:buClr>
              <a:buSzPts val="900"/>
              <a:buFont typeface="Calibri"/>
              <a:buAutoNum type="arabicPeriod"/>
            </a:pPr>
            <a:r>
              <a:rPr lang="fr-FR" i="1"/>
              <a:t>Ne dépasser +2°C = environ +1000 GtCO</a:t>
            </a:r>
            <a:r>
              <a:rPr lang="fr-FR" i="1" baseline="-25000"/>
              <a:t>2</a:t>
            </a:r>
            <a:r>
              <a:rPr lang="fr-FR" i="1"/>
              <a:t> au maximum, soit entre 20 et 25 ans d’émissions actuelles</a:t>
            </a:r>
            <a:endParaRPr/>
          </a:p>
          <a:p>
            <a:pPr marL="228600" lvl="0" indent="-228600" algn="l" rtl="0">
              <a:spcBef>
                <a:spcPts val="0"/>
              </a:spcBef>
              <a:spcAft>
                <a:spcPts val="0"/>
              </a:spcAft>
              <a:buClr>
                <a:srgbClr val="595959"/>
              </a:buClr>
              <a:buSzPts val="900"/>
              <a:buFont typeface="Calibri"/>
              <a:buAutoNum type="arabicPeriod"/>
            </a:pPr>
            <a:r>
              <a:rPr lang="fr-FR" i="1"/>
              <a:t>De façon réaliste, +1000 Gt CO</a:t>
            </a:r>
            <a:r>
              <a:rPr lang="fr-FR" i="1" baseline="-25000"/>
              <a:t>2</a:t>
            </a:r>
            <a:r>
              <a:rPr lang="fr-FR" i="1"/>
              <a:t> implique une division par 3 de nos émissions d’ici 2050, puis la neutralité carbone à l’échelle mondiale dans le 2</a:t>
            </a:r>
            <a:r>
              <a:rPr lang="fr-FR" i="1" baseline="30000"/>
              <a:t>nde</a:t>
            </a:r>
            <a:r>
              <a:rPr lang="fr-FR" i="1"/>
              <a:t> moitié du 21</a:t>
            </a:r>
            <a:r>
              <a:rPr lang="fr-FR" i="1" baseline="30000"/>
              <a:t>ème</a:t>
            </a:r>
            <a:r>
              <a:rPr lang="fr-FR" i="1"/>
              <a:t> siècle</a:t>
            </a:r>
            <a:endParaRPr/>
          </a:p>
          <a:p>
            <a:pPr marL="228600" lvl="0" indent="-228600" algn="l" rtl="0">
              <a:spcBef>
                <a:spcPts val="0"/>
              </a:spcBef>
              <a:spcAft>
                <a:spcPts val="0"/>
              </a:spcAft>
              <a:buClr>
                <a:srgbClr val="595959"/>
              </a:buClr>
              <a:buSzPts val="900"/>
              <a:buFont typeface="Calibri"/>
              <a:buAutoNum type="arabicPeriod"/>
            </a:pPr>
            <a:r>
              <a:rPr lang="fr-FR" i="1"/>
              <a:t>Cette baisse doit avoir lieu le plus vite possible.</a:t>
            </a:r>
            <a:endParaRPr/>
          </a:p>
          <a:p>
            <a:pPr marL="0" lvl="0" indent="0" algn="l" rtl="0">
              <a:spcBef>
                <a:spcPts val="0"/>
              </a:spcBef>
              <a:spcAft>
                <a:spcPts val="0"/>
              </a:spcAft>
              <a:buClr>
                <a:schemeClr val="dk1"/>
              </a:buClr>
              <a:buSzPts val="1200"/>
              <a:buFont typeface="Calibri"/>
              <a:buNone/>
            </a:pPr>
            <a:endParaRPr/>
          </a:p>
          <a:p>
            <a:pPr marL="0" lvl="0" indent="0" algn="l" rtl="0">
              <a:spcBef>
                <a:spcPts val="0"/>
              </a:spcBef>
              <a:spcAft>
                <a:spcPts val="0"/>
              </a:spcAft>
              <a:buClr>
                <a:schemeClr val="dk1"/>
              </a:buClr>
              <a:buSzPts val="1200"/>
              <a:buFont typeface="Calibri"/>
              <a:buNone/>
            </a:pPr>
            <a:r>
              <a:rPr lang="fr-FR"/>
              <a:t>Là-dessus, on pourrait se poser légitimement une question : qu’est-ce qu’il se passe si on ne fait rien ? C’est-à-dire non pas si on arrête d’émettre – ça on vient de le voir : si on arrête d’émettre le moindre GES demain matin, on prend 1,5°C – mais si on imagine l’avenir comme une joyeuse perpétuation du passé, donc si nous continuons d’émettre un peu plus chaque année que la précédente. </a:t>
            </a:r>
            <a:r>
              <a:rPr lang="fr-FR" i="1"/>
              <a:t>[Clic]</a:t>
            </a:r>
            <a:r>
              <a:rPr lang="fr-FR"/>
              <a:t> Dans ce scénario </a:t>
            </a:r>
            <a:r>
              <a:rPr lang="fr-FR" i="1"/>
              <a:t>business as usual </a:t>
            </a:r>
            <a:r>
              <a:rPr lang="fr-FR"/>
              <a:t>– qui est, au passage, ce que nous vendent la plupart de nos décideurs politiques et économiques 5 minutes après nous avoir expliqué tout le bien qu’ils souhaitent au climat – dans ce scénario disais-je, nous nous retrouverions à émettre en moins d’un siècle l’équivalent de 2 à 3 fois plus que ce que l’on a émis dans le siècle et demi précédent. Donc entre aujourd’hui et 2100, on émettrait de l’ordre de 4 000 à 6 000 milliards de tonnes de CO</a:t>
            </a:r>
            <a:r>
              <a:rPr lang="fr-FR" baseline="-25000"/>
              <a:t>2</a:t>
            </a:r>
            <a:r>
              <a:rPr lang="fr-FR"/>
              <a:t>, ce qui ferait 6 000 à 8 000 milliards de tonnes depuis le début de l’ère industrielle. Et là je retourne vers mon climatologue et ses simulations de tout à l’heure, et ils me disent que dans ce cas, on se garantit une augmentation de n’importe quoi entre +4°C et +6°C d’ici à la fin du siècle. </a:t>
            </a:r>
            <a:r>
              <a:rPr lang="fr-FR" i="1"/>
              <a:t>[Clic]</a:t>
            </a:r>
            <a:r>
              <a:rPr lang="fr-FR"/>
              <a:t> Et là je vous renvoie au +5°C présentés dont on vous a parlé un peu plus tôt.</a:t>
            </a:r>
            <a:endParaRPr/>
          </a:p>
          <a:p>
            <a:pPr marL="0" lvl="0" indent="0" algn="l" rtl="0">
              <a:spcBef>
                <a:spcPts val="0"/>
              </a:spcBef>
              <a:spcAft>
                <a:spcPts val="0"/>
              </a:spcAft>
              <a:buClr>
                <a:schemeClr val="dk1"/>
              </a:buClr>
              <a:buSzPts val="1200"/>
              <a:buFont typeface="Calibri"/>
              <a:buNone/>
            </a:pPr>
            <a:endParaRPr/>
          </a:p>
          <a:p>
            <a:pPr marL="0" lvl="0" indent="0" algn="l" rtl="0">
              <a:spcBef>
                <a:spcPts val="0"/>
              </a:spcBef>
              <a:spcAft>
                <a:spcPts val="0"/>
              </a:spcAft>
              <a:buClr>
                <a:schemeClr val="dk1"/>
              </a:buClr>
              <a:buSzPts val="1200"/>
              <a:buFont typeface="Calibri"/>
              <a:buNone/>
            </a:pPr>
            <a:r>
              <a:rPr lang="fr-FR"/>
              <a:t>A part quelques éventuels aspirants démiurges, je vais supposer que nous ne sommes pas très nombreux à vouloir ça. Donc la question qui suit, c’est : « si on considère qu’au-delà de +2°C, on sort des limites de l’acceptable, que faut-il faire ? » Et là notre climatologue de tout à l’heure nous répond que nous avons encore le droit d’émettre de l’ordre de 800 milliards de tonnes de CO</a:t>
            </a:r>
            <a:r>
              <a:rPr lang="fr-FR" baseline="-25000"/>
              <a:t>2</a:t>
            </a:r>
            <a:r>
              <a:rPr lang="fr-FR"/>
              <a:t> d’ici à 2100.</a:t>
            </a:r>
            <a:r>
              <a:rPr lang="fr-FR" i="1"/>
              <a:t> (Suggestion d’interaction : à ce moment, on peut demander au public en combien de temps, à son avis, on mangerait ce budget si le monde cessait de faire croître ses émissions d’une année sur l’autre sans les réduire)</a:t>
            </a:r>
            <a:r>
              <a:rPr lang="fr-FR"/>
              <a:t> </a:t>
            </a:r>
            <a:r>
              <a:rPr lang="fr-FR" i="1"/>
              <a:t>[Clic]</a:t>
            </a:r>
            <a:endParaRPr/>
          </a:p>
          <a:p>
            <a:pPr marL="0" lvl="0" indent="0" algn="l" rtl="0">
              <a:spcBef>
                <a:spcPts val="0"/>
              </a:spcBef>
              <a:spcAft>
                <a:spcPts val="0"/>
              </a:spcAft>
              <a:buClr>
                <a:schemeClr val="dk1"/>
              </a:buClr>
              <a:buSzPts val="1200"/>
              <a:buFont typeface="Calibri"/>
              <a:buNone/>
            </a:pPr>
            <a:endParaRPr i="1" u="sng"/>
          </a:p>
          <a:p>
            <a:pPr marL="0" marR="0" lvl="0" indent="0" algn="l" rtl="0">
              <a:lnSpc>
                <a:spcPct val="100000"/>
              </a:lnSpc>
              <a:spcBef>
                <a:spcPts val="0"/>
              </a:spcBef>
              <a:spcAft>
                <a:spcPts val="0"/>
              </a:spcAft>
              <a:buClr>
                <a:schemeClr val="dk1"/>
              </a:buClr>
              <a:buSzPts val="1200"/>
              <a:buFont typeface="Calibri"/>
              <a:buNone/>
            </a:pPr>
            <a:r>
              <a:rPr lang="fr-FR"/>
              <a:t>C’est peu : si on arrivait ne serait-ce qu’à conserver un niveau d’émissions égal au niveau actuel, on aurait consommé notre « budget » carbone en environ 25 ans. </a:t>
            </a:r>
            <a:r>
              <a:rPr lang="fr-FR" i="1"/>
              <a:t>[Clic]</a:t>
            </a:r>
            <a:r>
              <a:rPr lang="fr-FR"/>
              <a:t> Évidemment, c’est une vision très théorique. Plus concrètement, 1 000 milliards de tonnes, cela veut dire que les plus jeunes d’aujourd’hui ont le droit d’émettre collectivement, jusqu’à la fin de leurs jours, 3 fois moins de gaz à effet de serre que ce que leurs parents et grands-parents ont émis durant tout le siècle précédent. Pour bien se représenter le tour de force que cela suppose, il faut se souvenir qu’aujourd’hui nous sommes presque 8 milliards sur Terre </a:t>
            </a:r>
            <a:r>
              <a:rPr lang="fr-FR" i="1"/>
              <a:t>[7,8 milliards en 2020]</a:t>
            </a:r>
            <a:r>
              <a:rPr lang="fr-FR"/>
              <a:t>, quand les générations précédentes étaient bien moins nombreuses : 2,5 milliards en 1950. Dit autrement, la quantité de gaz à effet de serre qu’un enfant qui nait aujourd’hui a le droit d’émettre sur l’intégralité de sa vie est d’ordre d’1/9 de ce que ses parents ont émis. Voilà, c’est ça, les 2°C.</a:t>
            </a:r>
            <a:endParaRPr/>
          </a:p>
          <a:p>
            <a:pPr marL="0" lvl="0" indent="0" algn="l" rtl="0">
              <a:spcBef>
                <a:spcPts val="0"/>
              </a:spcBef>
              <a:spcAft>
                <a:spcPts val="0"/>
              </a:spcAft>
              <a:buClr>
                <a:schemeClr val="dk1"/>
              </a:buClr>
              <a:buSzPts val="1200"/>
              <a:buFont typeface="Calibri"/>
              <a:buNone/>
            </a:pPr>
            <a:endParaRPr u="sng"/>
          </a:p>
          <a:p>
            <a:pPr marL="0" lvl="0" indent="0" algn="l" rtl="0">
              <a:spcBef>
                <a:spcPts val="0"/>
              </a:spcBef>
              <a:spcAft>
                <a:spcPts val="0"/>
              </a:spcAft>
              <a:buClr>
                <a:schemeClr val="dk1"/>
              </a:buClr>
              <a:buSzPts val="1200"/>
              <a:buFont typeface="Calibri"/>
              <a:buNone/>
            </a:pPr>
            <a:r>
              <a:rPr lang="fr-FR" i="1"/>
              <a:t>[Clic]</a:t>
            </a:r>
            <a:r>
              <a:rPr lang="fr-FR"/>
              <a:t> Si stabiliser ne suffit pas, il faut donc diminuer, année après année, les émissions, et on vous a représenté ici en bleu ce que cela donnerait si cette baisse était lissée. Ce que nous disent la chimie et la dynamique des systèmes, c’est que pour réussir ça, il faudra avoir rendu les émissions mondiales nulles quelque part dans la 2</a:t>
            </a:r>
            <a:r>
              <a:rPr lang="fr-FR" baseline="30000"/>
              <a:t>ème</a:t>
            </a:r>
            <a:r>
              <a:rPr lang="fr-FR"/>
              <a:t> moitié du XXI</a:t>
            </a:r>
            <a:r>
              <a:rPr lang="fr-FR" baseline="30000"/>
              <a:t>e</a:t>
            </a:r>
            <a:r>
              <a:rPr lang="fr-FR"/>
              <a:t> siècle – d’où l’expression de « neutralité carbone » qu’on commence à entendre partout. Et il faudra déjà les avoir divisées par trois d’ici à 2050 – donc pour tous les moins de 50 ans, c’est quelque chose qu’on doit réussir à faire, a priori, de notre vivant. En clair, si on veut sérieusement viser les +2°C, il faut qu’on commence à diminuer nos émissions tout de suite, et il faut le faire très vite.</a:t>
            </a:r>
            <a:endParaRPr/>
          </a:p>
          <a:p>
            <a:pPr marL="0" lvl="0" indent="0" algn="l" rtl="0">
              <a:spcBef>
                <a:spcPts val="0"/>
              </a:spcBef>
              <a:spcAft>
                <a:spcPts val="0"/>
              </a:spcAft>
              <a:buClr>
                <a:schemeClr val="dk1"/>
              </a:buClr>
              <a:buSzPts val="1200"/>
              <a:buFont typeface="Calibri"/>
              <a:buNone/>
            </a:pPr>
            <a:endParaRPr/>
          </a:p>
          <a:p>
            <a:pPr marL="0" lvl="0" indent="0" algn="l" rtl="0">
              <a:spcBef>
                <a:spcPts val="0"/>
              </a:spcBef>
              <a:spcAft>
                <a:spcPts val="0"/>
              </a:spcAft>
              <a:buClr>
                <a:schemeClr val="dk1"/>
              </a:buClr>
              <a:buSzPts val="1200"/>
              <a:buFont typeface="Calibri"/>
              <a:buNone/>
            </a:pPr>
            <a:r>
              <a:rPr lang="fr-FR"/>
              <a:t>Comment on fait ça ?</a:t>
            </a:r>
            <a:endParaRPr/>
          </a:p>
          <a:p>
            <a:pPr marL="0" lvl="0" indent="0" algn="l" rtl="0">
              <a:spcBef>
                <a:spcPts val="0"/>
              </a:spcBef>
              <a:spcAft>
                <a:spcPts val="0"/>
              </a:spcAft>
              <a:buClr>
                <a:schemeClr val="dk1"/>
              </a:buClr>
              <a:buSzPts val="1200"/>
              <a:buFont typeface="Calibri"/>
              <a:buNone/>
            </a:pPr>
            <a:endParaRPr/>
          </a:p>
          <a:p>
            <a:pPr marL="0" lvl="0" indent="0" algn="l" rtl="0">
              <a:spcBef>
                <a:spcPts val="0"/>
              </a:spcBef>
              <a:spcAft>
                <a:spcPts val="0"/>
              </a:spcAft>
              <a:buClr>
                <a:schemeClr val="dk1"/>
              </a:buClr>
              <a:buSzPts val="1200"/>
              <a:buFont typeface="Calibri"/>
              <a:buNone/>
            </a:pPr>
            <a:r>
              <a:rPr lang="fr-FR" sz="1200"/>
              <a:t>Il faut arriver à réduire nos émissions collectivement. Pour réussir à réduire nos émissions collectivement, il faut que chacun de nous les réduise individuellement.</a:t>
            </a:r>
            <a:endParaRPr/>
          </a:p>
          <a:p>
            <a:pPr marL="0" lvl="0" indent="0" algn="l" rtl="0">
              <a:spcBef>
                <a:spcPts val="0"/>
              </a:spcBef>
              <a:spcAft>
                <a:spcPts val="0"/>
              </a:spcAft>
              <a:buClr>
                <a:schemeClr val="dk1"/>
              </a:buClr>
              <a:buSzPts val="1200"/>
              <a:buFont typeface="Calibri"/>
              <a:buNone/>
            </a:pPr>
            <a:r>
              <a:rPr lang="fr-FR" sz="1200"/>
              <a:t>Pour pouvoir les réduire individuellement, il faut savoir qu’est-ce qui émet, à notre échelle individuelle, et au cours desquelles de nos activités on émet le plus. Et pour ça, on va prendre un exemple concret, que vous avez tous, j’imagine, dans la poche… ou dans les mains : le portable ! </a:t>
            </a:r>
            <a:r>
              <a:rPr lang="fr-FR" i="1"/>
              <a:t>[Clic]</a:t>
            </a:r>
            <a:endParaRPr/>
          </a:p>
          <a:p>
            <a:pPr marL="0" lvl="0" indent="0" algn="l" rtl="0">
              <a:spcBef>
                <a:spcPts val="0"/>
              </a:spcBef>
              <a:spcAft>
                <a:spcPts val="0"/>
              </a:spcAft>
              <a:buClr>
                <a:schemeClr val="dk1"/>
              </a:buClr>
              <a:buSzPts val="1200"/>
              <a:buFont typeface="Calibri"/>
              <a:buNone/>
            </a:pPr>
            <a:endParaRPr u="sng"/>
          </a:p>
          <a:p>
            <a:pPr marL="0" lvl="0" indent="0" algn="l" rtl="0">
              <a:spcBef>
                <a:spcPts val="0"/>
              </a:spcBef>
              <a:spcAft>
                <a:spcPts val="0"/>
              </a:spcAft>
              <a:buClr>
                <a:schemeClr val="dk1"/>
              </a:buClr>
              <a:buSzPts val="1200"/>
              <a:buFont typeface="Calibri"/>
              <a:buNone/>
            </a:pPr>
            <a:r>
              <a:rPr lang="fr-FR" u="sng"/>
              <a:t>PCAE&lt;Globalement les objectifs chiffrés dans le plan climat sont en ligne avec ce graphe. Dit comme ça, ça n’a l’air de rien, mais c’est en fait notable en soi, car jusqu’à aujourd’hui, il est très rare qu’un plan d’actions ou plus largement un objet politique relatif au climat ait des fondations scientifiques aussi solides. Cela ne suffit évidemment pas à garantir que les mesures proposées permettront d’atteindre les objectifs de réduction d’émissions, et encore moins que les moyens (financiers, techniques ou légaux) mis en œuvre ensuite soient à la hauteur des ambitions mais, ne serait-ce que pour cette cohérence des ambitions avec les enjeux globaux, cela mérite d’être souligné. </a:t>
            </a:r>
            <a:r>
              <a:rPr lang="fr-FR" i="1" u="sng"/>
              <a:t>(cf 1</a:t>
            </a:r>
            <a:r>
              <a:rPr lang="fr-FR" i="1" u="sng" baseline="30000"/>
              <a:t>ère</a:t>
            </a:r>
            <a:r>
              <a:rPr lang="fr-FR" i="1" u="sng"/>
              <a:t> diapo PCAE en annexe)</a:t>
            </a:r>
            <a:r>
              <a:rPr lang="fr-FR" u="sng"/>
              <a:t>\&gt;PCAE</a:t>
            </a:r>
            <a:endParaRPr/>
          </a:p>
          <a:p>
            <a:pPr marL="0" lvl="0" indent="0" algn="l" rtl="0">
              <a:spcBef>
                <a:spcPts val="0"/>
              </a:spcBef>
              <a:spcAft>
                <a:spcPts val="0"/>
              </a:spcAft>
              <a:buClr>
                <a:schemeClr val="dk1"/>
              </a:buClr>
              <a:buSzPts val="1200"/>
              <a:buFont typeface="Calibri"/>
              <a:buNone/>
            </a:pPr>
            <a:endParaRPr u="sng"/>
          </a:p>
          <a:p>
            <a:pPr marL="0" lvl="0" indent="0" algn="l" rtl="0">
              <a:spcBef>
                <a:spcPts val="0"/>
              </a:spcBef>
              <a:spcAft>
                <a:spcPts val="0"/>
              </a:spcAft>
              <a:buClr>
                <a:schemeClr val="dk1"/>
              </a:buClr>
              <a:buSzPts val="1200"/>
              <a:buFont typeface="Calibri"/>
              <a:buNone/>
            </a:pPr>
            <a:endParaRPr u="sng"/>
          </a:p>
          <a:p>
            <a:pPr marL="0" lvl="0" indent="0" algn="l" rtl="0">
              <a:spcBef>
                <a:spcPts val="0"/>
              </a:spcBef>
              <a:spcAft>
                <a:spcPts val="0"/>
              </a:spcAft>
              <a:buClr>
                <a:schemeClr val="dk1"/>
              </a:buClr>
              <a:buSzPts val="1200"/>
              <a:buFont typeface="Calibri"/>
              <a:buNone/>
            </a:pPr>
            <a:r>
              <a:rPr lang="fr-FR" i="1"/>
              <a:t>Source (2020) émissions passées de CO2 : Global Carbon Project.</a:t>
            </a:r>
            <a:endParaRPr u="sng"/>
          </a:p>
          <a:p>
            <a:pPr marL="0" lvl="0" indent="0" algn="l" rtl="0">
              <a:spcBef>
                <a:spcPts val="0"/>
              </a:spcBef>
              <a:spcAft>
                <a:spcPts val="0"/>
              </a:spcAft>
              <a:buNone/>
            </a:pPr>
            <a:endParaRPr/>
          </a:p>
        </p:txBody>
      </p:sp>
      <p:sp>
        <p:nvSpPr>
          <p:cNvPr id="966" name="Google Shape;966;p3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fr-FR"/>
              <a:t>4</a:t>
            </a:fld>
            <a:endParaRPr/>
          </a:p>
        </p:txBody>
      </p:sp>
    </p:spTree>
    <p:extLst>
      <p:ext uri="{BB962C8B-B14F-4D97-AF65-F5344CB8AC3E}">
        <p14:creationId xmlns:p14="http://schemas.microsoft.com/office/powerpoint/2010/main" val="29625905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8495A368-0C4C-4A48-85D5-42CB17BBBCDD}" type="slidenum">
              <a:rPr lang="en-US" smtClean="0">
                <a:solidFill>
                  <a:srgbClr val="000000"/>
                </a:solidFill>
              </a:rPr>
              <a:pPr/>
              <a:t>6</a:t>
            </a:fld>
            <a:endParaRPr lang="en-US">
              <a:solidFill>
                <a:srgbClr val="000000"/>
              </a:solidFill>
            </a:endParaRPr>
          </a:p>
        </p:txBody>
      </p:sp>
    </p:spTree>
    <p:extLst>
      <p:ext uri="{BB962C8B-B14F-4D97-AF65-F5344CB8AC3E}">
        <p14:creationId xmlns:p14="http://schemas.microsoft.com/office/powerpoint/2010/main" val="2556890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a:t>Pour information, environ la moitié de la production de pétrole sert à alimenter des machines qui déplacent des personnes ou des choses. Les 2/3 de la production de charbon servent à alimenter des machines pour produire de l’électricité.</a:t>
            </a:r>
          </a:p>
        </p:txBody>
      </p:sp>
      <p:sp>
        <p:nvSpPr>
          <p:cNvPr id="4" name="Espace réservé du numéro de diapositive 3"/>
          <p:cNvSpPr>
            <a:spLocks noGrp="1"/>
          </p:cNvSpPr>
          <p:nvPr>
            <p:ph type="sldNum" sz="quarter" idx="10"/>
          </p:nvPr>
        </p:nvSpPr>
        <p:spPr/>
        <p:txBody>
          <a:bodyPr/>
          <a:lstStyle/>
          <a:p>
            <a:fld id="{8495A368-0C4C-4A48-85D5-42CB17BBBCDD}" type="slidenum">
              <a:rPr lang="en-US" smtClean="0">
                <a:solidFill>
                  <a:srgbClr val="000000"/>
                </a:solidFill>
              </a:rPr>
              <a:pPr/>
              <a:t>7</a:t>
            </a:fld>
            <a:endParaRPr lang="en-US">
              <a:solidFill>
                <a:srgbClr val="000000"/>
              </a:solidFill>
            </a:endParaRPr>
          </a:p>
        </p:txBody>
      </p:sp>
    </p:spTree>
    <p:extLst>
      <p:ext uri="{BB962C8B-B14F-4D97-AF65-F5344CB8AC3E}">
        <p14:creationId xmlns:p14="http://schemas.microsoft.com/office/powerpoint/2010/main" val="330962964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Diapositive de titre bleu">
  <p:cSld name="Diapositive de titre bleu">
    <p:bg>
      <p:bgPr>
        <a:solidFill>
          <a:schemeClr val="lt2"/>
        </a:solidFill>
        <a:effectLst/>
      </p:bgPr>
    </p:bg>
    <p:spTree>
      <p:nvGrpSpPr>
        <p:cNvPr id="1" name="Shape 10"/>
        <p:cNvGrpSpPr/>
        <p:nvPr/>
      </p:nvGrpSpPr>
      <p:grpSpPr>
        <a:xfrm>
          <a:off x="0" y="0"/>
          <a:ext cx="0" cy="0"/>
          <a:chOff x="0" y="0"/>
          <a:chExt cx="0" cy="0"/>
        </a:xfrm>
      </p:grpSpPr>
      <p:sp>
        <p:nvSpPr>
          <p:cNvPr id="11" name="Google Shape;11;p28"/>
          <p:cNvSpPr/>
          <p:nvPr/>
        </p:nvSpPr>
        <p:spPr>
          <a:xfrm>
            <a:off x="5375274" y="0"/>
            <a:ext cx="6816726" cy="6858000"/>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2" name="Google Shape;12;p28"/>
          <p:cNvSpPr txBox="1">
            <a:spLocks noGrp="1"/>
          </p:cNvSpPr>
          <p:nvPr>
            <p:ph type="body" idx="1"/>
          </p:nvPr>
        </p:nvSpPr>
        <p:spPr>
          <a:xfrm>
            <a:off x="695324" y="2184399"/>
            <a:ext cx="3960814" cy="3584575"/>
          </a:xfrm>
          <a:prstGeom prst="rect">
            <a:avLst/>
          </a:prstGeom>
          <a:noFill/>
          <a:ln>
            <a:noFill/>
          </a:ln>
        </p:spPr>
        <p:txBody>
          <a:bodyPr spcFirstLastPara="1" wrap="square" lIns="0" tIns="0" rIns="0" bIns="0" anchor="b" anchorCtr="0">
            <a:noAutofit/>
          </a:bodyPr>
          <a:lstStyle>
            <a:lvl1pPr marL="457200" marR="0" lvl="0" indent="-228600" algn="l" rtl="0">
              <a:lnSpc>
                <a:spcPct val="90000"/>
              </a:lnSpc>
              <a:spcBef>
                <a:spcPts val="0"/>
              </a:spcBef>
              <a:spcAft>
                <a:spcPts val="0"/>
              </a:spcAft>
              <a:buClr>
                <a:schemeClr val="lt1"/>
              </a:buClr>
              <a:buSzPts val="4000"/>
              <a:buFont typeface="Arial"/>
              <a:buNone/>
              <a:defRPr sz="4000" b="1" i="0" u="none" strike="noStrike" cap="none">
                <a:solidFill>
                  <a:schemeClr val="lt1"/>
                </a:solidFill>
                <a:latin typeface="Arial"/>
                <a:ea typeface="Arial"/>
                <a:cs typeface="Arial"/>
                <a:sym typeface="Arial"/>
              </a:defRPr>
            </a:lvl1pPr>
            <a:lvl2pPr marL="914400" marR="0" lvl="1" indent="-228600" algn="l" rtl="0">
              <a:lnSpc>
                <a:spcPct val="90000"/>
              </a:lnSpc>
              <a:spcBef>
                <a:spcPts val="0"/>
              </a:spcBef>
              <a:spcAft>
                <a:spcPts val="0"/>
              </a:spcAft>
              <a:buClr>
                <a:schemeClr val="accent1"/>
              </a:buClr>
              <a:buSzPts val="1800"/>
              <a:buFont typeface="Arial"/>
              <a:buNone/>
              <a:defRPr sz="1800" b="0" i="0" u="none" strike="noStrike" cap="none">
                <a:solidFill>
                  <a:schemeClr val="accent1"/>
                </a:solidFill>
                <a:latin typeface="Arial"/>
                <a:ea typeface="Arial"/>
                <a:cs typeface="Arial"/>
                <a:sym typeface="Arial"/>
              </a:defRPr>
            </a:lvl2pPr>
            <a:lvl3pPr marL="1371600" marR="0" lvl="2" indent="-228600" algn="l" rtl="0">
              <a:lnSpc>
                <a:spcPct val="100000"/>
              </a:lnSpc>
              <a:spcBef>
                <a:spcPts val="600"/>
              </a:spcBef>
              <a:spcAft>
                <a:spcPts val="0"/>
              </a:spcAft>
              <a:buClr>
                <a:schemeClr val="lt1"/>
              </a:buClr>
              <a:buSzPts val="1200"/>
              <a:buFont typeface="Arial"/>
              <a:buNone/>
              <a:defRPr sz="1200" b="0" i="0" u="none" strike="noStrike" cap="none">
                <a:solidFill>
                  <a:schemeClr val="lt1"/>
                </a:solidFill>
                <a:latin typeface="Arial"/>
                <a:ea typeface="Arial"/>
                <a:cs typeface="Arial"/>
                <a:sym typeface="Arial"/>
              </a:defRPr>
            </a:lvl3pPr>
            <a:lvl4pPr marL="1828800" marR="0" lvl="3" indent="-228600" algn="l" rtl="0">
              <a:lnSpc>
                <a:spcPct val="100000"/>
              </a:lnSpc>
              <a:spcBef>
                <a:spcPts val="0"/>
              </a:spcBef>
              <a:spcAft>
                <a:spcPts val="0"/>
              </a:spcAft>
              <a:buClr>
                <a:schemeClr val="lt1"/>
              </a:buClr>
              <a:buSzPts val="1200"/>
              <a:buFont typeface="Arial"/>
              <a:buNone/>
              <a:defRPr sz="1200" b="0" i="0" u="none" strike="noStrike" cap="none">
                <a:solidFill>
                  <a:schemeClr val="lt1"/>
                </a:solidFill>
                <a:latin typeface="Arial"/>
                <a:ea typeface="Arial"/>
                <a:cs typeface="Arial"/>
                <a:sym typeface="Arial"/>
              </a:defRPr>
            </a:lvl4pPr>
            <a:lvl5pPr marL="2286000" marR="0" lvl="4"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3" name="Google Shape;13;p28"/>
          <p:cNvSpPr>
            <a:spLocks noGrp="1"/>
          </p:cNvSpPr>
          <p:nvPr>
            <p:ph type="pic" idx="2"/>
          </p:nvPr>
        </p:nvSpPr>
        <p:spPr>
          <a:xfrm>
            <a:off x="5375274" y="0"/>
            <a:ext cx="6816726" cy="6858000"/>
          </a:xfrm>
          <a:prstGeom prst="rect">
            <a:avLst/>
          </a:prstGeom>
          <a:noFill/>
          <a:ln>
            <a:noFill/>
          </a:ln>
        </p:spPr>
        <p:txBody>
          <a:bodyPr spcFirstLastPara="1" wrap="square" lIns="91425" tIns="45700" rIns="91425" bIns="45700" anchor="ctr" anchorCtr="0">
            <a:noAutofit/>
          </a:bodyPr>
          <a:lstStyle>
            <a:lvl1pPr marR="0" lvl="0" algn="ctr" rtl="0">
              <a:lnSpc>
                <a:spcPct val="90000"/>
              </a:lnSpc>
              <a:spcBef>
                <a:spcPts val="1000"/>
              </a:spcBef>
              <a:spcAft>
                <a:spcPts val="0"/>
              </a:spcAft>
              <a:buClr>
                <a:srgbClr val="335DFF"/>
              </a:buClr>
              <a:buSzPts val="2800"/>
              <a:buFont typeface="Arial"/>
              <a:buNone/>
              <a:defRPr sz="2800" b="0" i="0" u="none" strike="noStrike" cap="none">
                <a:solidFill>
                  <a:srgbClr val="335DFF"/>
                </a:solidFill>
                <a:latin typeface="Arial"/>
                <a:ea typeface="Arial"/>
                <a:cs typeface="Arial"/>
                <a:sym typeface="Arial"/>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pic>
        <p:nvPicPr>
          <p:cNvPr id="14" name="Google Shape;14;p28"/>
          <p:cNvPicPr preferRelativeResize="0"/>
          <p:nvPr/>
        </p:nvPicPr>
        <p:blipFill rotWithShape="1">
          <a:blip r:embed="rId2">
            <a:alphaModFix/>
          </a:blip>
          <a:srcRect/>
          <a:stretch/>
        </p:blipFill>
        <p:spPr>
          <a:xfrm>
            <a:off x="695325" y="728663"/>
            <a:ext cx="1080000" cy="544954"/>
          </a:xfrm>
          <a:prstGeom prst="rect">
            <a:avLst/>
          </a:prstGeom>
          <a:noFill/>
          <a:ln>
            <a:noFill/>
          </a:ln>
        </p:spPr>
      </p:pic>
    </p:spTree>
  </p:cSld>
  <p:clrMapOvr>
    <a:masterClrMapping/>
  </p:clrMapOvr>
  <p:extLst>
    <p:ext uri="{DCECCB84-F9BA-43D5-87BE-67443E8EF086}">
      <p15:sldGuideLst xmlns:p15="http://schemas.microsoft.com/office/powerpoint/2012/main">
        <p15:guide id="1" pos="2933">
          <p15:clr>
            <a:srgbClr val="FBAE40"/>
          </p15:clr>
        </p15:guide>
        <p15:guide id="2" orient="horz" pos="3634">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9"/>
            <a:ext cx="10515600" cy="1325563"/>
          </a:xfrm>
        </p:spPr>
        <p:txBody>
          <a:bodyPr/>
          <a:lstStyle/>
          <a:p>
            <a:r>
              <a:rPr lang="fr-FR"/>
              <a:t>Modifiez le style du titre</a:t>
            </a:r>
          </a:p>
        </p:txBody>
      </p:sp>
      <p:sp>
        <p:nvSpPr>
          <p:cNvPr id="3" name="Espace réservé du texte 2"/>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r-FR"/>
              <a:t>Modifier les styles du texte du masque</a:t>
            </a:r>
          </a:p>
        </p:txBody>
      </p:sp>
      <p:sp>
        <p:nvSpPr>
          <p:cNvPr id="4" name="Espace réservé du contenu 3"/>
          <p:cNvSpPr>
            <a:spLocks noGrp="1"/>
          </p:cNvSpPr>
          <p:nvPr>
            <p:ph sz="half" idx="2"/>
          </p:nvPr>
        </p:nvSpPr>
        <p:spPr>
          <a:xfrm>
            <a:off x="839789" y="2505075"/>
            <a:ext cx="5157787"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72202"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r-FR"/>
              <a:t>Modifier les styles du texte du masque</a:t>
            </a:r>
          </a:p>
        </p:txBody>
      </p:sp>
      <p:sp>
        <p:nvSpPr>
          <p:cNvPr id="6" name="Espace réservé du contenu 5"/>
          <p:cNvSpPr>
            <a:spLocks noGrp="1"/>
          </p:cNvSpPr>
          <p:nvPr>
            <p:ph sz="quarter" idx="4"/>
          </p:nvPr>
        </p:nvSpPr>
        <p:spPr>
          <a:xfrm>
            <a:off x="6172202" y="2505075"/>
            <a:ext cx="5183188"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75E0BF2-F0DF-46A4-8383-4CCD172787D3}" type="datetimeFigureOut">
              <a:rPr kumimoji="0" lang="fr-FR"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01/2023</a:t>
            </a:fld>
            <a:endParaRPr kumimoji="0" lang="fr-FR"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Espace réservé du pied de page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9" name="Espace réservé du numéro de diapositive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A6EEE5-CE63-4212-AF3E-F01611CF5641}" type="slidenum">
              <a:rPr kumimoji="0" lang="fr-FR"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a:t>
            </a:fld>
            <a:endParaRPr kumimoji="0" lang="fr-FR"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5779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75E0BF2-F0DF-46A4-8383-4CCD172787D3}" type="datetimeFigureOut">
              <a:rPr kumimoji="0" lang="fr-FR"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01/2023</a:t>
            </a:fld>
            <a:endParaRPr kumimoji="0" lang="fr-FR"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Espace réservé du pied de page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Espace réservé du numéro de diapositive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A6EEE5-CE63-4212-AF3E-F01611CF5641}" type="slidenum">
              <a:rPr kumimoji="0" lang="fr-FR"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a:t>
            </a:fld>
            <a:endParaRPr kumimoji="0" lang="fr-FR"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0318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75E0BF2-F0DF-46A4-8383-4CCD172787D3}" type="datetimeFigureOut">
              <a:rPr kumimoji="0" lang="fr-FR"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01/2023</a:t>
            </a:fld>
            <a:endParaRPr kumimoji="0" lang="fr-FR"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Espace réservé du pied de page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Espace réservé du numéro de diapositive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A6EEE5-CE63-4212-AF3E-F01611CF5641}" type="slidenum">
              <a:rPr kumimoji="0" lang="fr-FR"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a:t>
            </a:fld>
            <a:endParaRPr kumimoji="0" lang="fr-FR"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17654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p:cNvSpPr>
            <a:spLocks noGrp="1"/>
          </p:cNvSpPr>
          <p:nvPr>
            <p:ph idx="1"/>
          </p:nvPr>
        </p:nvSpPr>
        <p:spPr>
          <a:xfrm>
            <a:off x="5183188" y="987429"/>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fr-FR"/>
              <a:t>Modifier les styles du texte du masque</a:t>
            </a:r>
          </a:p>
        </p:txBody>
      </p:sp>
      <p:sp>
        <p:nvSpPr>
          <p:cNvPr id="5" name="Espace réservé de la date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75E0BF2-F0DF-46A4-8383-4CCD172787D3}" type="datetimeFigureOut">
              <a:rPr kumimoji="0" lang="fr-FR"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01/2023</a:t>
            </a:fld>
            <a:endParaRPr kumimoji="0" lang="fr-FR"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Espace réservé du pied de page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Espace réservé du numéro de diapositive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A6EEE5-CE63-4212-AF3E-F01611CF5641}" type="slidenum">
              <a:rPr kumimoji="0" lang="fr-FR"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a:t>
            </a:fld>
            <a:endParaRPr kumimoji="0" lang="fr-FR"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03725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p:cNvSpPr>
            <a:spLocks noGrp="1"/>
          </p:cNvSpPr>
          <p:nvPr>
            <p:ph type="pic" idx="1"/>
          </p:nvPr>
        </p:nvSpPr>
        <p:spPr>
          <a:xfrm>
            <a:off x="5183188" y="987429"/>
            <a:ext cx="6172200"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fr-FR"/>
              <a:t>Modifier les styles du texte du masque</a:t>
            </a:r>
          </a:p>
        </p:txBody>
      </p:sp>
      <p:sp>
        <p:nvSpPr>
          <p:cNvPr id="5" name="Espace réservé de la date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75E0BF2-F0DF-46A4-8383-4CCD172787D3}" type="datetimeFigureOut">
              <a:rPr kumimoji="0" lang="fr-FR"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01/2023</a:t>
            </a:fld>
            <a:endParaRPr kumimoji="0" lang="fr-FR"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Espace réservé du pied de page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Espace réservé du numéro de diapositive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A6EEE5-CE63-4212-AF3E-F01611CF5641}" type="slidenum">
              <a:rPr kumimoji="0" lang="fr-FR"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a:t>
            </a:fld>
            <a:endParaRPr kumimoji="0" lang="fr-FR"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98762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texte vertical 2"/>
          <p:cNvSpPr>
            <a:spLocks noGrp="1"/>
          </p:cNvSpPr>
          <p:nvPr>
            <p:ph type="body" orient="vert" idx="1"/>
          </p:nvPr>
        </p:nvSpPr>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75E0BF2-F0DF-46A4-8383-4CCD172787D3}" type="datetimeFigureOut">
              <a:rPr kumimoji="0" lang="fr-FR"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01/2023</a:t>
            </a:fld>
            <a:endParaRPr kumimoji="0" lang="fr-FR"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Espace réservé du pied de page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Espace réservé du numéro de diapositive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A6EEE5-CE63-4212-AF3E-F01611CF5641}" type="slidenum">
              <a:rPr kumimoji="0" lang="fr-FR"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a:t>
            </a:fld>
            <a:endParaRPr kumimoji="0" lang="fr-FR"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22499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2" y="365125"/>
            <a:ext cx="2628900" cy="5811838"/>
          </a:xfrm>
        </p:spPr>
        <p:txBody>
          <a:bodyPr vert="eaVert"/>
          <a:lstStyle/>
          <a:p>
            <a:r>
              <a:rPr lang="fr-FR"/>
              <a:t>Modifiez le style du titre</a:t>
            </a:r>
          </a:p>
        </p:txBody>
      </p:sp>
      <p:sp>
        <p:nvSpPr>
          <p:cNvPr id="3" name="Espace réservé du texte vertical 2"/>
          <p:cNvSpPr>
            <a:spLocks noGrp="1"/>
          </p:cNvSpPr>
          <p:nvPr>
            <p:ph type="body" orient="vert" idx="1"/>
          </p:nvPr>
        </p:nvSpPr>
        <p:spPr>
          <a:xfrm>
            <a:off x="838202" y="365125"/>
            <a:ext cx="7734300" cy="5811838"/>
          </a:xfrm>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75E0BF2-F0DF-46A4-8383-4CCD172787D3}" type="datetimeFigureOut">
              <a:rPr kumimoji="0" lang="fr-FR"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01/2023</a:t>
            </a:fld>
            <a:endParaRPr kumimoji="0" lang="fr-FR"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Espace réservé du pied de page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Espace réservé du numéro de diapositive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A6EEE5-CE63-4212-AF3E-F01611CF5641}" type="slidenum">
              <a:rPr kumimoji="0" lang="fr-FR"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a:t>
            </a:fld>
            <a:endParaRPr kumimoji="0" lang="fr-FR"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77959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Equipe">
  <p:cSld name="Equipe">
    <p:bg>
      <p:bgPr>
        <a:solidFill>
          <a:schemeClr val="lt1"/>
        </a:solidFill>
        <a:effectLst/>
      </p:bgPr>
    </p:bg>
    <p:spTree>
      <p:nvGrpSpPr>
        <p:cNvPr id="1" name="Shape 89"/>
        <p:cNvGrpSpPr/>
        <p:nvPr/>
      </p:nvGrpSpPr>
      <p:grpSpPr>
        <a:xfrm>
          <a:off x="0" y="0"/>
          <a:ext cx="0" cy="0"/>
          <a:chOff x="0" y="0"/>
          <a:chExt cx="0" cy="0"/>
        </a:xfrm>
      </p:grpSpPr>
      <p:sp>
        <p:nvSpPr>
          <p:cNvPr id="90" name="Google Shape;90;p41"/>
          <p:cNvSpPr>
            <a:spLocks noGrp="1"/>
          </p:cNvSpPr>
          <p:nvPr>
            <p:ph type="pic" idx="2"/>
          </p:nvPr>
        </p:nvSpPr>
        <p:spPr>
          <a:xfrm>
            <a:off x="695325" y="1621990"/>
            <a:ext cx="1079500" cy="1080000"/>
          </a:xfrm>
          <a:prstGeom prst="ellipse">
            <a:avLst/>
          </a:prstGeom>
          <a:noFill/>
          <a:ln>
            <a:noFill/>
          </a:ln>
        </p:spPr>
        <p:txBody>
          <a:bodyPr spcFirstLastPara="1" wrap="square" lIns="91425" tIns="45700" rIns="91425" bIns="45700" anchor="ctr" anchorCtr="0">
            <a:noAutofit/>
          </a:bodyPr>
          <a:lstStyle>
            <a:lvl1pPr marR="0" lvl="0" algn="ctr" rtl="0">
              <a:lnSpc>
                <a:spcPct val="90000"/>
              </a:lnSpc>
              <a:spcBef>
                <a:spcPts val="1000"/>
              </a:spcBef>
              <a:spcAft>
                <a:spcPts val="0"/>
              </a:spcAft>
              <a:buClr>
                <a:srgbClr val="E9E9E9"/>
              </a:buClr>
              <a:buSzPts val="1200"/>
              <a:buFont typeface="Arial"/>
              <a:buNone/>
              <a:defRPr sz="1200" b="0" i="0" u="none" strike="noStrike" cap="none">
                <a:solidFill>
                  <a:srgbClr val="E9E9E9"/>
                </a:solidFill>
                <a:latin typeface="Arial"/>
                <a:ea typeface="Arial"/>
                <a:cs typeface="Arial"/>
                <a:sym typeface="Arial"/>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91" name="Google Shape;91;p41"/>
          <p:cNvSpPr>
            <a:spLocks noGrp="1"/>
          </p:cNvSpPr>
          <p:nvPr>
            <p:ph type="pic" idx="3"/>
          </p:nvPr>
        </p:nvSpPr>
        <p:spPr>
          <a:xfrm>
            <a:off x="695325" y="4490855"/>
            <a:ext cx="1079500" cy="1080000"/>
          </a:xfrm>
          <a:prstGeom prst="ellipse">
            <a:avLst/>
          </a:prstGeom>
          <a:noFill/>
          <a:ln>
            <a:noFill/>
          </a:ln>
        </p:spPr>
        <p:txBody>
          <a:bodyPr spcFirstLastPara="1" wrap="square" lIns="91425" tIns="45700" rIns="91425" bIns="45700" anchor="ctr" anchorCtr="0">
            <a:noAutofit/>
          </a:bodyPr>
          <a:lstStyle>
            <a:lvl1pPr marR="0" lvl="0" algn="ctr" rtl="0">
              <a:lnSpc>
                <a:spcPct val="90000"/>
              </a:lnSpc>
              <a:spcBef>
                <a:spcPts val="1000"/>
              </a:spcBef>
              <a:spcAft>
                <a:spcPts val="0"/>
              </a:spcAft>
              <a:buClr>
                <a:srgbClr val="E9E9E9"/>
              </a:buClr>
              <a:buSzPts val="1200"/>
              <a:buFont typeface="Arial"/>
              <a:buNone/>
              <a:defRPr sz="1200" b="0" i="0" u="none" strike="noStrike" cap="none">
                <a:solidFill>
                  <a:srgbClr val="E9E9E9"/>
                </a:solidFill>
                <a:latin typeface="Arial"/>
                <a:ea typeface="Arial"/>
                <a:cs typeface="Arial"/>
                <a:sym typeface="Arial"/>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92" name="Google Shape;92;p41"/>
          <p:cNvSpPr txBox="1">
            <a:spLocks noGrp="1"/>
          </p:cNvSpPr>
          <p:nvPr>
            <p:ph type="body" idx="1"/>
          </p:nvPr>
        </p:nvSpPr>
        <p:spPr>
          <a:xfrm>
            <a:off x="2135188" y="1621989"/>
            <a:ext cx="3600449" cy="1080000"/>
          </a:xfrm>
          <a:prstGeom prst="rect">
            <a:avLst/>
          </a:prstGeom>
          <a:noFill/>
          <a:ln>
            <a:noFill/>
          </a:ln>
        </p:spPr>
        <p:txBody>
          <a:bodyPr spcFirstLastPara="1" wrap="square" lIns="0" tIns="0" rIns="0" bIns="0" anchor="ctr" anchorCtr="0">
            <a:noAutofit/>
          </a:bodyPr>
          <a:lstStyle>
            <a:lvl1pPr marL="457200" marR="0" lvl="0" indent="-228600" algn="l" rtl="0">
              <a:lnSpc>
                <a:spcPct val="110000"/>
              </a:lnSpc>
              <a:spcBef>
                <a:spcPts val="0"/>
              </a:spcBef>
              <a:spcAft>
                <a:spcPts val="0"/>
              </a:spcAft>
              <a:buClr>
                <a:schemeClr val="lt2"/>
              </a:buClr>
              <a:buSzPts val="1600"/>
              <a:buFont typeface="Arial"/>
              <a:buNone/>
              <a:defRPr sz="1600" b="1" i="0" u="none" strike="noStrike" cap="none">
                <a:solidFill>
                  <a:schemeClr val="lt2"/>
                </a:solidFill>
                <a:latin typeface="Arial"/>
                <a:ea typeface="Arial"/>
                <a:cs typeface="Arial"/>
                <a:sym typeface="Arial"/>
              </a:defRPr>
            </a:lvl1pPr>
            <a:lvl2pPr marL="914400" marR="0" lvl="1" indent="-228600" algn="l" rtl="0">
              <a:lnSpc>
                <a:spcPct val="110000"/>
              </a:lnSpc>
              <a:spcBef>
                <a:spcPts val="0"/>
              </a:spcBef>
              <a:spcAft>
                <a:spcPts val="0"/>
              </a:spcAft>
              <a:buClr>
                <a:schemeClr val="accent2"/>
              </a:buClr>
              <a:buSzPts val="1200"/>
              <a:buFont typeface="Arial"/>
              <a:buNone/>
              <a:defRPr sz="1200" b="1" i="0" u="none" strike="noStrike" cap="none">
                <a:solidFill>
                  <a:schemeClr val="accent2"/>
                </a:solidFill>
                <a:latin typeface="Arial"/>
                <a:ea typeface="Arial"/>
                <a:cs typeface="Arial"/>
                <a:sym typeface="Arial"/>
              </a:defRPr>
            </a:lvl2pPr>
            <a:lvl3pPr marL="1371600" marR="0" lvl="2" indent="-228600" algn="l" rtl="0">
              <a:lnSpc>
                <a:spcPct val="110000"/>
              </a:lnSpc>
              <a:spcBef>
                <a:spcPts val="0"/>
              </a:spcBef>
              <a:spcAft>
                <a:spcPts val="0"/>
              </a:spcAft>
              <a:buClr>
                <a:schemeClr val="lt2"/>
              </a:buClr>
              <a:buSzPts val="1200"/>
              <a:buFont typeface="Arial"/>
              <a:buNone/>
              <a:defRPr sz="1200" b="0" i="1" u="none" strike="noStrike" cap="none">
                <a:solidFill>
                  <a:schemeClr val="lt2"/>
                </a:solidFill>
                <a:latin typeface="Arial"/>
                <a:ea typeface="Arial"/>
                <a:cs typeface="Arial"/>
                <a:sym typeface="Arial"/>
              </a:defRPr>
            </a:lvl3pPr>
            <a:lvl4pPr marL="1828800" marR="0" lvl="3" indent="-228600" algn="l" rtl="0">
              <a:lnSpc>
                <a:spcPct val="100000"/>
              </a:lnSpc>
              <a:spcBef>
                <a:spcPts val="500"/>
              </a:spcBef>
              <a:spcAft>
                <a:spcPts val="0"/>
              </a:spcAft>
              <a:buClr>
                <a:schemeClr val="dk2"/>
              </a:buClr>
              <a:buSzPts val="1100"/>
              <a:buFont typeface="Arial"/>
              <a:buNone/>
              <a:defRPr sz="1100" b="0" i="0" u="none" strike="noStrike" cap="none">
                <a:solidFill>
                  <a:schemeClr val="dk2"/>
                </a:solidFill>
                <a:latin typeface="Arial"/>
                <a:ea typeface="Arial"/>
                <a:cs typeface="Arial"/>
                <a:sym typeface="Arial"/>
              </a:defRPr>
            </a:lvl4pPr>
            <a:lvl5pPr marL="2286000" marR="0" lvl="4" indent="-228600" algn="l" rtl="0">
              <a:lnSpc>
                <a:spcPct val="100000"/>
              </a:lnSpc>
              <a:spcBef>
                <a:spcPts val="500"/>
              </a:spcBef>
              <a:spcAft>
                <a:spcPts val="0"/>
              </a:spcAft>
              <a:buClr>
                <a:schemeClr val="dk2"/>
              </a:buClr>
              <a:buSzPts val="1100"/>
              <a:buFont typeface="Arial"/>
              <a:buNone/>
              <a:defRPr sz="1100" b="0" i="0" u="none" strike="noStrike" cap="none">
                <a:solidFill>
                  <a:schemeClr val="dk2"/>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93" name="Google Shape;93;p41"/>
          <p:cNvSpPr>
            <a:spLocks noGrp="1"/>
          </p:cNvSpPr>
          <p:nvPr>
            <p:ph type="pic" idx="4"/>
          </p:nvPr>
        </p:nvSpPr>
        <p:spPr>
          <a:xfrm>
            <a:off x="6096000" y="1621990"/>
            <a:ext cx="1079500" cy="1080000"/>
          </a:xfrm>
          <a:prstGeom prst="ellipse">
            <a:avLst/>
          </a:prstGeom>
          <a:noFill/>
          <a:ln>
            <a:noFill/>
          </a:ln>
        </p:spPr>
        <p:txBody>
          <a:bodyPr spcFirstLastPara="1" wrap="square" lIns="91425" tIns="45700" rIns="91425" bIns="45700" anchor="ctr" anchorCtr="0">
            <a:noAutofit/>
          </a:bodyPr>
          <a:lstStyle>
            <a:lvl1pPr marR="0" lvl="0" algn="ctr" rtl="0">
              <a:lnSpc>
                <a:spcPct val="90000"/>
              </a:lnSpc>
              <a:spcBef>
                <a:spcPts val="1000"/>
              </a:spcBef>
              <a:spcAft>
                <a:spcPts val="0"/>
              </a:spcAft>
              <a:buClr>
                <a:srgbClr val="E9E9E9"/>
              </a:buClr>
              <a:buSzPts val="1200"/>
              <a:buFont typeface="Arial"/>
              <a:buNone/>
              <a:defRPr sz="1200" b="0" i="0" u="none" strike="noStrike" cap="none">
                <a:solidFill>
                  <a:srgbClr val="E9E9E9"/>
                </a:solidFill>
                <a:latin typeface="Arial"/>
                <a:ea typeface="Arial"/>
                <a:cs typeface="Arial"/>
                <a:sym typeface="Arial"/>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94" name="Google Shape;94;p41"/>
          <p:cNvSpPr>
            <a:spLocks noGrp="1"/>
          </p:cNvSpPr>
          <p:nvPr>
            <p:ph type="pic" idx="5"/>
          </p:nvPr>
        </p:nvSpPr>
        <p:spPr>
          <a:xfrm>
            <a:off x="6096000" y="4490855"/>
            <a:ext cx="1079500" cy="1080000"/>
          </a:xfrm>
          <a:prstGeom prst="ellipse">
            <a:avLst/>
          </a:prstGeom>
          <a:noFill/>
          <a:ln>
            <a:noFill/>
          </a:ln>
        </p:spPr>
        <p:txBody>
          <a:bodyPr spcFirstLastPara="1" wrap="square" lIns="91425" tIns="45700" rIns="91425" bIns="45700" anchor="ctr" anchorCtr="0">
            <a:noAutofit/>
          </a:bodyPr>
          <a:lstStyle>
            <a:lvl1pPr marR="0" lvl="0" algn="ctr" rtl="0">
              <a:lnSpc>
                <a:spcPct val="90000"/>
              </a:lnSpc>
              <a:spcBef>
                <a:spcPts val="1000"/>
              </a:spcBef>
              <a:spcAft>
                <a:spcPts val="0"/>
              </a:spcAft>
              <a:buClr>
                <a:srgbClr val="E9E9E9"/>
              </a:buClr>
              <a:buSzPts val="1200"/>
              <a:buFont typeface="Arial"/>
              <a:buNone/>
              <a:defRPr sz="1200" b="0" i="0" u="none" strike="noStrike" cap="none">
                <a:solidFill>
                  <a:srgbClr val="E9E9E9"/>
                </a:solidFill>
                <a:latin typeface="Arial"/>
                <a:ea typeface="Arial"/>
                <a:cs typeface="Arial"/>
                <a:sym typeface="Arial"/>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95" name="Google Shape;95;p41"/>
          <p:cNvSpPr txBox="1">
            <a:spLocks noGrp="1"/>
          </p:cNvSpPr>
          <p:nvPr>
            <p:ph type="title"/>
          </p:nvPr>
        </p:nvSpPr>
        <p:spPr>
          <a:xfrm>
            <a:off x="695325" y="728663"/>
            <a:ext cx="10801350" cy="720000"/>
          </a:xfrm>
          <a:prstGeom prst="rect">
            <a:avLst/>
          </a:prstGeom>
          <a:noFill/>
          <a:ln>
            <a:noFill/>
          </a:ln>
        </p:spPr>
        <p:txBody>
          <a:bodyPr spcFirstLastPara="1" wrap="square" lIns="0" tIns="0" rIns="0" bIns="0" anchor="t" anchorCtr="0">
            <a:normAutofit/>
          </a:bodyPr>
          <a:lstStyle>
            <a:lvl1pPr lvl="0" algn="l">
              <a:lnSpc>
                <a:spcPct val="90000"/>
              </a:lnSpc>
              <a:spcBef>
                <a:spcPts val="0"/>
              </a:spcBef>
              <a:spcAft>
                <a:spcPts val="0"/>
              </a:spcAft>
              <a:buClr>
                <a:schemeClr val="lt2"/>
              </a:buClr>
              <a:buSzPts val="1800"/>
              <a:buNone/>
              <a:defRPr/>
            </a:lvl1pPr>
            <a:lvl2pPr lvl="1">
              <a:spcBef>
                <a:spcPts val="120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6" name="Google Shape;96;p41"/>
          <p:cNvSpPr>
            <a:spLocks noGrp="1"/>
          </p:cNvSpPr>
          <p:nvPr>
            <p:ph type="pic" idx="6"/>
          </p:nvPr>
        </p:nvSpPr>
        <p:spPr>
          <a:xfrm>
            <a:off x="695325" y="3055672"/>
            <a:ext cx="1079500" cy="1080000"/>
          </a:xfrm>
          <a:prstGeom prst="ellipse">
            <a:avLst/>
          </a:prstGeom>
          <a:noFill/>
          <a:ln>
            <a:noFill/>
          </a:ln>
        </p:spPr>
        <p:txBody>
          <a:bodyPr spcFirstLastPara="1" wrap="square" lIns="91425" tIns="45700" rIns="91425" bIns="45700" anchor="ctr" anchorCtr="0">
            <a:noAutofit/>
          </a:bodyPr>
          <a:lstStyle>
            <a:lvl1pPr marR="0" lvl="0" algn="ctr" rtl="0">
              <a:lnSpc>
                <a:spcPct val="90000"/>
              </a:lnSpc>
              <a:spcBef>
                <a:spcPts val="1000"/>
              </a:spcBef>
              <a:spcAft>
                <a:spcPts val="0"/>
              </a:spcAft>
              <a:buClr>
                <a:srgbClr val="E9E9E9"/>
              </a:buClr>
              <a:buSzPts val="1200"/>
              <a:buFont typeface="Arial"/>
              <a:buNone/>
              <a:defRPr sz="1200" b="0" i="0" u="none" strike="noStrike" cap="none">
                <a:solidFill>
                  <a:srgbClr val="E9E9E9"/>
                </a:solidFill>
                <a:latin typeface="Arial"/>
                <a:ea typeface="Arial"/>
                <a:cs typeface="Arial"/>
                <a:sym typeface="Arial"/>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97" name="Google Shape;97;p41"/>
          <p:cNvSpPr>
            <a:spLocks noGrp="1"/>
          </p:cNvSpPr>
          <p:nvPr>
            <p:ph type="pic" idx="7"/>
          </p:nvPr>
        </p:nvSpPr>
        <p:spPr>
          <a:xfrm>
            <a:off x="6096000" y="3055672"/>
            <a:ext cx="1079500" cy="1080000"/>
          </a:xfrm>
          <a:prstGeom prst="ellipse">
            <a:avLst/>
          </a:prstGeom>
          <a:noFill/>
          <a:ln>
            <a:noFill/>
          </a:ln>
        </p:spPr>
        <p:txBody>
          <a:bodyPr spcFirstLastPara="1" wrap="square" lIns="91425" tIns="45700" rIns="91425" bIns="45700" anchor="ctr" anchorCtr="0">
            <a:noAutofit/>
          </a:bodyPr>
          <a:lstStyle>
            <a:lvl1pPr marR="0" lvl="0" algn="ctr" rtl="0">
              <a:lnSpc>
                <a:spcPct val="90000"/>
              </a:lnSpc>
              <a:spcBef>
                <a:spcPts val="1000"/>
              </a:spcBef>
              <a:spcAft>
                <a:spcPts val="0"/>
              </a:spcAft>
              <a:buClr>
                <a:srgbClr val="E9E9E9"/>
              </a:buClr>
              <a:buSzPts val="1200"/>
              <a:buFont typeface="Arial"/>
              <a:buNone/>
              <a:defRPr sz="1200" b="0" i="0" u="none" strike="noStrike" cap="none">
                <a:solidFill>
                  <a:srgbClr val="E9E9E9"/>
                </a:solidFill>
                <a:latin typeface="Arial"/>
                <a:ea typeface="Arial"/>
                <a:cs typeface="Arial"/>
                <a:sym typeface="Arial"/>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98" name="Google Shape;98;p41"/>
          <p:cNvSpPr txBox="1">
            <a:spLocks noGrp="1"/>
          </p:cNvSpPr>
          <p:nvPr>
            <p:ph type="sldNum" idx="12"/>
          </p:nvPr>
        </p:nvSpPr>
        <p:spPr>
          <a:xfrm>
            <a:off x="9046369" y="6489700"/>
            <a:ext cx="2450306" cy="368300"/>
          </a:xfrm>
          <a:prstGeom prst="rect">
            <a:avLst/>
          </a:prstGeom>
          <a:noFill/>
          <a:ln>
            <a:noFill/>
          </a:ln>
        </p:spPr>
        <p:txBody>
          <a:bodyPr spcFirstLastPara="1" wrap="square" lIns="0" tIns="0" rIns="0" bIns="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fr-FR"/>
              <a:t>‹N°›</a:t>
            </a:fld>
            <a:endParaRPr/>
          </a:p>
        </p:txBody>
      </p:sp>
      <p:sp>
        <p:nvSpPr>
          <p:cNvPr id="99" name="Google Shape;99;p41"/>
          <p:cNvSpPr txBox="1">
            <a:spLocks noGrp="1"/>
          </p:cNvSpPr>
          <p:nvPr>
            <p:ph type="body" idx="8"/>
          </p:nvPr>
        </p:nvSpPr>
        <p:spPr>
          <a:xfrm>
            <a:off x="2135188" y="4490855"/>
            <a:ext cx="3600449" cy="1080000"/>
          </a:xfrm>
          <a:prstGeom prst="rect">
            <a:avLst/>
          </a:prstGeom>
          <a:noFill/>
          <a:ln>
            <a:noFill/>
          </a:ln>
        </p:spPr>
        <p:txBody>
          <a:bodyPr spcFirstLastPara="1" wrap="square" lIns="0" tIns="0" rIns="0" bIns="0" anchor="ctr" anchorCtr="0">
            <a:noAutofit/>
          </a:bodyPr>
          <a:lstStyle>
            <a:lvl1pPr marL="457200" marR="0" lvl="0" indent="-228600" algn="l" rtl="0">
              <a:lnSpc>
                <a:spcPct val="110000"/>
              </a:lnSpc>
              <a:spcBef>
                <a:spcPts val="0"/>
              </a:spcBef>
              <a:spcAft>
                <a:spcPts val="0"/>
              </a:spcAft>
              <a:buClr>
                <a:schemeClr val="lt2"/>
              </a:buClr>
              <a:buSzPts val="1600"/>
              <a:buFont typeface="Arial"/>
              <a:buNone/>
              <a:defRPr sz="1600" b="1" i="0" u="none" strike="noStrike" cap="none">
                <a:solidFill>
                  <a:schemeClr val="lt2"/>
                </a:solidFill>
                <a:latin typeface="Arial"/>
                <a:ea typeface="Arial"/>
                <a:cs typeface="Arial"/>
                <a:sym typeface="Arial"/>
              </a:defRPr>
            </a:lvl1pPr>
            <a:lvl2pPr marL="914400" marR="0" lvl="1" indent="-228600" algn="l" rtl="0">
              <a:lnSpc>
                <a:spcPct val="110000"/>
              </a:lnSpc>
              <a:spcBef>
                <a:spcPts val="0"/>
              </a:spcBef>
              <a:spcAft>
                <a:spcPts val="0"/>
              </a:spcAft>
              <a:buClr>
                <a:schemeClr val="accent2"/>
              </a:buClr>
              <a:buSzPts val="1200"/>
              <a:buFont typeface="Arial"/>
              <a:buNone/>
              <a:defRPr sz="1200" b="1" i="0" u="none" strike="noStrike" cap="none">
                <a:solidFill>
                  <a:schemeClr val="accent2"/>
                </a:solidFill>
                <a:latin typeface="Arial"/>
                <a:ea typeface="Arial"/>
                <a:cs typeface="Arial"/>
                <a:sym typeface="Arial"/>
              </a:defRPr>
            </a:lvl2pPr>
            <a:lvl3pPr marL="1371600" marR="0" lvl="2" indent="-228600" algn="l" rtl="0">
              <a:lnSpc>
                <a:spcPct val="110000"/>
              </a:lnSpc>
              <a:spcBef>
                <a:spcPts val="0"/>
              </a:spcBef>
              <a:spcAft>
                <a:spcPts val="0"/>
              </a:spcAft>
              <a:buClr>
                <a:schemeClr val="lt2"/>
              </a:buClr>
              <a:buSzPts val="1200"/>
              <a:buFont typeface="Arial"/>
              <a:buNone/>
              <a:defRPr sz="1200" b="0" i="1" u="none" strike="noStrike" cap="none">
                <a:solidFill>
                  <a:schemeClr val="lt2"/>
                </a:solidFill>
                <a:latin typeface="Arial"/>
                <a:ea typeface="Arial"/>
                <a:cs typeface="Arial"/>
                <a:sym typeface="Arial"/>
              </a:defRPr>
            </a:lvl3pPr>
            <a:lvl4pPr marL="1828800" marR="0" lvl="3" indent="-228600" algn="l" rtl="0">
              <a:lnSpc>
                <a:spcPct val="100000"/>
              </a:lnSpc>
              <a:spcBef>
                <a:spcPts val="500"/>
              </a:spcBef>
              <a:spcAft>
                <a:spcPts val="0"/>
              </a:spcAft>
              <a:buClr>
                <a:schemeClr val="dk2"/>
              </a:buClr>
              <a:buSzPts val="1100"/>
              <a:buFont typeface="Arial"/>
              <a:buNone/>
              <a:defRPr sz="1100" b="0" i="0" u="none" strike="noStrike" cap="none">
                <a:solidFill>
                  <a:schemeClr val="dk2"/>
                </a:solidFill>
                <a:latin typeface="Arial"/>
                <a:ea typeface="Arial"/>
                <a:cs typeface="Arial"/>
                <a:sym typeface="Arial"/>
              </a:defRPr>
            </a:lvl4pPr>
            <a:lvl5pPr marL="2286000" marR="0" lvl="4" indent="-228600" algn="l" rtl="0">
              <a:lnSpc>
                <a:spcPct val="100000"/>
              </a:lnSpc>
              <a:spcBef>
                <a:spcPts val="500"/>
              </a:spcBef>
              <a:spcAft>
                <a:spcPts val="0"/>
              </a:spcAft>
              <a:buClr>
                <a:schemeClr val="dk2"/>
              </a:buClr>
              <a:buSzPts val="1100"/>
              <a:buFont typeface="Arial"/>
              <a:buNone/>
              <a:defRPr sz="1100" b="0" i="0" u="none" strike="noStrike" cap="none">
                <a:solidFill>
                  <a:schemeClr val="dk2"/>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00" name="Google Shape;100;p41"/>
          <p:cNvSpPr txBox="1">
            <a:spLocks noGrp="1"/>
          </p:cNvSpPr>
          <p:nvPr>
            <p:ph type="body" idx="9"/>
          </p:nvPr>
        </p:nvSpPr>
        <p:spPr>
          <a:xfrm>
            <a:off x="2135188" y="3047903"/>
            <a:ext cx="3600449" cy="1080000"/>
          </a:xfrm>
          <a:prstGeom prst="rect">
            <a:avLst/>
          </a:prstGeom>
          <a:noFill/>
          <a:ln>
            <a:noFill/>
          </a:ln>
        </p:spPr>
        <p:txBody>
          <a:bodyPr spcFirstLastPara="1" wrap="square" lIns="0" tIns="0" rIns="0" bIns="0" anchor="ctr" anchorCtr="0">
            <a:noAutofit/>
          </a:bodyPr>
          <a:lstStyle>
            <a:lvl1pPr marL="457200" marR="0" lvl="0" indent="-228600" algn="l" rtl="0">
              <a:lnSpc>
                <a:spcPct val="110000"/>
              </a:lnSpc>
              <a:spcBef>
                <a:spcPts val="0"/>
              </a:spcBef>
              <a:spcAft>
                <a:spcPts val="0"/>
              </a:spcAft>
              <a:buClr>
                <a:schemeClr val="lt2"/>
              </a:buClr>
              <a:buSzPts val="1600"/>
              <a:buFont typeface="Arial"/>
              <a:buNone/>
              <a:defRPr sz="1600" b="1" i="0" u="none" strike="noStrike" cap="none">
                <a:solidFill>
                  <a:schemeClr val="lt2"/>
                </a:solidFill>
                <a:latin typeface="Arial"/>
                <a:ea typeface="Arial"/>
                <a:cs typeface="Arial"/>
                <a:sym typeface="Arial"/>
              </a:defRPr>
            </a:lvl1pPr>
            <a:lvl2pPr marL="914400" marR="0" lvl="1" indent="-228600" algn="l" rtl="0">
              <a:lnSpc>
                <a:spcPct val="110000"/>
              </a:lnSpc>
              <a:spcBef>
                <a:spcPts val="0"/>
              </a:spcBef>
              <a:spcAft>
                <a:spcPts val="0"/>
              </a:spcAft>
              <a:buClr>
                <a:schemeClr val="accent2"/>
              </a:buClr>
              <a:buSzPts val="1200"/>
              <a:buFont typeface="Arial"/>
              <a:buNone/>
              <a:defRPr sz="1200" b="1" i="0" u="none" strike="noStrike" cap="none">
                <a:solidFill>
                  <a:schemeClr val="accent2"/>
                </a:solidFill>
                <a:latin typeface="Arial"/>
                <a:ea typeface="Arial"/>
                <a:cs typeface="Arial"/>
                <a:sym typeface="Arial"/>
              </a:defRPr>
            </a:lvl2pPr>
            <a:lvl3pPr marL="1371600" marR="0" lvl="2" indent="-228600" algn="l" rtl="0">
              <a:lnSpc>
                <a:spcPct val="110000"/>
              </a:lnSpc>
              <a:spcBef>
                <a:spcPts val="0"/>
              </a:spcBef>
              <a:spcAft>
                <a:spcPts val="0"/>
              </a:spcAft>
              <a:buClr>
                <a:schemeClr val="lt2"/>
              </a:buClr>
              <a:buSzPts val="1200"/>
              <a:buFont typeface="Arial"/>
              <a:buNone/>
              <a:defRPr sz="1200" b="0" i="1" u="none" strike="noStrike" cap="none">
                <a:solidFill>
                  <a:schemeClr val="lt2"/>
                </a:solidFill>
                <a:latin typeface="Arial"/>
                <a:ea typeface="Arial"/>
                <a:cs typeface="Arial"/>
                <a:sym typeface="Arial"/>
              </a:defRPr>
            </a:lvl3pPr>
            <a:lvl4pPr marL="1828800" marR="0" lvl="3" indent="-228600" algn="l" rtl="0">
              <a:lnSpc>
                <a:spcPct val="100000"/>
              </a:lnSpc>
              <a:spcBef>
                <a:spcPts val="500"/>
              </a:spcBef>
              <a:spcAft>
                <a:spcPts val="0"/>
              </a:spcAft>
              <a:buClr>
                <a:schemeClr val="dk2"/>
              </a:buClr>
              <a:buSzPts val="1100"/>
              <a:buFont typeface="Arial"/>
              <a:buNone/>
              <a:defRPr sz="1100" b="0" i="0" u="none" strike="noStrike" cap="none">
                <a:solidFill>
                  <a:schemeClr val="dk2"/>
                </a:solidFill>
                <a:latin typeface="Arial"/>
                <a:ea typeface="Arial"/>
                <a:cs typeface="Arial"/>
                <a:sym typeface="Arial"/>
              </a:defRPr>
            </a:lvl4pPr>
            <a:lvl5pPr marL="2286000" marR="0" lvl="4" indent="-228600" algn="l" rtl="0">
              <a:lnSpc>
                <a:spcPct val="100000"/>
              </a:lnSpc>
              <a:spcBef>
                <a:spcPts val="500"/>
              </a:spcBef>
              <a:spcAft>
                <a:spcPts val="0"/>
              </a:spcAft>
              <a:buClr>
                <a:schemeClr val="dk2"/>
              </a:buClr>
              <a:buSzPts val="1100"/>
              <a:buFont typeface="Arial"/>
              <a:buNone/>
              <a:defRPr sz="1100" b="0" i="0" u="none" strike="noStrike" cap="none">
                <a:solidFill>
                  <a:schemeClr val="dk2"/>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01" name="Google Shape;101;p41"/>
          <p:cNvSpPr txBox="1">
            <a:spLocks noGrp="1"/>
          </p:cNvSpPr>
          <p:nvPr>
            <p:ph type="body" idx="13"/>
          </p:nvPr>
        </p:nvSpPr>
        <p:spPr>
          <a:xfrm>
            <a:off x="7535863" y="1621989"/>
            <a:ext cx="3600449" cy="1080000"/>
          </a:xfrm>
          <a:prstGeom prst="rect">
            <a:avLst/>
          </a:prstGeom>
          <a:noFill/>
          <a:ln>
            <a:noFill/>
          </a:ln>
        </p:spPr>
        <p:txBody>
          <a:bodyPr spcFirstLastPara="1" wrap="square" lIns="0" tIns="0" rIns="0" bIns="0" anchor="ctr" anchorCtr="0">
            <a:noAutofit/>
          </a:bodyPr>
          <a:lstStyle>
            <a:lvl1pPr marL="457200" marR="0" lvl="0" indent="-228600" algn="l" rtl="0">
              <a:lnSpc>
                <a:spcPct val="110000"/>
              </a:lnSpc>
              <a:spcBef>
                <a:spcPts val="0"/>
              </a:spcBef>
              <a:spcAft>
                <a:spcPts val="0"/>
              </a:spcAft>
              <a:buClr>
                <a:schemeClr val="lt2"/>
              </a:buClr>
              <a:buSzPts val="1600"/>
              <a:buFont typeface="Arial"/>
              <a:buNone/>
              <a:defRPr sz="1600" b="1" i="0" u="none" strike="noStrike" cap="none">
                <a:solidFill>
                  <a:schemeClr val="lt2"/>
                </a:solidFill>
                <a:latin typeface="Arial"/>
                <a:ea typeface="Arial"/>
                <a:cs typeface="Arial"/>
                <a:sym typeface="Arial"/>
              </a:defRPr>
            </a:lvl1pPr>
            <a:lvl2pPr marL="914400" marR="0" lvl="1" indent="-228600" algn="l" rtl="0">
              <a:lnSpc>
                <a:spcPct val="110000"/>
              </a:lnSpc>
              <a:spcBef>
                <a:spcPts val="0"/>
              </a:spcBef>
              <a:spcAft>
                <a:spcPts val="0"/>
              </a:spcAft>
              <a:buClr>
                <a:schemeClr val="accent2"/>
              </a:buClr>
              <a:buSzPts val="1200"/>
              <a:buFont typeface="Arial"/>
              <a:buNone/>
              <a:defRPr sz="1200" b="1" i="0" u="none" strike="noStrike" cap="none">
                <a:solidFill>
                  <a:schemeClr val="accent2"/>
                </a:solidFill>
                <a:latin typeface="Arial"/>
                <a:ea typeface="Arial"/>
                <a:cs typeface="Arial"/>
                <a:sym typeface="Arial"/>
              </a:defRPr>
            </a:lvl2pPr>
            <a:lvl3pPr marL="1371600" marR="0" lvl="2" indent="-228600" algn="l" rtl="0">
              <a:lnSpc>
                <a:spcPct val="110000"/>
              </a:lnSpc>
              <a:spcBef>
                <a:spcPts val="0"/>
              </a:spcBef>
              <a:spcAft>
                <a:spcPts val="0"/>
              </a:spcAft>
              <a:buClr>
                <a:schemeClr val="lt2"/>
              </a:buClr>
              <a:buSzPts val="1200"/>
              <a:buFont typeface="Arial"/>
              <a:buNone/>
              <a:defRPr sz="1200" b="0" i="1" u="none" strike="noStrike" cap="none">
                <a:solidFill>
                  <a:schemeClr val="lt2"/>
                </a:solidFill>
                <a:latin typeface="Arial"/>
                <a:ea typeface="Arial"/>
                <a:cs typeface="Arial"/>
                <a:sym typeface="Arial"/>
              </a:defRPr>
            </a:lvl3pPr>
            <a:lvl4pPr marL="1828800" marR="0" lvl="3" indent="-228600" algn="l" rtl="0">
              <a:lnSpc>
                <a:spcPct val="100000"/>
              </a:lnSpc>
              <a:spcBef>
                <a:spcPts val="500"/>
              </a:spcBef>
              <a:spcAft>
                <a:spcPts val="0"/>
              </a:spcAft>
              <a:buClr>
                <a:schemeClr val="dk2"/>
              </a:buClr>
              <a:buSzPts val="1100"/>
              <a:buFont typeface="Arial"/>
              <a:buNone/>
              <a:defRPr sz="1100" b="0" i="0" u="none" strike="noStrike" cap="none">
                <a:solidFill>
                  <a:schemeClr val="dk2"/>
                </a:solidFill>
                <a:latin typeface="Arial"/>
                <a:ea typeface="Arial"/>
                <a:cs typeface="Arial"/>
                <a:sym typeface="Arial"/>
              </a:defRPr>
            </a:lvl4pPr>
            <a:lvl5pPr marL="2286000" marR="0" lvl="4" indent="-228600" algn="l" rtl="0">
              <a:lnSpc>
                <a:spcPct val="100000"/>
              </a:lnSpc>
              <a:spcBef>
                <a:spcPts val="500"/>
              </a:spcBef>
              <a:spcAft>
                <a:spcPts val="0"/>
              </a:spcAft>
              <a:buClr>
                <a:schemeClr val="dk2"/>
              </a:buClr>
              <a:buSzPts val="1100"/>
              <a:buFont typeface="Arial"/>
              <a:buNone/>
              <a:defRPr sz="1100" b="0" i="0" u="none" strike="noStrike" cap="none">
                <a:solidFill>
                  <a:schemeClr val="dk2"/>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02" name="Google Shape;102;p41"/>
          <p:cNvSpPr txBox="1">
            <a:spLocks noGrp="1"/>
          </p:cNvSpPr>
          <p:nvPr>
            <p:ph type="body" idx="14"/>
          </p:nvPr>
        </p:nvSpPr>
        <p:spPr>
          <a:xfrm>
            <a:off x="7535863" y="4490855"/>
            <a:ext cx="3600449" cy="1080000"/>
          </a:xfrm>
          <a:prstGeom prst="rect">
            <a:avLst/>
          </a:prstGeom>
          <a:noFill/>
          <a:ln>
            <a:noFill/>
          </a:ln>
        </p:spPr>
        <p:txBody>
          <a:bodyPr spcFirstLastPara="1" wrap="square" lIns="0" tIns="0" rIns="0" bIns="0" anchor="ctr" anchorCtr="0">
            <a:noAutofit/>
          </a:bodyPr>
          <a:lstStyle>
            <a:lvl1pPr marL="457200" marR="0" lvl="0" indent="-228600" algn="l" rtl="0">
              <a:lnSpc>
                <a:spcPct val="110000"/>
              </a:lnSpc>
              <a:spcBef>
                <a:spcPts val="0"/>
              </a:spcBef>
              <a:spcAft>
                <a:spcPts val="0"/>
              </a:spcAft>
              <a:buClr>
                <a:schemeClr val="lt2"/>
              </a:buClr>
              <a:buSzPts val="1600"/>
              <a:buFont typeface="Arial"/>
              <a:buNone/>
              <a:defRPr sz="1600" b="1" i="0" u="none" strike="noStrike" cap="none">
                <a:solidFill>
                  <a:schemeClr val="lt2"/>
                </a:solidFill>
                <a:latin typeface="Arial"/>
                <a:ea typeface="Arial"/>
                <a:cs typeface="Arial"/>
                <a:sym typeface="Arial"/>
              </a:defRPr>
            </a:lvl1pPr>
            <a:lvl2pPr marL="914400" marR="0" lvl="1" indent="-228600" algn="l" rtl="0">
              <a:lnSpc>
                <a:spcPct val="110000"/>
              </a:lnSpc>
              <a:spcBef>
                <a:spcPts val="0"/>
              </a:spcBef>
              <a:spcAft>
                <a:spcPts val="0"/>
              </a:spcAft>
              <a:buClr>
                <a:schemeClr val="accent2"/>
              </a:buClr>
              <a:buSzPts val="1200"/>
              <a:buFont typeface="Arial"/>
              <a:buNone/>
              <a:defRPr sz="1200" b="1" i="0" u="none" strike="noStrike" cap="none">
                <a:solidFill>
                  <a:schemeClr val="accent2"/>
                </a:solidFill>
                <a:latin typeface="Arial"/>
                <a:ea typeface="Arial"/>
                <a:cs typeface="Arial"/>
                <a:sym typeface="Arial"/>
              </a:defRPr>
            </a:lvl2pPr>
            <a:lvl3pPr marL="1371600" marR="0" lvl="2" indent="-228600" algn="l" rtl="0">
              <a:lnSpc>
                <a:spcPct val="110000"/>
              </a:lnSpc>
              <a:spcBef>
                <a:spcPts val="0"/>
              </a:spcBef>
              <a:spcAft>
                <a:spcPts val="0"/>
              </a:spcAft>
              <a:buClr>
                <a:schemeClr val="lt2"/>
              </a:buClr>
              <a:buSzPts val="1200"/>
              <a:buFont typeface="Arial"/>
              <a:buNone/>
              <a:defRPr sz="1200" b="0" i="1" u="none" strike="noStrike" cap="none">
                <a:solidFill>
                  <a:schemeClr val="lt2"/>
                </a:solidFill>
                <a:latin typeface="Arial"/>
                <a:ea typeface="Arial"/>
                <a:cs typeface="Arial"/>
                <a:sym typeface="Arial"/>
              </a:defRPr>
            </a:lvl3pPr>
            <a:lvl4pPr marL="1828800" marR="0" lvl="3" indent="-228600" algn="l" rtl="0">
              <a:lnSpc>
                <a:spcPct val="100000"/>
              </a:lnSpc>
              <a:spcBef>
                <a:spcPts val="500"/>
              </a:spcBef>
              <a:spcAft>
                <a:spcPts val="0"/>
              </a:spcAft>
              <a:buClr>
                <a:schemeClr val="dk2"/>
              </a:buClr>
              <a:buSzPts val="1100"/>
              <a:buFont typeface="Arial"/>
              <a:buNone/>
              <a:defRPr sz="1100" b="0" i="0" u="none" strike="noStrike" cap="none">
                <a:solidFill>
                  <a:schemeClr val="dk2"/>
                </a:solidFill>
                <a:latin typeface="Arial"/>
                <a:ea typeface="Arial"/>
                <a:cs typeface="Arial"/>
                <a:sym typeface="Arial"/>
              </a:defRPr>
            </a:lvl4pPr>
            <a:lvl5pPr marL="2286000" marR="0" lvl="4" indent="-228600" algn="l" rtl="0">
              <a:lnSpc>
                <a:spcPct val="100000"/>
              </a:lnSpc>
              <a:spcBef>
                <a:spcPts val="500"/>
              </a:spcBef>
              <a:spcAft>
                <a:spcPts val="0"/>
              </a:spcAft>
              <a:buClr>
                <a:schemeClr val="dk2"/>
              </a:buClr>
              <a:buSzPts val="1100"/>
              <a:buFont typeface="Arial"/>
              <a:buNone/>
              <a:defRPr sz="1100" b="0" i="0" u="none" strike="noStrike" cap="none">
                <a:solidFill>
                  <a:schemeClr val="dk2"/>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03" name="Google Shape;103;p41"/>
          <p:cNvSpPr txBox="1">
            <a:spLocks noGrp="1"/>
          </p:cNvSpPr>
          <p:nvPr>
            <p:ph type="body" idx="15"/>
          </p:nvPr>
        </p:nvSpPr>
        <p:spPr>
          <a:xfrm>
            <a:off x="7535863" y="3047903"/>
            <a:ext cx="3600449" cy="1080000"/>
          </a:xfrm>
          <a:prstGeom prst="rect">
            <a:avLst/>
          </a:prstGeom>
          <a:noFill/>
          <a:ln>
            <a:noFill/>
          </a:ln>
        </p:spPr>
        <p:txBody>
          <a:bodyPr spcFirstLastPara="1" wrap="square" lIns="0" tIns="0" rIns="0" bIns="0" anchor="ctr" anchorCtr="0">
            <a:noAutofit/>
          </a:bodyPr>
          <a:lstStyle>
            <a:lvl1pPr marL="457200" marR="0" lvl="0" indent="-228600" algn="l" rtl="0">
              <a:lnSpc>
                <a:spcPct val="110000"/>
              </a:lnSpc>
              <a:spcBef>
                <a:spcPts val="0"/>
              </a:spcBef>
              <a:spcAft>
                <a:spcPts val="0"/>
              </a:spcAft>
              <a:buClr>
                <a:schemeClr val="lt2"/>
              </a:buClr>
              <a:buSzPts val="1600"/>
              <a:buFont typeface="Arial"/>
              <a:buNone/>
              <a:defRPr sz="1600" b="1" i="0" u="none" strike="noStrike" cap="none">
                <a:solidFill>
                  <a:schemeClr val="lt2"/>
                </a:solidFill>
                <a:latin typeface="Arial"/>
                <a:ea typeface="Arial"/>
                <a:cs typeface="Arial"/>
                <a:sym typeface="Arial"/>
              </a:defRPr>
            </a:lvl1pPr>
            <a:lvl2pPr marL="914400" marR="0" lvl="1" indent="-228600" algn="l" rtl="0">
              <a:lnSpc>
                <a:spcPct val="110000"/>
              </a:lnSpc>
              <a:spcBef>
                <a:spcPts val="0"/>
              </a:spcBef>
              <a:spcAft>
                <a:spcPts val="0"/>
              </a:spcAft>
              <a:buClr>
                <a:schemeClr val="accent2"/>
              </a:buClr>
              <a:buSzPts val="1200"/>
              <a:buFont typeface="Arial"/>
              <a:buNone/>
              <a:defRPr sz="1200" b="1" i="0" u="none" strike="noStrike" cap="none">
                <a:solidFill>
                  <a:schemeClr val="accent2"/>
                </a:solidFill>
                <a:latin typeface="Arial"/>
                <a:ea typeface="Arial"/>
                <a:cs typeface="Arial"/>
                <a:sym typeface="Arial"/>
              </a:defRPr>
            </a:lvl2pPr>
            <a:lvl3pPr marL="1371600" marR="0" lvl="2" indent="-228600" algn="l" rtl="0">
              <a:lnSpc>
                <a:spcPct val="110000"/>
              </a:lnSpc>
              <a:spcBef>
                <a:spcPts val="0"/>
              </a:spcBef>
              <a:spcAft>
                <a:spcPts val="0"/>
              </a:spcAft>
              <a:buClr>
                <a:schemeClr val="lt2"/>
              </a:buClr>
              <a:buSzPts val="1200"/>
              <a:buFont typeface="Arial"/>
              <a:buNone/>
              <a:defRPr sz="1200" b="0" i="1" u="none" strike="noStrike" cap="none">
                <a:solidFill>
                  <a:schemeClr val="lt2"/>
                </a:solidFill>
                <a:latin typeface="Arial"/>
                <a:ea typeface="Arial"/>
                <a:cs typeface="Arial"/>
                <a:sym typeface="Arial"/>
              </a:defRPr>
            </a:lvl3pPr>
            <a:lvl4pPr marL="1828800" marR="0" lvl="3" indent="-228600" algn="l" rtl="0">
              <a:lnSpc>
                <a:spcPct val="100000"/>
              </a:lnSpc>
              <a:spcBef>
                <a:spcPts val="500"/>
              </a:spcBef>
              <a:spcAft>
                <a:spcPts val="0"/>
              </a:spcAft>
              <a:buClr>
                <a:schemeClr val="dk2"/>
              </a:buClr>
              <a:buSzPts val="1100"/>
              <a:buFont typeface="Arial"/>
              <a:buNone/>
              <a:defRPr sz="1100" b="0" i="0" u="none" strike="noStrike" cap="none">
                <a:solidFill>
                  <a:schemeClr val="dk2"/>
                </a:solidFill>
                <a:latin typeface="Arial"/>
                <a:ea typeface="Arial"/>
                <a:cs typeface="Arial"/>
                <a:sym typeface="Arial"/>
              </a:defRPr>
            </a:lvl4pPr>
            <a:lvl5pPr marL="2286000" marR="0" lvl="4" indent="-228600" algn="l" rtl="0">
              <a:lnSpc>
                <a:spcPct val="100000"/>
              </a:lnSpc>
              <a:spcBef>
                <a:spcPts val="500"/>
              </a:spcBef>
              <a:spcAft>
                <a:spcPts val="0"/>
              </a:spcAft>
              <a:buClr>
                <a:schemeClr val="dk2"/>
              </a:buClr>
              <a:buSzPts val="1100"/>
              <a:buFont typeface="Arial"/>
              <a:buNone/>
              <a:defRPr sz="1100" b="0" i="0" u="none" strike="noStrike" cap="none">
                <a:solidFill>
                  <a:schemeClr val="dk2"/>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04" name="Google Shape;104;p41"/>
          <p:cNvSpPr txBox="1">
            <a:spLocks noGrp="1"/>
          </p:cNvSpPr>
          <p:nvPr>
            <p:ph type="ftr" idx="11"/>
          </p:nvPr>
        </p:nvSpPr>
        <p:spPr>
          <a:xfrm>
            <a:off x="0" y="6489700"/>
            <a:ext cx="9046369" cy="368300"/>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pos="1118">
          <p15:clr>
            <a:srgbClr val="FBAE40"/>
          </p15:clr>
        </p15:guide>
        <p15:guide id="2" pos="1345">
          <p15:clr>
            <a:srgbClr val="FBAE40"/>
          </p15:clr>
        </p15:guide>
        <p15:guide id="3" pos="3840">
          <p15:clr>
            <a:srgbClr val="FBAE40"/>
          </p15:clr>
        </p15:guide>
        <p15:guide id="4" pos="4747">
          <p15:clr>
            <a:srgbClr val="FBAE40"/>
          </p15:clr>
        </p15:guide>
        <p15:guide id="5" pos="452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Slide vierge">
  <p:cSld name="Slide vierge">
    <p:spTree>
      <p:nvGrpSpPr>
        <p:cNvPr id="1" name="Shape 105"/>
        <p:cNvGrpSpPr/>
        <p:nvPr/>
      </p:nvGrpSpPr>
      <p:grpSpPr>
        <a:xfrm>
          <a:off x="0" y="0"/>
          <a:ext cx="0" cy="0"/>
          <a:chOff x="0" y="0"/>
          <a:chExt cx="0" cy="0"/>
        </a:xfrm>
      </p:grpSpPr>
      <p:sp>
        <p:nvSpPr>
          <p:cNvPr id="106" name="Google Shape;106;p42"/>
          <p:cNvSpPr txBox="1">
            <a:spLocks noGrp="1"/>
          </p:cNvSpPr>
          <p:nvPr>
            <p:ph type="sldNum" idx="12"/>
          </p:nvPr>
        </p:nvSpPr>
        <p:spPr>
          <a:xfrm>
            <a:off x="9046369" y="6489700"/>
            <a:ext cx="2450306" cy="368300"/>
          </a:xfrm>
          <a:prstGeom prst="rect">
            <a:avLst/>
          </a:prstGeom>
          <a:noFill/>
          <a:ln>
            <a:noFill/>
          </a:ln>
        </p:spPr>
        <p:txBody>
          <a:bodyPr spcFirstLastPara="1" wrap="square" lIns="0" tIns="0" rIns="0" bIns="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fr-FR"/>
              <a:t>‹N°›</a:t>
            </a:fld>
            <a:endParaRPr/>
          </a:p>
        </p:txBody>
      </p:sp>
      <p:sp>
        <p:nvSpPr>
          <p:cNvPr id="107" name="Google Shape;107;p42"/>
          <p:cNvSpPr txBox="1">
            <a:spLocks noGrp="1"/>
          </p:cNvSpPr>
          <p:nvPr>
            <p:ph type="ftr" idx="11"/>
          </p:nvPr>
        </p:nvSpPr>
        <p:spPr>
          <a:xfrm>
            <a:off x="0" y="6489700"/>
            <a:ext cx="9046369" cy="368300"/>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8" name="Google Shape;108;p42"/>
          <p:cNvSpPr txBox="1">
            <a:spLocks noGrp="1"/>
          </p:cNvSpPr>
          <p:nvPr>
            <p:ph type="title"/>
          </p:nvPr>
        </p:nvSpPr>
        <p:spPr>
          <a:xfrm>
            <a:off x="695325" y="728663"/>
            <a:ext cx="10801350" cy="720000"/>
          </a:xfrm>
          <a:prstGeom prst="rect">
            <a:avLst/>
          </a:prstGeom>
          <a:noFill/>
          <a:ln>
            <a:noFill/>
          </a:ln>
        </p:spPr>
        <p:txBody>
          <a:bodyPr spcFirstLastPara="1" wrap="square" lIns="0" tIns="0" rIns="0" bIns="0" anchor="t" anchorCtr="0">
            <a:normAutofit/>
          </a:bodyPr>
          <a:lstStyle>
            <a:lvl1pPr lvl="0" algn="l">
              <a:lnSpc>
                <a:spcPct val="90000"/>
              </a:lnSpc>
              <a:spcBef>
                <a:spcPts val="0"/>
              </a:spcBef>
              <a:spcAft>
                <a:spcPts val="0"/>
              </a:spcAft>
              <a:buClr>
                <a:schemeClr val="lt2"/>
              </a:buClr>
              <a:buSzPts val="1800"/>
              <a:buNone/>
              <a:defRPr/>
            </a:lvl1pPr>
            <a:lvl2pPr lvl="1">
              <a:spcBef>
                <a:spcPts val="120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 name="Google Shape;109;p42"/>
          <p:cNvSpPr txBox="1">
            <a:spLocks noGrp="1"/>
          </p:cNvSpPr>
          <p:nvPr>
            <p:ph type="body" idx="1"/>
          </p:nvPr>
        </p:nvSpPr>
        <p:spPr>
          <a:xfrm>
            <a:off x="695325" y="1448663"/>
            <a:ext cx="5940425" cy="4320312"/>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0"/>
              </a:spcBef>
              <a:spcAft>
                <a:spcPts val="0"/>
              </a:spcAft>
              <a:buClr>
                <a:schemeClr val="lt2"/>
              </a:buClr>
              <a:buSzPts val="2400"/>
              <a:buFont typeface="Arial"/>
              <a:buNone/>
              <a:defRPr sz="2400" b="1" i="0" u="none" strike="noStrike" cap="none">
                <a:solidFill>
                  <a:schemeClr val="lt2"/>
                </a:solidFill>
                <a:latin typeface="Arial"/>
                <a:ea typeface="Arial"/>
                <a:cs typeface="Arial"/>
                <a:sym typeface="Arial"/>
              </a:defRPr>
            </a:lvl1pPr>
            <a:lvl2pPr marL="914400" marR="0" lvl="1" indent="-228600" algn="l" rtl="0">
              <a:lnSpc>
                <a:spcPct val="100000"/>
              </a:lnSpc>
              <a:spcBef>
                <a:spcPts val="1200"/>
              </a:spcBef>
              <a:spcAft>
                <a:spcPts val="0"/>
              </a:spcAft>
              <a:buClr>
                <a:schemeClr val="lt2"/>
              </a:buClr>
              <a:buSzPts val="2400"/>
              <a:buFont typeface="Arial"/>
              <a:buNone/>
              <a:defRPr sz="2400" b="0" i="0" u="none" strike="noStrike" cap="none">
                <a:solidFill>
                  <a:schemeClr val="lt2"/>
                </a:solidFill>
                <a:latin typeface="Arial"/>
                <a:ea typeface="Arial"/>
                <a:cs typeface="Arial"/>
                <a:sym typeface="Arial"/>
              </a:defRPr>
            </a:lvl2pPr>
            <a:lvl3pPr marL="1371600" marR="0" lvl="2" indent="-228600" algn="l" rtl="0">
              <a:lnSpc>
                <a:spcPct val="110000"/>
              </a:lnSpc>
              <a:spcBef>
                <a:spcPts val="12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3pPr>
            <a:lvl4pPr marL="1828800" marR="0" lvl="3" indent="-228600" algn="l" rtl="0">
              <a:lnSpc>
                <a:spcPct val="110000"/>
              </a:lnSpc>
              <a:spcBef>
                <a:spcPts val="1200"/>
              </a:spcBef>
              <a:spcAft>
                <a:spcPts val="0"/>
              </a:spcAft>
              <a:buClr>
                <a:schemeClr val="dk1"/>
              </a:buClr>
              <a:buSzPts val="1000"/>
              <a:buFont typeface="Arial"/>
              <a:buNone/>
              <a:defRPr sz="1000" b="0" i="0" u="none" strike="noStrike" cap="none">
                <a:solidFill>
                  <a:schemeClr val="dk1"/>
                </a:solidFill>
                <a:latin typeface="Arial"/>
                <a:ea typeface="Arial"/>
                <a:cs typeface="Arial"/>
                <a:sym typeface="Arial"/>
              </a:defRPr>
            </a:lvl4pPr>
            <a:lvl5pPr marL="2286000" marR="0" lvl="4" indent="-228600" algn="l" rtl="0">
              <a:lnSpc>
                <a:spcPct val="100000"/>
              </a:lnSpc>
              <a:spcBef>
                <a:spcPts val="600"/>
              </a:spcBef>
              <a:spcAft>
                <a:spcPts val="0"/>
              </a:spcAft>
              <a:buClr>
                <a:schemeClr val="dk2"/>
              </a:buClr>
              <a:buSzPts val="1100"/>
              <a:buFont typeface="Arial"/>
              <a:buNone/>
              <a:defRPr sz="1100" b="0" i="0" u="none" strike="noStrike" cap="none">
                <a:solidFill>
                  <a:schemeClr val="dk2"/>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_Disposition personnalisée">
  <p:cSld name="1_Disposition personnalisée">
    <p:spTree>
      <p:nvGrpSpPr>
        <p:cNvPr id="1" name="Shape 53"/>
        <p:cNvGrpSpPr/>
        <p:nvPr/>
      </p:nvGrpSpPr>
      <p:grpSpPr>
        <a:xfrm>
          <a:off x="0" y="0"/>
          <a:ext cx="0" cy="0"/>
          <a:chOff x="0" y="0"/>
          <a:chExt cx="0" cy="0"/>
        </a:xfrm>
      </p:grpSpPr>
      <p:sp>
        <p:nvSpPr>
          <p:cNvPr id="54" name="Google Shape;54;p110"/>
          <p:cNvSpPr txBox="1">
            <a:spLocks noGrp="1"/>
          </p:cNvSpPr>
          <p:nvPr>
            <p:ph type="ftr" idx="11"/>
          </p:nvPr>
        </p:nvSpPr>
        <p:spPr>
          <a:xfrm>
            <a:off x="0" y="6489700"/>
            <a:ext cx="9046369" cy="368300"/>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5" name="Google Shape;55;p110"/>
          <p:cNvSpPr txBox="1">
            <a:spLocks noGrp="1"/>
          </p:cNvSpPr>
          <p:nvPr>
            <p:ph type="sldNum" idx="12"/>
          </p:nvPr>
        </p:nvSpPr>
        <p:spPr>
          <a:xfrm>
            <a:off x="9046369" y="6489700"/>
            <a:ext cx="2450306" cy="368300"/>
          </a:xfrm>
          <a:prstGeom prst="rect">
            <a:avLst/>
          </a:prstGeom>
          <a:noFill/>
          <a:ln>
            <a:noFill/>
          </a:ln>
        </p:spPr>
        <p:txBody>
          <a:bodyPr spcFirstLastPara="1" wrap="square" lIns="0" tIns="0" rIns="0" bIns="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fr-FR"/>
              <a:t>‹N°›</a:t>
            </a:fld>
            <a:endParaRPr/>
          </a:p>
        </p:txBody>
      </p:sp>
      <p:sp>
        <p:nvSpPr>
          <p:cNvPr id="56" name="Google Shape;56;p110"/>
          <p:cNvSpPr txBox="1">
            <a:spLocks noGrp="1"/>
          </p:cNvSpPr>
          <p:nvPr>
            <p:ph type="body" idx="1"/>
          </p:nvPr>
        </p:nvSpPr>
        <p:spPr>
          <a:xfrm>
            <a:off x="695325" y="406371"/>
            <a:ext cx="8473389" cy="3560148"/>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lt2"/>
              </a:buClr>
              <a:buSzPts val="2400"/>
              <a:buFont typeface="Arial"/>
              <a:buNone/>
              <a:defRPr sz="2400" b="1" i="0" u="none" strike="noStrike" cap="none">
                <a:solidFill>
                  <a:schemeClr val="lt2"/>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29397434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ontent: Subline">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CB7D94EB-BB26-4C8C-B2D0-7B9EB22FB060}"/>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17" name="Objekt 16" hidden="1">
                        <a:extLst>
                          <a:ext uri="{FF2B5EF4-FFF2-40B4-BE49-F238E27FC236}">
                            <a16:creationId xmlns:a16="http://schemas.microsoft.com/office/drawing/2014/main" id="{CB7D94EB-BB26-4C8C-B2D0-7B9EB22FB060}"/>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16" name="Rechteck 15" hidden="1">
            <a:extLst>
              <a:ext uri="{FF2B5EF4-FFF2-40B4-BE49-F238E27FC236}">
                <a16:creationId xmlns:a16="http://schemas.microsoft.com/office/drawing/2014/main" id="{A6B5C33F-1AE5-4783-BB6B-F49D845E782C}"/>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867" b="1" dirty="0">
              <a:solidFill>
                <a:prstClr val="white"/>
              </a:solidFill>
              <a:ea typeface="+mj-ea"/>
              <a:cs typeface="+mj-cs"/>
              <a:sym typeface="Arial" panose="020B0604020202020204" pitchFamily="34" charset="0"/>
            </a:endParaRPr>
          </a:p>
        </p:txBody>
      </p:sp>
      <p:sp>
        <p:nvSpPr>
          <p:cNvPr id="2" name="Title 1"/>
          <p:cNvSpPr>
            <a:spLocks noGrp="1"/>
          </p:cNvSpPr>
          <p:nvPr>
            <p:ph type="title" hasCustomPrompt="1"/>
          </p:nvPr>
        </p:nvSpPr>
        <p:spPr>
          <a:xfrm>
            <a:off x="334434" y="536537"/>
            <a:ext cx="8606367" cy="332399"/>
          </a:xfrm>
        </p:spPr>
        <p:txBody>
          <a:bodyPr/>
          <a:lstStyle>
            <a:lvl1pPr>
              <a:defRPr baseline="0"/>
            </a:lvl1pPr>
          </a:lstStyle>
          <a:p>
            <a:r>
              <a:rPr lang="en-US" dirty="0" err="1"/>
              <a:t>CLIquer</a:t>
            </a:r>
            <a:r>
              <a:rPr lang="en-US" dirty="0"/>
              <a:t> pour </a:t>
            </a:r>
            <a:r>
              <a:rPr lang="en-US" dirty="0" err="1"/>
              <a:t>ajouter</a:t>
            </a:r>
            <a:r>
              <a:rPr lang="en-US" dirty="0"/>
              <a:t> un </a:t>
            </a:r>
            <a:r>
              <a:rPr lang="en-US" dirty="0" err="1"/>
              <a:t>titre</a:t>
            </a:r>
            <a:endParaRPr lang="en-US" dirty="0"/>
          </a:p>
        </p:txBody>
      </p:sp>
      <p:sp>
        <p:nvSpPr>
          <p:cNvPr id="3" name="Content Placeholder 2"/>
          <p:cNvSpPr>
            <a:spLocks noGrp="1"/>
          </p:cNvSpPr>
          <p:nvPr>
            <p:ph idx="1" hasCustomPrompt="1"/>
          </p:nvPr>
        </p:nvSpPr>
        <p:spPr>
          <a:xfrm>
            <a:off x="334434" y="1869399"/>
            <a:ext cx="11519959" cy="4437251"/>
          </a:xfrm>
          <a:prstGeom prst="rect">
            <a:avLst/>
          </a:prstGeom>
        </p:spPr>
        <p:txBody>
          <a:bodyPr/>
          <a:lstStyle>
            <a:lvl1pPr>
              <a:defRPr baseline="0"/>
            </a:lvl1pPr>
            <a:lvl2pPr>
              <a:defRPr/>
            </a:lvl2pPr>
            <a:lvl3pPr>
              <a:defRPr/>
            </a:lvl3pPr>
            <a:lvl4pPr>
              <a:defRPr/>
            </a:lvl4pPr>
            <a:lvl5pPr>
              <a:defRPr/>
            </a:lvl5pPr>
          </a:lstStyle>
          <a:p>
            <a:pPr lvl="0"/>
            <a:r>
              <a:rPr lang="en-US" dirty="0" err="1"/>
              <a:t>Cliquer</a:t>
            </a:r>
            <a:r>
              <a:rPr lang="en-US" dirty="0"/>
              <a:t> pour </a:t>
            </a:r>
            <a:r>
              <a:rPr lang="en-US" dirty="0" err="1"/>
              <a:t>ajouter</a:t>
            </a:r>
            <a:r>
              <a:rPr lang="en-US" dirty="0"/>
              <a:t> du </a:t>
            </a:r>
            <a:r>
              <a:rPr lang="en-US" dirty="0" err="1"/>
              <a:t>texte</a:t>
            </a:r>
            <a:endParaRPr lang="en-US" dirty="0"/>
          </a:p>
        </p:txBody>
      </p:sp>
      <p:sp>
        <p:nvSpPr>
          <p:cNvPr id="19" name="Textplatzhalter 18">
            <a:extLst>
              <a:ext uri="{FF2B5EF4-FFF2-40B4-BE49-F238E27FC236}">
                <a16:creationId xmlns:a16="http://schemas.microsoft.com/office/drawing/2014/main" id="{192A89BD-D684-4C8A-979A-58DBBF994559}"/>
              </a:ext>
            </a:extLst>
          </p:cNvPr>
          <p:cNvSpPr>
            <a:spLocks noGrp="1"/>
          </p:cNvSpPr>
          <p:nvPr>
            <p:ph type="body" sz="quarter" idx="13" hasCustomPrompt="1"/>
          </p:nvPr>
        </p:nvSpPr>
        <p:spPr>
          <a:xfrm>
            <a:off x="334432" y="214644"/>
            <a:ext cx="8606368" cy="207899"/>
          </a:xfrm>
        </p:spPr>
        <p:txBody>
          <a:bodyPr wrap="square" lIns="0" tIns="0" rIns="0" bIns="0">
            <a:spAutoFit/>
          </a:bodyPr>
          <a:lstStyle>
            <a:lvl1pPr>
              <a:defRPr sz="1333" baseline="0">
                <a:solidFill>
                  <a:schemeClr val="accent4"/>
                </a:solidFill>
              </a:defRPr>
            </a:lvl1pPr>
          </a:lstStyle>
          <a:p>
            <a:pPr lvl="0"/>
            <a:r>
              <a:rPr lang="en-US" dirty="0" err="1"/>
              <a:t>Cliquer</a:t>
            </a:r>
            <a:r>
              <a:rPr lang="en-US" dirty="0"/>
              <a:t> pour </a:t>
            </a:r>
            <a:r>
              <a:rPr lang="en-US" dirty="0" err="1"/>
              <a:t>ajouter</a:t>
            </a:r>
            <a:r>
              <a:rPr lang="en-US" dirty="0"/>
              <a:t> </a:t>
            </a:r>
            <a:r>
              <a:rPr lang="en-US" dirty="0" err="1"/>
              <a:t>une</a:t>
            </a:r>
            <a:r>
              <a:rPr lang="en-US" dirty="0"/>
              <a:t> </a:t>
            </a:r>
            <a:r>
              <a:rPr lang="en-US" dirty="0" err="1"/>
              <a:t>rubrique</a:t>
            </a:r>
            <a:endParaRPr lang="en-US" dirty="0"/>
          </a:p>
        </p:txBody>
      </p:sp>
      <p:sp>
        <p:nvSpPr>
          <p:cNvPr id="20" name="Textplatzhalter 18">
            <a:extLst>
              <a:ext uri="{FF2B5EF4-FFF2-40B4-BE49-F238E27FC236}">
                <a16:creationId xmlns:a16="http://schemas.microsoft.com/office/drawing/2014/main" id="{CD400520-EB81-4B44-B6F3-9516A8B2D48D}"/>
              </a:ext>
            </a:extLst>
          </p:cNvPr>
          <p:cNvSpPr>
            <a:spLocks noGrp="1"/>
          </p:cNvSpPr>
          <p:nvPr>
            <p:ph type="body" sz="quarter" idx="14" hasCustomPrompt="1"/>
          </p:nvPr>
        </p:nvSpPr>
        <p:spPr>
          <a:xfrm>
            <a:off x="334433" y="1509184"/>
            <a:ext cx="11520000" cy="246221"/>
          </a:xfrm>
        </p:spPr>
        <p:txBody>
          <a:bodyPr lIns="0" tIns="0" rIns="0" bIns="0">
            <a:spAutoFit/>
          </a:bodyPr>
          <a:lstStyle>
            <a:lvl1pPr>
              <a:defRPr sz="1600" b="1" baseline="0">
                <a:solidFill>
                  <a:schemeClr val="tx2"/>
                </a:solidFill>
              </a:defRPr>
            </a:lvl1pPr>
          </a:lstStyle>
          <a:p>
            <a:pPr lvl="0"/>
            <a:r>
              <a:rPr lang="en-US" dirty="0" err="1"/>
              <a:t>Cliquer</a:t>
            </a:r>
            <a:r>
              <a:rPr lang="en-US" dirty="0"/>
              <a:t> pour </a:t>
            </a:r>
            <a:r>
              <a:rPr lang="en-US" dirty="0" err="1"/>
              <a:t>ajouter</a:t>
            </a:r>
            <a:r>
              <a:rPr lang="en-US" dirty="0"/>
              <a:t> un sous-</a:t>
            </a:r>
            <a:r>
              <a:rPr lang="en-US" dirty="0" err="1"/>
              <a:t>titre</a:t>
            </a:r>
            <a:endParaRPr lang="en-US" dirty="0"/>
          </a:p>
        </p:txBody>
      </p:sp>
      <p:sp>
        <p:nvSpPr>
          <p:cNvPr id="7" name="Datumsplatzhalter 6">
            <a:extLst>
              <a:ext uri="{FF2B5EF4-FFF2-40B4-BE49-F238E27FC236}">
                <a16:creationId xmlns:a16="http://schemas.microsoft.com/office/drawing/2014/main" id="{A543CA7D-39ED-4CF6-BD20-043AAB829349}"/>
              </a:ext>
            </a:extLst>
          </p:cNvPr>
          <p:cNvSpPr>
            <a:spLocks noGrp="1"/>
          </p:cNvSpPr>
          <p:nvPr>
            <p:ph type="dt" sz="half" idx="15"/>
          </p:nvPr>
        </p:nvSpPr>
        <p:spPr/>
        <p:txBody>
          <a:bodyPr/>
          <a:lstStyle/>
          <a:p>
            <a:fld id="{5010FA17-3937-47A2-8FD5-1B8A951B6AD9}" type="datetime5">
              <a:rPr lang="fr-FR" smtClean="0">
                <a:solidFill>
                  <a:srgbClr val="B4B4B4"/>
                </a:solidFill>
              </a:rPr>
              <a:pPr/>
              <a:t>26-janv.-23</a:t>
            </a:fld>
            <a:endParaRPr lang="en-US" dirty="0">
              <a:solidFill>
                <a:srgbClr val="B4B4B4"/>
              </a:solidFill>
            </a:endParaRPr>
          </a:p>
        </p:txBody>
      </p:sp>
      <p:sp>
        <p:nvSpPr>
          <p:cNvPr id="9" name="Foliennummernplatzhalter 8">
            <a:extLst>
              <a:ext uri="{FF2B5EF4-FFF2-40B4-BE49-F238E27FC236}">
                <a16:creationId xmlns:a16="http://schemas.microsoft.com/office/drawing/2014/main" id="{D5934EE8-AEE8-4975-885E-86002DCA1C2B}"/>
              </a:ext>
            </a:extLst>
          </p:cNvPr>
          <p:cNvSpPr>
            <a:spLocks noGrp="1"/>
          </p:cNvSpPr>
          <p:nvPr>
            <p:ph type="sldNum" sz="quarter" idx="17"/>
          </p:nvPr>
        </p:nvSpPr>
        <p:spPr/>
        <p:txBody>
          <a:bodyPr/>
          <a:lstStyle/>
          <a:p>
            <a:fld id="{4D2FDC22-80BD-4979-B76F-73272F05F8A8}" type="slidenum">
              <a:rPr lang="en-US" smtClean="0">
                <a:solidFill>
                  <a:srgbClr val="B4B4B4"/>
                </a:solidFill>
              </a:rPr>
              <a:pPr/>
              <a:t>‹N°›</a:t>
            </a:fld>
            <a:endParaRPr lang="en-US" dirty="0">
              <a:solidFill>
                <a:srgbClr val="B4B4B4"/>
              </a:solidFill>
            </a:endParaRPr>
          </a:p>
        </p:txBody>
      </p:sp>
    </p:spTree>
    <p:extLst>
      <p:ext uri="{BB962C8B-B14F-4D97-AF65-F5344CB8AC3E}">
        <p14:creationId xmlns:p14="http://schemas.microsoft.com/office/powerpoint/2010/main" val="23767867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p:cNvSpPr>
            <a:spLocks noGrp="1"/>
          </p:cNvSpPr>
          <p:nvPr>
            <p:ph type="subTitle" idx="1"/>
          </p:nvPr>
        </p:nvSpPr>
        <p:spPr>
          <a:xfrm>
            <a:off x="1524000" y="3602038"/>
            <a:ext cx="9144000" cy="1655762"/>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fr-FR"/>
              <a:t>Modifier le style des sous-titres du masque</a:t>
            </a:r>
          </a:p>
        </p:txBody>
      </p:sp>
      <p:sp>
        <p:nvSpPr>
          <p:cNvPr id="4" name="Espace réservé de la date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75E0BF2-F0DF-46A4-8383-4CCD172787D3}" type="datetimeFigureOut">
              <a:rPr kumimoji="0" lang="fr-FR"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01/2023</a:t>
            </a:fld>
            <a:endParaRPr kumimoji="0" lang="fr-FR"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Espace réservé du pied de page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Espace réservé du numéro de diapositive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A6EEE5-CE63-4212-AF3E-F01611CF5641}" type="slidenum">
              <a:rPr kumimoji="0" lang="fr-FR"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a:t>
            </a:fld>
            <a:endParaRPr kumimoji="0" lang="fr-FR"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6738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75E0BF2-F0DF-46A4-8383-4CCD172787D3}" type="datetimeFigureOut">
              <a:rPr kumimoji="0" lang="fr-FR"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01/2023</a:t>
            </a:fld>
            <a:endParaRPr kumimoji="0" lang="fr-FR"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Espace réservé du pied de page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Espace réservé du numéro de diapositive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A6EEE5-CE63-4212-AF3E-F01611CF5641}" type="slidenum">
              <a:rPr kumimoji="0" lang="fr-FR"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a:t>
            </a:fld>
            <a:endParaRPr kumimoji="0" lang="fr-FR"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ZoneTexte 6"/>
          <p:cNvSpPr txBox="1"/>
          <p:nvPr userDrawn="1"/>
        </p:nvSpPr>
        <p:spPr>
          <a:xfrm rot="16200000">
            <a:off x="10074776" y="3569234"/>
            <a:ext cx="407718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1" u="none" strike="noStrike" kern="1200" cap="none" spc="0" normalizeH="0" baseline="0" noProof="0" dirty="0">
                <a:ln>
                  <a:noFill/>
                </a:ln>
                <a:solidFill>
                  <a:prstClr val="black"/>
                </a:solidFill>
                <a:effectLst/>
                <a:uLnTx/>
                <a:uFillTx/>
                <a:latin typeface="Calibri" panose="020F0502020204030204"/>
                <a:ea typeface="+mn-ea"/>
                <a:cs typeface="+mn-cs"/>
              </a:rPr>
              <a:t>Sylvaine </a:t>
            </a:r>
            <a:r>
              <a:rPr kumimoji="0" lang="fr-FR" sz="1200" b="0" i="1" u="none" strike="noStrike" kern="1200" cap="none" spc="0" normalizeH="0" baseline="0" noProof="0" dirty="0" err="1">
                <a:ln>
                  <a:noFill/>
                </a:ln>
                <a:solidFill>
                  <a:prstClr val="black"/>
                </a:solidFill>
                <a:effectLst/>
                <a:uLnTx/>
                <a:uFillTx/>
                <a:latin typeface="Calibri" panose="020F0502020204030204"/>
                <a:ea typeface="+mn-ea"/>
                <a:cs typeface="+mn-cs"/>
              </a:rPr>
              <a:t>Dhion</a:t>
            </a:r>
            <a:r>
              <a:rPr kumimoji="0" lang="fr-FR" sz="1200" b="0" i="1" u="none" strike="noStrike" kern="1200" cap="none" spc="0" normalizeH="0" baseline="0" noProof="0" dirty="0">
                <a:ln>
                  <a:noFill/>
                </a:ln>
                <a:solidFill>
                  <a:prstClr val="black"/>
                </a:solidFill>
                <a:effectLst/>
                <a:uLnTx/>
                <a:uFillTx/>
                <a:latin typeface="Calibri" panose="020F0502020204030204"/>
                <a:ea typeface="+mn-ea"/>
                <a:cs typeface="+mn-cs"/>
              </a:rPr>
              <a:t> &amp; Al, Janvier 2020</a:t>
            </a:r>
          </a:p>
        </p:txBody>
      </p:sp>
    </p:spTree>
    <p:extLst>
      <p:ext uri="{BB962C8B-B14F-4D97-AF65-F5344CB8AC3E}">
        <p14:creationId xmlns:p14="http://schemas.microsoft.com/office/powerpoint/2010/main" val="12107652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1" y="1709742"/>
            <a:ext cx="10515600" cy="2852737"/>
          </a:xfrm>
        </p:spPr>
        <p:txBody>
          <a:bodyPr anchor="b"/>
          <a:lstStyle>
            <a:lvl1pPr>
              <a:defRPr sz="6000"/>
            </a:lvl1pPr>
          </a:lstStyle>
          <a:p>
            <a:r>
              <a:rPr lang="fr-FR"/>
              <a:t>Modifiez le style du titre</a:t>
            </a:r>
          </a:p>
        </p:txBody>
      </p:sp>
      <p:sp>
        <p:nvSpPr>
          <p:cNvPr id="3" name="Espace réservé du texte 2"/>
          <p:cNvSpPr>
            <a:spLocks noGrp="1"/>
          </p:cNvSpPr>
          <p:nvPr>
            <p:ph type="body" idx="1"/>
          </p:nvPr>
        </p:nvSpPr>
        <p:spPr>
          <a:xfrm>
            <a:off x="831851" y="4589467"/>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a:t>Modifier les styles du texte du masque</a:t>
            </a:r>
          </a:p>
        </p:txBody>
      </p:sp>
      <p:sp>
        <p:nvSpPr>
          <p:cNvPr id="4" name="Espace réservé de la date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75E0BF2-F0DF-46A4-8383-4CCD172787D3}" type="datetimeFigureOut">
              <a:rPr kumimoji="0" lang="fr-FR"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01/2023</a:t>
            </a:fld>
            <a:endParaRPr kumimoji="0" lang="fr-FR"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Espace réservé du pied de page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Espace réservé du numéro de diapositive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A6EEE5-CE63-4212-AF3E-F01611CF5641}" type="slidenum">
              <a:rPr kumimoji="0" lang="fr-FR"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a:t>
            </a:fld>
            <a:endParaRPr kumimoji="0" lang="fr-FR"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47580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sz="half" idx="1"/>
          </p:nvPr>
        </p:nvSpPr>
        <p:spPr>
          <a:xfrm>
            <a:off x="838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72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75E0BF2-F0DF-46A4-8383-4CCD172787D3}" type="datetimeFigureOut">
              <a:rPr kumimoji="0" lang="fr-FR"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01/2023</a:t>
            </a:fld>
            <a:endParaRPr kumimoji="0" lang="fr-FR"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Espace réservé du pied de page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Espace réservé du numéro de diapositive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A6EEE5-CE63-4212-AF3E-F01611CF5641}" type="slidenum">
              <a:rPr kumimoji="0" lang="fr-FR"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a:t>
            </a:fld>
            <a:endParaRPr kumimoji="0" lang="fr-FR"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ZoneTexte 7"/>
          <p:cNvSpPr txBox="1"/>
          <p:nvPr userDrawn="1"/>
        </p:nvSpPr>
        <p:spPr>
          <a:xfrm rot="16200000">
            <a:off x="10049376" y="3569234"/>
            <a:ext cx="407718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1" u="none" strike="noStrike" kern="1200" cap="none" spc="0" normalizeH="0" baseline="0" noProof="0" dirty="0">
                <a:ln>
                  <a:noFill/>
                </a:ln>
                <a:solidFill>
                  <a:prstClr val="black"/>
                </a:solidFill>
                <a:effectLst/>
                <a:uLnTx/>
                <a:uFillTx/>
                <a:latin typeface="Calibri" panose="020F0502020204030204"/>
                <a:ea typeface="+mn-ea"/>
                <a:cs typeface="+mn-cs"/>
              </a:rPr>
              <a:t>Sylvaine </a:t>
            </a:r>
            <a:r>
              <a:rPr kumimoji="0" lang="fr-FR" sz="1200" b="0" i="1" u="none" strike="noStrike" kern="1200" cap="none" spc="0" normalizeH="0" baseline="0" noProof="0" dirty="0" err="1">
                <a:ln>
                  <a:noFill/>
                </a:ln>
                <a:solidFill>
                  <a:prstClr val="black"/>
                </a:solidFill>
                <a:effectLst/>
                <a:uLnTx/>
                <a:uFillTx/>
                <a:latin typeface="Calibri" panose="020F0502020204030204"/>
                <a:ea typeface="+mn-ea"/>
                <a:cs typeface="+mn-cs"/>
              </a:rPr>
              <a:t>Dhion</a:t>
            </a:r>
            <a:r>
              <a:rPr kumimoji="0" lang="fr-FR" sz="1200" b="0" i="1" u="none" strike="noStrike" kern="1200" cap="none" spc="0" normalizeH="0" baseline="0" noProof="0" dirty="0">
                <a:ln>
                  <a:noFill/>
                </a:ln>
                <a:solidFill>
                  <a:prstClr val="black"/>
                </a:solidFill>
                <a:effectLst/>
                <a:uLnTx/>
                <a:uFillTx/>
                <a:latin typeface="Calibri" panose="020F0502020204030204"/>
                <a:ea typeface="+mn-ea"/>
                <a:cs typeface="+mn-cs"/>
              </a:rPr>
              <a:t> &amp; Al, Janvier 2020</a:t>
            </a:r>
          </a:p>
        </p:txBody>
      </p:sp>
    </p:spTree>
    <p:extLst>
      <p:ext uri="{BB962C8B-B14F-4D97-AF65-F5344CB8AC3E}">
        <p14:creationId xmlns:p14="http://schemas.microsoft.com/office/powerpoint/2010/main" val="3103360093"/>
      </p:ext>
    </p:extLst>
  </p:cSld>
  <p:clrMapOvr>
    <a:masterClrMapping/>
  </p:clrMapOvr>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slideLayout" Target="../slideLayouts/slideLayout3.xml"/><Relationship Id="rId1" Type="http://schemas.openxmlformats.org/officeDocument/2006/relationships/slideLayout" Target="../slideLayouts/slideLayout2.xml"/><Relationship Id="rId5" Type="http://schemas.openxmlformats.org/officeDocument/2006/relationships/theme" Target="../theme/theme2.xml"/><Relationship Id="rId4" Type="http://schemas.openxmlformats.org/officeDocument/2006/relationships/slideLayout" Target="../slideLayouts/slideLayout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image" Target="../media/image3.jpeg"/><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3.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Tree>
  </p:cSld>
  <p:clrMap bg1="lt1" tx1="dk1" bg2="dk2" tx2="lt2" accent1="accent1" accent2="accent2" accent3="accent3" accent4="accent4" accent5="accent5" accent6="accent6" hlink="hlink" folHlink="folHlink"/>
  <p:sldLayoutIdLst>
    <p:sldLayoutId id="2147483649" r:id="rId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438">
          <p15:clr>
            <a:srgbClr val="F26B43"/>
          </p15:clr>
        </p15:guide>
        <p15:guide id="2" orient="horz" pos="459">
          <p15:clr>
            <a:srgbClr val="F26B43"/>
          </p15:clr>
        </p15:guide>
        <p15:guide id="3" orient="horz" pos="3861">
          <p15:clr>
            <a:srgbClr val="F26B43"/>
          </p15:clr>
        </p15:guide>
        <p15:guide id="4" pos="724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5"/>
        <p:cNvGrpSpPr/>
        <p:nvPr/>
      </p:nvGrpSpPr>
      <p:grpSpPr>
        <a:xfrm>
          <a:off x="0" y="0"/>
          <a:ext cx="0" cy="0"/>
          <a:chOff x="0" y="0"/>
          <a:chExt cx="0" cy="0"/>
        </a:xfrm>
      </p:grpSpPr>
      <p:sp>
        <p:nvSpPr>
          <p:cNvPr id="26" name="Google Shape;26;p29"/>
          <p:cNvSpPr/>
          <p:nvPr/>
        </p:nvSpPr>
        <p:spPr>
          <a:xfrm>
            <a:off x="0" y="6489700"/>
            <a:ext cx="12192000" cy="368300"/>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27" name="Google Shape;27;p29"/>
          <p:cNvSpPr txBox="1">
            <a:spLocks noGrp="1"/>
          </p:cNvSpPr>
          <p:nvPr>
            <p:ph type="ftr" idx="11"/>
          </p:nvPr>
        </p:nvSpPr>
        <p:spPr>
          <a:xfrm>
            <a:off x="0" y="6489700"/>
            <a:ext cx="9046369" cy="36830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lt1"/>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8" name="Google Shape;28;p29"/>
          <p:cNvSpPr txBox="1">
            <a:spLocks noGrp="1"/>
          </p:cNvSpPr>
          <p:nvPr>
            <p:ph type="title"/>
          </p:nvPr>
        </p:nvSpPr>
        <p:spPr>
          <a:xfrm>
            <a:off x="695325" y="728663"/>
            <a:ext cx="10801350" cy="720000"/>
          </a:xfrm>
          <a:prstGeom prst="rect">
            <a:avLst/>
          </a:prstGeom>
          <a:noFill/>
          <a:ln>
            <a:noFill/>
          </a:ln>
        </p:spPr>
        <p:txBody>
          <a:bodyPr spcFirstLastPara="1" wrap="square" lIns="0" tIns="0" rIns="0" bIns="0" anchor="t" anchorCtr="0">
            <a:normAutofit/>
          </a:bodyPr>
          <a:lstStyle>
            <a:lvl1pPr marR="0" lvl="0" algn="l" rtl="0">
              <a:lnSpc>
                <a:spcPct val="90000"/>
              </a:lnSpc>
              <a:spcBef>
                <a:spcPts val="0"/>
              </a:spcBef>
              <a:spcAft>
                <a:spcPts val="0"/>
              </a:spcAft>
              <a:buClr>
                <a:schemeClr val="lt2"/>
              </a:buClr>
              <a:buSzPts val="2400"/>
              <a:buFont typeface="Arial"/>
              <a:buNone/>
              <a:defRPr sz="2400" b="1" i="0" u="none" strike="noStrike" cap="none">
                <a:solidFill>
                  <a:schemeClr val="lt2"/>
                </a:solidFill>
                <a:latin typeface="Arial"/>
                <a:ea typeface="Arial"/>
                <a:cs typeface="Arial"/>
                <a:sym typeface="Arial"/>
              </a:defRPr>
            </a:lvl1pPr>
            <a:lvl2pPr lvl="1">
              <a:spcBef>
                <a:spcPts val="120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9" name="Google Shape;29;p29"/>
          <p:cNvSpPr txBox="1">
            <a:spLocks noGrp="1"/>
          </p:cNvSpPr>
          <p:nvPr>
            <p:ph type="sldNum" idx="12"/>
          </p:nvPr>
        </p:nvSpPr>
        <p:spPr>
          <a:xfrm>
            <a:off x="9046369" y="6489700"/>
            <a:ext cx="2450306" cy="368300"/>
          </a:xfrm>
          <a:prstGeom prst="rect">
            <a:avLst/>
          </a:prstGeom>
          <a:noFill/>
          <a:ln>
            <a:noFill/>
          </a:ln>
        </p:spPr>
        <p:txBody>
          <a:bodyPr spcFirstLastPara="1" wrap="square" lIns="0" tIns="0" rIns="0" bIns="0" anchor="ctr" anchorCtr="0">
            <a:noAutofit/>
          </a:bodyPr>
          <a:lstStyle>
            <a:lvl1pPr marL="0" marR="0" lvl="0" indent="0" algn="r" rtl="0">
              <a:spcBef>
                <a:spcPts val="0"/>
              </a:spcBef>
              <a:buNone/>
              <a:defRPr sz="1000" b="0" i="0" u="none" strike="noStrike" cap="none">
                <a:solidFill>
                  <a:schemeClr val="lt1"/>
                </a:solidFill>
                <a:latin typeface="Arial"/>
                <a:ea typeface="Arial"/>
                <a:cs typeface="Arial"/>
                <a:sym typeface="Arial"/>
              </a:defRPr>
            </a:lvl1pPr>
            <a:lvl2pPr marL="0" marR="0" lvl="1" indent="0" algn="r" rtl="0">
              <a:spcBef>
                <a:spcPts val="0"/>
              </a:spcBef>
              <a:buNone/>
              <a:defRPr sz="1000" b="0" i="0" u="none" strike="noStrike" cap="none">
                <a:solidFill>
                  <a:schemeClr val="lt1"/>
                </a:solidFill>
                <a:latin typeface="Arial"/>
                <a:ea typeface="Arial"/>
                <a:cs typeface="Arial"/>
                <a:sym typeface="Arial"/>
              </a:defRPr>
            </a:lvl2pPr>
            <a:lvl3pPr marL="0" marR="0" lvl="2" indent="0" algn="r" rtl="0">
              <a:spcBef>
                <a:spcPts val="0"/>
              </a:spcBef>
              <a:buNone/>
              <a:defRPr sz="1000" b="0" i="0" u="none" strike="noStrike" cap="none">
                <a:solidFill>
                  <a:schemeClr val="lt1"/>
                </a:solidFill>
                <a:latin typeface="Arial"/>
                <a:ea typeface="Arial"/>
                <a:cs typeface="Arial"/>
                <a:sym typeface="Arial"/>
              </a:defRPr>
            </a:lvl3pPr>
            <a:lvl4pPr marL="0" marR="0" lvl="3" indent="0" algn="r" rtl="0">
              <a:spcBef>
                <a:spcPts val="0"/>
              </a:spcBef>
              <a:buNone/>
              <a:defRPr sz="1000" b="0" i="0" u="none" strike="noStrike" cap="none">
                <a:solidFill>
                  <a:schemeClr val="lt1"/>
                </a:solidFill>
                <a:latin typeface="Arial"/>
                <a:ea typeface="Arial"/>
                <a:cs typeface="Arial"/>
                <a:sym typeface="Arial"/>
              </a:defRPr>
            </a:lvl4pPr>
            <a:lvl5pPr marL="0" marR="0" lvl="4" indent="0" algn="r" rtl="0">
              <a:spcBef>
                <a:spcPts val="0"/>
              </a:spcBef>
              <a:buNone/>
              <a:defRPr sz="1000" b="0" i="0" u="none" strike="noStrike" cap="none">
                <a:solidFill>
                  <a:schemeClr val="lt1"/>
                </a:solidFill>
                <a:latin typeface="Arial"/>
                <a:ea typeface="Arial"/>
                <a:cs typeface="Arial"/>
                <a:sym typeface="Arial"/>
              </a:defRPr>
            </a:lvl5pPr>
            <a:lvl6pPr marL="0" marR="0" lvl="5" indent="0" algn="r" rtl="0">
              <a:spcBef>
                <a:spcPts val="0"/>
              </a:spcBef>
              <a:buNone/>
              <a:defRPr sz="1000" b="0" i="0" u="none" strike="noStrike" cap="none">
                <a:solidFill>
                  <a:schemeClr val="lt1"/>
                </a:solidFill>
                <a:latin typeface="Arial"/>
                <a:ea typeface="Arial"/>
                <a:cs typeface="Arial"/>
                <a:sym typeface="Arial"/>
              </a:defRPr>
            </a:lvl6pPr>
            <a:lvl7pPr marL="0" marR="0" lvl="6" indent="0" algn="r" rtl="0">
              <a:spcBef>
                <a:spcPts val="0"/>
              </a:spcBef>
              <a:buNone/>
              <a:defRPr sz="1000" b="0" i="0" u="none" strike="noStrike" cap="none">
                <a:solidFill>
                  <a:schemeClr val="lt1"/>
                </a:solidFill>
                <a:latin typeface="Arial"/>
                <a:ea typeface="Arial"/>
                <a:cs typeface="Arial"/>
                <a:sym typeface="Arial"/>
              </a:defRPr>
            </a:lvl7pPr>
            <a:lvl8pPr marL="0" marR="0" lvl="7" indent="0" algn="r" rtl="0">
              <a:spcBef>
                <a:spcPts val="0"/>
              </a:spcBef>
              <a:buNone/>
              <a:defRPr sz="1000" b="0" i="0" u="none" strike="noStrike" cap="none">
                <a:solidFill>
                  <a:schemeClr val="lt1"/>
                </a:solidFill>
                <a:latin typeface="Arial"/>
                <a:ea typeface="Arial"/>
                <a:cs typeface="Arial"/>
                <a:sym typeface="Arial"/>
              </a:defRPr>
            </a:lvl8pPr>
            <a:lvl9pPr marL="0" marR="0" lvl="8" indent="0" algn="r" rtl="0">
              <a:spcBef>
                <a:spcPts val="0"/>
              </a:spcBef>
              <a:buNone/>
              <a:defRPr sz="10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fr-FR"/>
              <a:t>‹N°›</a:t>
            </a:fld>
            <a:endParaRPr/>
          </a:p>
        </p:txBody>
      </p:sp>
      <p:cxnSp>
        <p:nvCxnSpPr>
          <p:cNvPr id="30" name="Google Shape;30;p29"/>
          <p:cNvCxnSpPr/>
          <p:nvPr/>
        </p:nvCxnSpPr>
        <p:spPr>
          <a:xfrm>
            <a:off x="2895600" y="5781675"/>
            <a:ext cx="0" cy="0"/>
          </a:xfrm>
          <a:prstGeom prst="straightConnector1">
            <a:avLst/>
          </a:prstGeom>
          <a:noFill/>
          <a:ln w="9525" cap="flat" cmpd="sng">
            <a:solidFill>
              <a:schemeClr val="accent1"/>
            </a:solidFill>
            <a:prstDash val="solid"/>
            <a:miter lim="800000"/>
            <a:headEnd type="none" w="sm" len="sm"/>
            <a:tailEnd type="none" w="sm" len="sm"/>
          </a:ln>
        </p:spPr>
      </p:cxnSp>
    </p:spTree>
  </p:cSld>
  <p:clrMap bg1="lt1" tx1="dk1" bg2="dk2" tx2="lt2" accent1="accent1" accent2="accent2" accent3="accent3" accent4="accent4" accent5="accent5" accent6="accent6" hlink="hlink" folHlink="folHlink"/>
  <p:sldLayoutIdLst>
    <p:sldLayoutId id="2147483662" r:id="rId1"/>
    <p:sldLayoutId id="2147483663" r:id="rId2"/>
    <p:sldLayoutId id="2147483664" r:id="rId3"/>
    <p:sldLayoutId id="2147483704" r:id="rId4"/>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4088">
          <p15:clr>
            <a:srgbClr val="F26B43"/>
          </p15:clr>
        </p15:guide>
        <p15:guide id="2" orient="horz" pos="459">
          <p15:clr>
            <a:srgbClr val="F26B43"/>
          </p15:clr>
        </p15:guide>
        <p15:guide id="3" pos="438">
          <p15:clr>
            <a:srgbClr val="F26B43"/>
          </p15:clr>
        </p15:guide>
        <p15:guide id="4" pos="7242">
          <p15:clr>
            <a:srgbClr val="F26B43"/>
          </p15:clr>
        </p15:guide>
        <p15:guide id="5" orient="horz" pos="363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838200" y="6356354"/>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75E0BF2-F0DF-46A4-8383-4CCD172787D3}" type="datetimeFigureOut">
              <a:rPr kumimoji="0" lang="fr-FR"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01/2023</a:t>
            </a:fld>
            <a:endParaRPr kumimoji="0" lang="fr-FR"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Espace réservé du pied de page 4"/>
          <p:cNvSpPr>
            <a:spLocks noGrp="1"/>
          </p:cNvSpPr>
          <p:nvPr>
            <p:ph type="ftr" sz="quarter" idx="3"/>
          </p:nvPr>
        </p:nvSpPr>
        <p:spPr>
          <a:xfrm>
            <a:off x="4038600" y="6356354"/>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Espace réservé du numéro de diapositive 5"/>
          <p:cNvSpPr>
            <a:spLocks noGrp="1"/>
          </p:cNvSpPr>
          <p:nvPr>
            <p:ph type="sldNum" sz="quarter" idx="4"/>
          </p:nvPr>
        </p:nvSpPr>
        <p:spPr>
          <a:xfrm>
            <a:off x="8610600" y="6356354"/>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EBA6EEE5-CE63-4212-AF3E-F01611CF5641}" type="slidenum">
              <a:rPr kumimoji="0" lang="fr-FR"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a:t>
            </a:fld>
            <a:endParaRPr kumimoji="0" lang="fr-FR"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Rectangle 6"/>
          <p:cNvSpPr/>
          <p:nvPr userDrawn="1"/>
        </p:nvSpPr>
        <p:spPr>
          <a:xfrm>
            <a:off x="0" y="6353175"/>
            <a:ext cx="12192000" cy="504825"/>
          </a:xfrm>
          <a:prstGeom prst="rect">
            <a:avLst/>
          </a:prstGeom>
          <a:solidFill>
            <a:srgbClr val="005995">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Projet </a:t>
            </a:r>
            <a:r>
              <a:rPr kumimoji="0" lang="fr-FR" sz="1400" b="0" i="1"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Le Nucléaire civil dans le mond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Association </a:t>
            </a:r>
            <a:r>
              <a:rPr kumimoji="0" lang="fr-FR" sz="1400" b="0" i="1"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The </a:t>
            </a:r>
            <a:r>
              <a:rPr kumimoji="0" lang="fr-FR" sz="1400" b="0" i="1" u="none" strike="noStrike" kern="1200" cap="none" spc="0" normalizeH="0" baseline="0" noProof="0" dirty="0" err="1">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Shifters</a:t>
            </a:r>
            <a:endParaRPr kumimoji="0" lang="fr-FR" sz="1400" b="0" i="1"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8" name="Rectangle 7"/>
          <p:cNvSpPr/>
          <p:nvPr userDrawn="1"/>
        </p:nvSpPr>
        <p:spPr>
          <a:xfrm>
            <a:off x="0" y="0"/>
            <a:ext cx="12192000" cy="504825"/>
          </a:xfrm>
          <a:prstGeom prst="rect">
            <a:avLst/>
          </a:prstGeom>
          <a:solidFill>
            <a:srgbClr val="005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dirty="0">
              <a:ln>
                <a:noFill/>
              </a:ln>
              <a:solidFill>
                <a:prstClr val="white"/>
              </a:solidFill>
              <a:effectLst/>
              <a:uLnTx/>
              <a:uFillTx/>
              <a:latin typeface="Arial Rounded MT Bold" panose="020F0704030504030204" pitchFamily="34" charset="0"/>
              <a:ea typeface="+mn-ea"/>
              <a:cs typeface="+mn-cs"/>
            </a:endParaRPr>
          </a:p>
        </p:txBody>
      </p:sp>
      <p:pic>
        <p:nvPicPr>
          <p:cNvPr id="9" name="Image 8"/>
          <p:cNvPicPr>
            <a:picLocks noChangeAspect="1"/>
          </p:cNvPicPr>
          <p:nvPr userDrawn="1"/>
        </p:nvPicPr>
        <p:blipFill rotWithShape="1">
          <a:blip r:embed="rId13" cstate="print">
            <a:extLst>
              <a:ext uri="{28A0092B-C50C-407E-A947-70E740481C1C}">
                <a14:useLocalDpi xmlns:a14="http://schemas.microsoft.com/office/drawing/2010/main" val="0"/>
              </a:ext>
            </a:extLst>
          </a:blip>
          <a:srcRect l="-2598" t="-5006" r="-2363" b="-4635"/>
          <a:stretch/>
        </p:blipFill>
        <p:spPr>
          <a:xfrm>
            <a:off x="9696759" y="125758"/>
            <a:ext cx="1657041" cy="648000"/>
          </a:xfrm>
          <a:prstGeom prst="rect">
            <a:avLst/>
          </a:prstGeom>
          <a:solidFill>
            <a:schemeClr val="bg1"/>
          </a:solidFill>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177695357"/>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image" Target="../media/image8.png"/><Relationship Id="rId5" Type="http://schemas.openxmlformats.org/officeDocument/2006/relationships/image" Target="../media/image7.pn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png"/></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5.png"/><Relationship Id="rId7"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10.png"/><Relationship Id="rId5" Type="http://schemas.openxmlformats.org/officeDocument/2006/relationships/image" Target="../media/image9.png"/><Relationship Id="rId10" Type="http://schemas.openxmlformats.org/officeDocument/2006/relationships/image" Target="../media/image13.png"/><Relationship Id="rId4" Type="http://schemas.openxmlformats.org/officeDocument/2006/relationships/image" Target="../media/image8.png"/><Relationship Id="rId9" Type="http://schemas.openxmlformats.org/officeDocument/2006/relationships/image" Target="../media/image12.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20.png"/><Relationship Id="rId7" Type="http://schemas.openxmlformats.org/officeDocument/2006/relationships/diagramColors" Target="../diagrams/colors1.xml"/><Relationship Id="rId2" Type="http://schemas.openxmlformats.org/officeDocument/2006/relationships/image" Target="../media/image19.png"/><Relationship Id="rId1" Type="http://schemas.openxmlformats.org/officeDocument/2006/relationships/slideLayout" Target="../slideLayouts/slideLayout9.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13"/>
        <p:cNvGrpSpPr/>
        <p:nvPr/>
      </p:nvGrpSpPr>
      <p:grpSpPr>
        <a:xfrm>
          <a:off x="0" y="0"/>
          <a:ext cx="0" cy="0"/>
          <a:chOff x="0" y="0"/>
          <a:chExt cx="0" cy="0"/>
        </a:xfrm>
      </p:grpSpPr>
      <p:sp>
        <p:nvSpPr>
          <p:cNvPr id="114" name="Google Shape;114;p1"/>
          <p:cNvSpPr txBox="1">
            <a:spLocks noGrp="1"/>
          </p:cNvSpPr>
          <p:nvPr>
            <p:ph type="body" idx="1"/>
          </p:nvPr>
        </p:nvSpPr>
        <p:spPr>
          <a:xfrm>
            <a:off x="695325" y="2044700"/>
            <a:ext cx="4333875" cy="4084638"/>
          </a:xfrm>
          <a:prstGeom prst="rect">
            <a:avLst/>
          </a:prstGeom>
          <a:noFill/>
          <a:ln>
            <a:noFill/>
          </a:ln>
        </p:spPr>
        <p:txBody>
          <a:bodyPr spcFirstLastPara="1" wrap="square" lIns="0" tIns="0" rIns="0" bIns="0" anchor="b" anchorCtr="0">
            <a:noAutofit/>
          </a:bodyPr>
          <a:lstStyle/>
          <a:p>
            <a:pPr indent="-12700"/>
            <a:r>
              <a:rPr lang="fr-FR" dirty="0"/>
              <a:t>Transformer l’économie française, </a:t>
            </a:r>
            <a:br>
              <a:rPr lang="fr-FR" dirty="0"/>
            </a:br>
            <a:r>
              <a:rPr lang="fr-FR" dirty="0"/>
              <a:t>avec ou sans nucléaire ?</a:t>
            </a:r>
          </a:p>
          <a:p>
            <a:pPr indent="-12700"/>
            <a:endParaRPr lang="fr-FR" dirty="0"/>
          </a:p>
          <a:p>
            <a:pPr marL="0" lvl="1" indent="0" algn="l" rtl="0">
              <a:lnSpc>
                <a:spcPct val="90000"/>
              </a:lnSpc>
              <a:spcBef>
                <a:spcPts val="0"/>
              </a:spcBef>
              <a:spcAft>
                <a:spcPts val="0"/>
              </a:spcAft>
              <a:buClr>
                <a:schemeClr val="accent1"/>
              </a:buClr>
              <a:buSzPts val="1800"/>
              <a:buNone/>
            </a:pPr>
            <a:r>
              <a:rPr lang="fr-FR" dirty="0"/>
              <a:t>Sylvaine </a:t>
            </a:r>
            <a:r>
              <a:rPr lang="fr-FR" dirty="0" err="1"/>
              <a:t>Dhion</a:t>
            </a:r>
            <a:endParaRPr dirty="0"/>
          </a:p>
          <a:p>
            <a:pPr marL="0" lvl="2" indent="0" algn="l" rtl="0">
              <a:lnSpc>
                <a:spcPct val="100000"/>
              </a:lnSpc>
              <a:spcBef>
                <a:spcPts val="600"/>
              </a:spcBef>
              <a:spcAft>
                <a:spcPts val="0"/>
              </a:spcAft>
              <a:buClr>
                <a:schemeClr val="lt1"/>
              </a:buClr>
              <a:buSzPts val="1200"/>
              <a:buNone/>
            </a:pPr>
            <a:endParaRPr dirty="0"/>
          </a:p>
          <a:p>
            <a:pPr marL="0" lvl="2" indent="0" algn="l" rtl="0">
              <a:lnSpc>
                <a:spcPct val="100000"/>
              </a:lnSpc>
              <a:spcBef>
                <a:spcPts val="0"/>
              </a:spcBef>
              <a:spcAft>
                <a:spcPts val="0"/>
              </a:spcAft>
              <a:buClr>
                <a:schemeClr val="lt1"/>
              </a:buClr>
              <a:buSzPts val="1200"/>
              <a:buNone/>
            </a:pPr>
            <a:r>
              <a:rPr lang="fr-FR" dirty="0"/>
              <a:t>Académie du climat - 23 janvier 2023</a:t>
            </a:r>
            <a:endParaRPr dirty="0"/>
          </a:p>
        </p:txBody>
      </p:sp>
      <p:pic>
        <p:nvPicPr>
          <p:cNvPr id="115" name="Google Shape;115;p1"/>
          <p:cNvPicPr preferRelativeResize="0">
            <a:picLocks noGrp="1"/>
          </p:cNvPicPr>
          <p:nvPr>
            <p:ph type="pic" idx="2"/>
          </p:nvPr>
        </p:nvPicPr>
        <p:blipFill rotWithShape="1">
          <a:blip r:embed="rId3">
            <a:alphaModFix/>
          </a:blip>
          <a:srcRect l="16867" r="16866"/>
          <a:stretch/>
        </p:blipFill>
        <p:spPr>
          <a:xfrm>
            <a:off x="5361827" y="0"/>
            <a:ext cx="6816726" cy="6858000"/>
          </a:xfrm>
          <a:prstGeom prst="rect">
            <a:avLst/>
          </a:prstGeom>
          <a:noFill/>
          <a:ln>
            <a:noFill/>
          </a:ln>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idx="12"/>
          </p:nvPr>
        </p:nvSpPr>
        <p:spPr/>
        <p:txBody>
          <a:bodyPr/>
          <a:lstStyle/>
          <a:p>
            <a:pPr marL="0" lvl="0" indent="0" algn="r" rtl="0">
              <a:spcBef>
                <a:spcPts val="0"/>
              </a:spcBef>
              <a:spcAft>
                <a:spcPts val="0"/>
              </a:spcAft>
              <a:buNone/>
            </a:pPr>
            <a:fld id="{00000000-1234-1234-1234-123412341234}" type="slidenum">
              <a:rPr lang="fr-FR" smtClean="0"/>
              <a:t>2</a:t>
            </a:fld>
            <a:endParaRPr lang="fr-FR"/>
          </a:p>
        </p:txBody>
      </p:sp>
      <p:sp>
        <p:nvSpPr>
          <p:cNvPr id="3" name="Titre 2"/>
          <p:cNvSpPr>
            <a:spLocks noGrp="1"/>
          </p:cNvSpPr>
          <p:nvPr>
            <p:ph type="title"/>
          </p:nvPr>
        </p:nvSpPr>
        <p:spPr/>
        <p:txBody>
          <a:bodyPr>
            <a:normAutofit/>
          </a:bodyPr>
          <a:lstStyle/>
          <a:p>
            <a:pPr indent="-12700"/>
            <a:r>
              <a:rPr lang="fr-FR" dirty="0"/>
              <a:t>Transformer l’économie française, avec ou sans nucléaire ?</a:t>
            </a:r>
          </a:p>
        </p:txBody>
      </p:sp>
      <p:sp>
        <p:nvSpPr>
          <p:cNvPr id="4" name="Espace réservé du texte 3"/>
          <p:cNvSpPr>
            <a:spLocks noGrp="1"/>
          </p:cNvSpPr>
          <p:nvPr>
            <p:ph type="body" idx="1"/>
          </p:nvPr>
        </p:nvSpPr>
        <p:spPr>
          <a:xfrm>
            <a:off x="695325" y="1348303"/>
            <a:ext cx="11392597" cy="4952137"/>
          </a:xfrm>
        </p:spPr>
        <p:txBody>
          <a:bodyPr/>
          <a:lstStyle/>
          <a:p>
            <a:endParaRPr lang="fr-FR" dirty="0"/>
          </a:p>
          <a:p>
            <a:pPr marL="228600" indent="0"/>
            <a:r>
              <a:rPr lang="fr-FR" dirty="0"/>
              <a:t>1- Contexte : émissions anthropiques de CO2 depuis 1850 (5 min) </a:t>
            </a:r>
          </a:p>
          <a:p>
            <a:pPr marL="228600" indent="0"/>
            <a:br>
              <a:rPr lang="fr-FR" dirty="0"/>
            </a:br>
            <a:r>
              <a:rPr lang="fr-FR" dirty="0"/>
              <a:t>2- Consommation mondiale d’énergie (5 min)</a:t>
            </a:r>
          </a:p>
          <a:p>
            <a:pPr marL="228600" indent="0"/>
            <a:br>
              <a:rPr lang="fr-FR" dirty="0"/>
            </a:br>
            <a:r>
              <a:rPr lang="fr-FR" dirty="0"/>
              <a:t>3- Panorama du nucléaire civil dans le monde (5 min)</a:t>
            </a:r>
          </a:p>
          <a:p>
            <a:endParaRPr lang="fr-FR" dirty="0"/>
          </a:p>
        </p:txBody>
      </p:sp>
    </p:spTree>
    <p:extLst>
      <p:ext uri="{BB962C8B-B14F-4D97-AF65-F5344CB8AC3E}">
        <p14:creationId xmlns:p14="http://schemas.microsoft.com/office/powerpoint/2010/main" val="19345491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859"/>
        <p:cNvGrpSpPr/>
        <p:nvPr/>
      </p:nvGrpSpPr>
      <p:grpSpPr>
        <a:xfrm>
          <a:off x="0" y="0"/>
          <a:ext cx="0" cy="0"/>
          <a:chOff x="0" y="0"/>
          <a:chExt cx="0" cy="0"/>
        </a:xfrm>
      </p:grpSpPr>
      <p:pic>
        <p:nvPicPr>
          <p:cNvPr id="860" name="Google Shape;860;p28"/>
          <p:cNvPicPr preferRelativeResize="0"/>
          <p:nvPr/>
        </p:nvPicPr>
        <p:blipFill rotWithShape="1">
          <a:blip r:embed="rId3">
            <a:alphaModFix/>
          </a:blip>
          <a:srcRect/>
          <a:stretch/>
        </p:blipFill>
        <p:spPr>
          <a:xfrm>
            <a:off x="850076" y="1222243"/>
            <a:ext cx="8153400" cy="4648200"/>
          </a:xfrm>
          <a:prstGeom prst="rect">
            <a:avLst/>
          </a:prstGeom>
          <a:noFill/>
          <a:ln>
            <a:noFill/>
          </a:ln>
        </p:spPr>
      </p:pic>
      <p:sp>
        <p:nvSpPr>
          <p:cNvPr id="861" name="Google Shape;861;p28"/>
          <p:cNvSpPr txBox="1">
            <a:spLocks noGrp="1"/>
          </p:cNvSpPr>
          <p:nvPr>
            <p:ph type="ftr" idx="11"/>
          </p:nvPr>
        </p:nvSpPr>
        <p:spPr>
          <a:xfrm>
            <a:off x="0" y="6489700"/>
            <a:ext cx="9046369" cy="368300"/>
          </a:xfrm>
          <a:prstGeom prst="rect">
            <a:avLst/>
          </a:prstGeom>
          <a:noFill/>
          <a:ln>
            <a:noFill/>
          </a:ln>
        </p:spPr>
        <p:txBody>
          <a:bodyPr spcFirstLastPara="1" wrap="square" lIns="91425" tIns="45700" rIns="91425" bIns="45700" anchor="ctr" anchorCtr="0">
            <a:noAutofit/>
          </a:bodyPr>
          <a:lstStyle/>
          <a:p>
            <a:pPr indent="-12700"/>
            <a:r>
              <a:rPr lang="fr-FR" dirty="0"/>
              <a:t>Transformer l’économie française, avec ou sans nucléaire ?</a:t>
            </a:r>
          </a:p>
        </p:txBody>
      </p:sp>
      <p:sp>
        <p:nvSpPr>
          <p:cNvPr id="862" name="Google Shape;862;p28"/>
          <p:cNvSpPr txBox="1">
            <a:spLocks noGrp="1"/>
          </p:cNvSpPr>
          <p:nvPr>
            <p:ph type="sldNum" idx="12"/>
          </p:nvPr>
        </p:nvSpPr>
        <p:spPr>
          <a:xfrm>
            <a:off x="9046369" y="6489700"/>
            <a:ext cx="2450306" cy="368300"/>
          </a:xfrm>
          <a:prstGeom prst="rect">
            <a:avLst/>
          </a:prstGeom>
          <a:noFill/>
          <a:ln>
            <a:noFill/>
          </a:ln>
        </p:spPr>
        <p:txBody>
          <a:bodyPr spcFirstLastPara="1" wrap="square" lIns="0" tIns="0" rIns="0" bIns="0" anchor="ctr" anchorCtr="0">
            <a:noAutofit/>
          </a:bodyPr>
          <a:lstStyle/>
          <a:p>
            <a:pPr marL="0" lvl="0" indent="0" algn="r" rtl="0">
              <a:spcBef>
                <a:spcPts val="0"/>
              </a:spcBef>
              <a:spcAft>
                <a:spcPts val="0"/>
              </a:spcAft>
              <a:buNone/>
            </a:pPr>
            <a:fld id="{00000000-1234-1234-1234-123412341234}" type="slidenum">
              <a:rPr lang="fr-FR"/>
              <a:t>3</a:t>
            </a:fld>
            <a:endParaRPr/>
          </a:p>
        </p:txBody>
      </p:sp>
      <p:sp>
        <p:nvSpPr>
          <p:cNvPr id="863" name="Google Shape;863;p28"/>
          <p:cNvSpPr txBox="1">
            <a:spLocks noGrp="1"/>
          </p:cNvSpPr>
          <p:nvPr>
            <p:ph type="body" idx="1"/>
          </p:nvPr>
        </p:nvSpPr>
        <p:spPr>
          <a:xfrm>
            <a:off x="695325" y="406371"/>
            <a:ext cx="9811059" cy="476803"/>
          </a:xfrm>
          <a:prstGeom prst="rect">
            <a:avLst/>
          </a:prstGeom>
          <a:noFill/>
          <a:ln>
            <a:noFill/>
          </a:ln>
        </p:spPr>
        <p:txBody>
          <a:bodyPr spcFirstLastPara="1" wrap="square" lIns="91425" tIns="45700" rIns="91425" bIns="45700" anchor="t" anchorCtr="0">
            <a:noAutofit/>
          </a:bodyPr>
          <a:lstStyle/>
          <a:p>
            <a:pPr marL="0" lvl="0" indent="0">
              <a:spcBef>
                <a:spcPts val="0"/>
              </a:spcBef>
            </a:pPr>
            <a:r>
              <a:rPr lang="fr-FR" dirty="0"/>
              <a:t>1- Contexte : émissions anthropiques de CO2 depuis 1850</a:t>
            </a:r>
            <a:endParaRPr dirty="0"/>
          </a:p>
        </p:txBody>
      </p:sp>
      <p:sp>
        <p:nvSpPr>
          <p:cNvPr id="864" name="Google Shape;864;p28"/>
          <p:cNvSpPr txBox="1"/>
          <p:nvPr/>
        </p:nvSpPr>
        <p:spPr>
          <a:xfrm>
            <a:off x="751440" y="2529396"/>
            <a:ext cx="467846" cy="27699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200">
                <a:solidFill>
                  <a:srgbClr val="0823AA"/>
                </a:solidFill>
                <a:latin typeface="Arial"/>
                <a:ea typeface="Arial"/>
                <a:cs typeface="Arial"/>
                <a:sym typeface="Arial"/>
              </a:rPr>
              <a:t>50</a:t>
            </a:r>
            <a:endParaRPr/>
          </a:p>
        </p:txBody>
      </p:sp>
      <p:sp>
        <p:nvSpPr>
          <p:cNvPr id="865" name="Google Shape;865;p28"/>
          <p:cNvSpPr txBox="1"/>
          <p:nvPr/>
        </p:nvSpPr>
        <p:spPr>
          <a:xfrm>
            <a:off x="734352" y="3093211"/>
            <a:ext cx="467847" cy="27699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200">
                <a:solidFill>
                  <a:srgbClr val="0823AA"/>
                </a:solidFill>
                <a:latin typeface="Arial"/>
                <a:ea typeface="Arial"/>
                <a:cs typeface="Arial"/>
                <a:sym typeface="Arial"/>
              </a:rPr>
              <a:t>40</a:t>
            </a:r>
            <a:endParaRPr/>
          </a:p>
        </p:txBody>
      </p:sp>
      <p:sp>
        <p:nvSpPr>
          <p:cNvPr id="866" name="Google Shape;866;p28"/>
          <p:cNvSpPr txBox="1"/>
          <p:nvPr/>
        </p:nvSpPr>
        <p:spPr>
          <a:xfrm>
            <a:off x="751440" y="3661182"/>
            <a:ext cx="467846" cy="27699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200">
                <a:solidFill>
                  <a:srgbClr val="0823AA"/>
                </a:solidFill>
                <a:latin typeface="Arial"/>
                <a:ea typeface="Arial"/>
                <a:cs typeface="Arial"/>
                <a:sym typeface="Arial"/>
              </a:rPr>
              <a:t>30</a:t>
            </a:r>
            <a:endParaRPr/>
          </a:p>
        </p:txBody>
      </p:sp>
      <p:sp>
        <p:nvSpPr>
          <p:cNvPr id="867" name="Google Shape;867;p28"/>
          <p:cNvSpPr txBox="1"/>
          <p:nvPr/>
        </p:nvSpPr>
        <p:spPr>
          <a:xfrm>
            <a:off x="734353" y="4238876"/>
            <a:ext cx="467846" cy="27699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200">
                <a:solidFill>
                  <a:srgbClr val="0823AA"/>
                </a:solidFill>
                <a:latin typeface="Arial"/>
                <a:ea typeface="Arial"/>
                <a:cs typeface="Arial"/>
                <a:sym typeface="Arial"/>
              </a:rPr>
              <a:t>20</a:t>
            </a:r>
            <a:endParaRPr/>
          </a:p>
        </p:txBody>
      </p:sp>
      <p:sp>
        <p:nvSpPr>
          <p:cNvPr id="868" name="Google Shape;868;p28"/>
          <p:cNvSpPr txBox="1"/>
          <p:nvPr/>
        </p:nvSpPr>
        <p:spPr>
          <a:xfrm>
            <a:off x="751440" y="1954062"/>
            <a:ext cx="467847" cy="27699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200">
                <a:solidFill>
                  <a:srgbClr val="0823AA"/>
                </a:solidFill>
                <a:latin typeface="Arial"/>
                <a:ea typeface="Arial"/>
                <a:cs typeface="Arial"/>
                <a:sym typeface="Arial"/>
              </a:rPr>
              <a:t>60</a:t>
            </a:r>
            <a:endParaRPr/>
          </a:p>
        </p:txBody>
      </p:sp>
      <p:sp>
        <p:nvSpPr>
          <p:cNvPr id="869" name="Google Shape;869;p28"/>
          <p:cNvSpPr txBox="1"/>
          <p:nvPr/>
        </p:nvSpPr>
        <p:spPr>
          <a:xfrm>
            <a:off x="751440" y="1387904"/>
            <a:ext cx="467846" cy="27699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200">
                <a:solidFill>
                  <a:srgbClr val="0823AA"/>
                </a:solidFill>
                <a:latin typeface="Arial"/>
                <a:ea typeface="Arial"/>
                <a:cs typeface="Arial"/>
                <a:sym typeface="Arial"/>
              </a:rPr>
              <a:t>70</a:t>
            </a:r>
            <a:endParaRPr/>
          </a:p>
        </p:txBody>
      </p:sp>
      <p:sp>
        <p:nvSpPr>
          <p:cNvPr id="870" name="Google Shape;870;p28"/>
          <p:cNvSpPr txBox="1"/>
          <p:nvPr/>
        </p:nvSpPr>
        <p:spPr>
          <a:xfrm rot="-5400000">
            <a:off x="1084601" y="5823049"/>
            <a:ext cx="523413" cy="276999"/>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fr-FR" sz="1200">
                <a:solidFill>
                  <a:srgbClr val="0823AA"/>
                </a:solidFill>
                <a:latin typeface="Arial"/>
                <a:ea typeface="Arial"/>
                <a:cs typeface="Arial"/>
                <a:sym typeface="Arial"/>
              </a:rPr>
              <a:t>1850</a:t>
            </a:r>
            <a:endParaRPr/>
          </a:p>
        </p:txBody>
      </p:sp>
      <p:sp>
        <p:nvSpPr>
          <p:cNvPr id="871" name="Google Shape;871;p28"/>
          <p:cNvSpPr txBox="1"/>
          <p:nvPr/>
        </p:nvSpPr>
        <p:spPr>
          <a:xfrm rot="-5400000">
            <a:off x="1817741" y="5823048"/>
            <a:ext cx="523411" cy="276999"/>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fr-FR" sz="1200">
                <a:solidFill>
                  <a:srgbClr val="0823AA"/>
                </a:solidFill>
                <a:latin typeface="Arial"/>
                <a:ea typeface="Arial"/>
                <a:cs typeface="Arial"/>
                <a:sym typeface="Arial"/>
              </a:rPr>
              <a:t>1875</a:t>
            </a:r>
            <a:endParaRPr/>
          </a:p>
        </p:txBody>
      </p:sp>
      <p:sp>
        <p:nvSpPr>
          <p:cNvPr id="872" name="Google Shape;872;p28"/>
          <p:cNvSpPr txBox="1"/>
          <p:nvPr/>
        </p:nvSpPr>
        <p:spPr>
          <a:xfrm rot="-5400000">
            <a:off x="2577644" y="5823048"/>
            <a:ext cx="523410" cy="276999"/>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fr-FR" sz="1200">
                <a:solidFill>
                  <a:srgbClr val="0823AA"/>
                </a:solidFill>
                <a:latin typeface="Arial"/>
                <a:ea typeface="Arial"/>
                <a:cs typeface="Arial"/>
                <a:sym typeface="Arial"/>
              </a:rPr>
              <a:t>1900</a:t>
            </a:r>
            <a:endParaRPr/>
          </a:p>
        </p:txBody>
      </p:sp>
      <p:sp>
        <p:nvSpPr>
          <p:cNvPr id="873" name="Google Shape;873;p28"/>
          <p:cNvSpPr txBox="1"/>
          <p:nvPr/>
        </p:nvSpPr>
        <p:spPr>
          <a:xfrm rot="-5400000">
            <a:off x="3315411" y="5823048"/>
            <a:ext cx="523410" cy="276999"/>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fr-FR" sz="1200">
                <a:solidFill>
                  <a:srgbClr val="0823AA"/>
                </a:solidFill>
                <a:latin typeface="Arial"/>
                <a:ea typeface="Arial"/>
                <a:cs typeface="Arial"/>
                <a:sym typeface="Arial"/>
              </a:rPr>
              <a:t>1925</a:t>
            </a:r>
            <a:endParaRPr/>
          </a:p>
        </p:txBody>
      </p:sp>
      <p:sp>
        <p:nvSpPr>
          <p:cNvPr id="874" name="Google Shape;874;p28"/>
          <p:cNvSpPr txBox="1"/>
          <p:nvPr/>
        </p:nvSpPr>
        <p:spPr>
          <a:xfrm rot="-5400000">
            <a:off x="4054517" y="5823048"/>
            <a:ext cx="523410" cy="276999"/>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fr-FR" sz="1200">
                <a:solidFill>
                  <a:srgbClr val="0823AA"/>
                </a:solidFill>
                <a:latin typeface="Arial"/>
                <a:ea typeface="Arial"/>
                <a:cs typeface="Arial"/>
                <a:sym typeface="Arial"/>
              </a:rPr>
              <a:t>1950</a:t>
            </a:r>
            <a:endParaRPr/>
          </a:p>
        </p:txBody>
      </p:sp>
      <p:sp>
        <p:nvSpPr>
          <p:cNvPr id="875" name="Google Shape;875;p28"/>
          <p:cNvSpPr txBox="1"/>
          <p:nvPr/>
        </p:nvSpPr>
        <p:spPr>
          <a:xfrm rot="-5400000">
            <a:off x="4794822" y="5821849"/>
            <a:ext cx="521011" cy="276999"/>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fr-FR" sz="1200">
                <a:solidFill>
                  <a:srgbClr val="0823AA"/>
                </a:solidFill>
                <a:latin typeface="Arial"/>
                <a:ea typeface="Arial"/>
                <a:cs typeface="Arial"/>
                <a:sym typeface="Arial"/>
              </a:rPr>
              <a:t>1975</a:t>
            </a:r>
            <a:endParaRPr/>
          </a:p>
        </p:txBody>
      </p:sp>
      <p:sp>
        <p:nvSpPr>
          <p:cNvPr id="876" name="Google Shape;876;p28"/>
          <p:cNvSpPr txBox="1"/>
          <p:nvPr/>
        </p:nvSpPr>
        <p:spPr>
          <a:xfrm rot="-5400000">
            <a:off x="5537845" y="5823050"/>
            <a:ext cx="523414" cy="276999"/>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fr-FR" sz="1200">
                <a:solidFill>
                  <a:srgbClr val="0823AA"/>
                </a:solidFill>
                <a:latin typeface="Arial"/>
                <a:ea typeface="Arial"/>
                <a:cs typeface="Arial"/>
                <a:sym typeface="Arial"/>
              </a:rPr>
              <a:t>2000</a:t>
            </a:r>
            <a:endParaRPr/>
          </a:p>
        </p:txBody>
      </p:sp>
      <p:sp>
        <p:nvSpPr>
          <p:cNvPr id="877" name="Google Shape;877;p28"/>
          <p:cNvSpPr txBox="1"/>
          <p:nvPr/>
        </p:nvSpPr>
        <p:spPr>
          <a:xfrm rot="-5400000">
            <a:off x="6286683" y="5823510"/>
            <a:ext cx="524334" cy="276999"/>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fr-FR" sz="1200">
                <a:solidFill>
                  <a:srgbClr val="0823AA"/>
                </a:solidFill>
                <a:latin typeface="Arial"/>
                <a:ea typeface="Arial"/>
                <a:cs typeface="Arial"/>
                <a:sym typeface="Arial"/>
              </a:rPr>
              <a:t>2025</a:t>
            </a:r>
            <a:endParaRPr/>
          </a:p>
        </p:txBody>
      </p:sp>
      <p:sp>
        <p:nvSpPr>
          <p:cNvPr id="878" name="Google Shape;878;p28"/>
          <p:cNvSpPr txBox="1"/>
          <p:nvPr/>
        </p:nvSpPr>
        <p:spPr>
          <a:xfrm rot="-5400000">
            <a:off x="7031732" y="5824526"/>
            <a:ext cx="526365" cy="276999"/>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fr-FR" sz="1200">
                <a:solidFill>
                  <a:srgbClr val="0823AA"/>
                </a:solidFill>
                <a:latin typeface="Arial"/>
                <a:ea typeface="Arial"/>
                <a:cs typeface="Arial"/>
                <a:sym typeface="Arial"/>
              </a:rPr>
              <a:t>2050</a:t>
            </a:r>
            <a:endParaRPr/>
          </a:p>
        </p:txBody>
      </p:sp>
      <p:sp>
        <p:nvSpPr>
          <p:cNvPr id="879" name="Google Shape;879;p28"/>
          <p:cNvSpPr txBox="1"/>
          <p:nvPr/>
        </p:nvSpPr>
        <p:spPr>
          <a:xfrm rot="-5400000">
            <a:off x="7775065" y="5826552"/>
            <a:ext cx="530418" cy="276999"/>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fr-FR" sz="1200">
                <a:solidFill>
                  <a:srgbClr val="0823AA"/>
                </a:solidFill>
                <a:latin typeface="Arial"/>
                <a:ea typeface="Arial"/>
                <a:cs typeface="Arial"/>
                <a:sym typeface="Arial"/>
              </a:rPr>
              <a:t>2075</a:t>
            </a:r>
            <a:endParaRPr/>
          </a:p>
        </p:txBody>
      </p:sp>
      <p:sp>
        <p:nvSpPr>
          <p:cNvPr id="880" name="Google Shape;880;p28"/>
          <p:cNvSpPr txBox="1"/>
          <p:nvPr/>
        </p:nvSpPr>
        <p:spPr>
          <a:xfrm rot="-5400000">
            <a:off x="8523927" y="5823050"/>
            <a:ext cx="523414" cy="276999"/>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fr-FR" sz="1200">
                <a:solidFill>
                  <a:srgbClr val="0823AA"/>
                </a:solidFill>
                <a:latin typeface="Arial"/>
                <a:ea typeface="Arial"/>
                <a:cs typeface="Arial"/>
                <a:sym typeface="Arial"/>
              </a:rPr>
              <a:t>2100</a:t>
            </a:r>
            <a:endParaRPr/>
          </a:p>
        </p:txBody>
      </p:sp>
      <p:sp>
        <p:nvSpPr>
          <p:cNvPr id="881" name="Google Shape;881;p28"/>
          <p:cNvSpPr txBox="1"/>
          <p:nvPr/>
        </p:nvSpPr>
        <p:spPr>
          <a:xfrm>
            <a:off x="760487" y="975422"/>
            <a:ext cx="7834424" cy="415498"/>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200">
                <a:solidFill>
                  <a:srgbClr val="0823AA"/>
                </a:solidFill>
                <a:latin typeface="Arial"/>
                <a:ea typeface="Arial"/>
                <a:cs typeface="Arial"/>
                <a:sym typeface="Arial"/>
              </a:rPr>
              <a:t>Émissions anthropiques* de CO</a:t>
            </a:r>
            <a:r>
              <a:rPr lang="fr-FR" sz="1200" baseline="-25000">
                <a:solidFill>
                  <a:srgbClr val="0823AA"/>
                </a:solidFill>
                <a:latin typeface="Arial"/>
                <a:ea typeface="Arial"/>
                <a:cs typeface="Arial"/>
                <a:sym typeface="Arial"/>
              </a:rPr>
              <a:t>2</a:t>
            </a:r>
            <a:r>
              <a:rPr lang="fr-FR" sz="1200">
                <a:solidFill>
                  <a:srgbClr val="0823AA"/>
                </a:solidFill>
                <a:latin typeface="Arial"/>
                <a:ea typeface="Arial"/>
                <a:cs typeface="Arial"/>
                <a:sym typeface="Arial"/>
              </a:rPr>
              <a:t> (Gt CO</a:t>
            </a:r>
            <a:r>
              <a:rPr lang="fr-FR" sz="1200" baseline="-25000">
                <a:solidFill>
                  <a:srgbClr val="0823AA"/>
                </a:solidFill>
                <a:latin typeface="Arial"/>
                <a:ea typeface="Arial"/>
                <a:cs typeface="Arial"/>
                <a:sym typeface="Arial"/>
              </a:rPr>
              <a:t>2</a:t>
            </a:r>
            <a:r>
              <a:rPr lang="fr-FR" sz="1200">
                <a:solidFill>
                  <a:srgbClr val="0823AA"/>
                </a:solidFill>
                <a:latin typeface="Arial"/>
                <a:ea typeface="Arial"/>
                <a:cs typeface="Arial"/>
                <a:sym typeface="Arial"/>
              </a:rPr>
              <a:t>/an)</a:t>
            </a:r>
            <a:endParaRPr sz="900">
              <a:solidFill>
                <a:schemeClr val="lt2"/>
              </a:solidFill>
              <a:latin typeface="Arial"/>
              <a:ea typeface="Arial"/>
              <a:cs typeface="Arial"/>
              <a:sym typeface="Arial"/>
            </a:endParaRPr>
          </a:p>
          <a:p>
            <a:pPr marL="0" marR="0" lvl="0" indent="0" algn="l" rtl="0">
              <a:spcBef>
                <a:spcPts val="0"/>
              </a:spcBef>
              <a:spcAft>
                <a:spcPts val="0"/>
              </a:spcAft>
              <a:buNone/>
            </a:pPr>
            <a:r>
              <a:rPr lang="fr-FR" sz="900">
                <a:solidFill>
                  <a:schemeClr val="lt2"/>
                </a:solidFill>
                <a:latin typeface="Arial"/>
                <a:ea typeface="Arial"/>
                <a:cs typeface="Arial"/>
                <a:sym typeface="Arial"/>
              </a:rPr>
              <a:t>* combustion d’énergies fossiles, procédés industriels, usage des sols et forêts.</a:t>
            </a:r>
            <a:endParaRPr/>
          </a:p>
        </p:txBody>
      </p:sp>
      <p:sp>
        <p:nvSpPr>
          <p:cNvPr id="882" name="Google Shape;882;p28"/>
          <p:cNvSpPr txBox="1"/>
          <p:nvPr/>
        </p:nvSpPr>
        <p:spPr>
          <a:xfrm>
            <a:off x="9002524" y="5519317"/>
            <a:ext cx="1503860" cy="3693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900">
                <a:solidFill>
                  <a:srgbClr val="7F7F7F"/>
                </a:solidFill>
                <a:latin typeface="Arial"/>
                <a:ea typeface="Arial"/>
                <a:cs typeface="Arial"/>
                <a:sym typeface="Arial"/>
              </a:rPr>
              <a:t>Source : Global Carbon Project</a:t>
            </a:r>
            <a:endParaRPr/>
          </a:p>
        </p:txBody>
      </p:sp>
      <p:sp>
        <p:nvSpPr>
          <p:cNvPr id="883" name="Google Shape;883;p28"/>
          <p:cNvSpPr txBox="1"/>
          <p:nvPr/>
        </p:nvSpPr>
        <p:spPr>
          <a:xfrm>
            <a:off x="734353" y="4819136"/>
            <a:ext cx="467846" cy="27699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200">
                <a:solidFill>
                  <a:srgbClr val="0823AA"/>
                </a:solidFill>
                <a:latin typeface="Arial"/>
                <a:ea typeface="Arial"/>
                <a:cs typeface="Arial"/>
                <a:sym typeface="Arial"/>
              </a:rPr>
              <a:t>10</a:t>
            </a:r>
            <a:endParaRPr/>
          </a:p>
        </p:txBody>
      </p:sp>
      <p:grpSp>
        <p:nvGrpSpPr>
          <p:cNvPr id="884" name="Google Shape;884;p28"/>
          <p:cNvGrpSpPr/>
          <p:nvPr/>
        </p:nvGrpSpPr>
        <p:grpSpPr>
          <a:xfrm>
            <a:off x="9093065" y="1339699"/>
            <a:ext cx="1483186" cy="2211574"/>
            <a:chOff x="9093065" y="1339699"/>
            <a:chExt cx="1483186" cy="2211574"/>
          </a:xfrm>
        </p:grpSpPr>
        <p:sp>
          <p:nvSpPr>
            <p:cNvPr id="885" name="Google Shape;885;p28"/>
            <p:cNvSpPr/>
            <p:nvPr/>
          </p:nvSpPr>
          <p:spPr>
            <a:xfrm>
              <a:off x="9433367" y="1339699"/>
              <a:ext cx="796590" cy="1620000"/>
            </a:xfrm>
            <a:prstGeom prst="rect">
              <a:avLst/>
            </a:prstGeom>
            <a:solidFill>
              <a:srgbClr val="4BD2AF"/>
            </a:solid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chemeClr val="lt1"/>
                </a:buClr>
                <a:buSzPts val="1800"/>
                <a:buFont typeface="Arial"/>
                <a:buNone/>
              </a:pPr>
              <a:endParaRPr sz="1800" u="none" strike="noStrike" cap="none">
                <a:solidFill>
                  <a:srgbClr val="FFFFFF"/>
                </a:solidFill>
                <a:latin typeface="Calibri"/>
                <a:ea typeface="Calibri"/>
                <a:cs typeface="Calibri"/>
                <a:sym typeface="Calibri"/>
              </a:endParaRPr>
            </a:p>
          </p:txBody>
        </p:sp>
        <p:sp>
          <p:nvSpPr>
            <p:cNvPr id="886" name="Google Shape;886;p28"/>
            <p:cNvSpPr txBox="1"/>
            <p:nvPr/>
          </p:nvSpPr>
          <p:spPr>
            <a:xfrm>
              <a:off x="9531579" y="1907895"/>
              <a:ext cx="587836" cy="646331"/>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FFFFFF"/>
                </a:buClr>
                <a:buSzPts val="1400"/>
                <a:buFont typeface="Arial"/>
                <a:buNone/>
              </a:pPr>
              <a:r>
                <a:rPr lang="fr-FR" sz="1400" b="1" u="none" strike="noStrike" cap="none">
                  <a:solidFill>
                    <a:srgbClr val="FFFFFF"/>
                  </a:solidFill>
                  <a:latin typeface="Arial"/>
                  <a:ea typeface="Arial"/>
                  <a:cs typeface="Arial"/>
                  <a:sym typeface="Arial"/>
                </a:rPr>
                <a:t>env.</a:t>
              </a:r>
              <a:endParaRPr/>
            </a:p>
            <a:p>
              <a:pPr marL="0" marR="0" lvl="0" indent="0" algn="ctr" rtl="0">
                <a:lnSpc>
                  <a:spcPct val="100000"/>
                </a:lnSpc>
                <a:spcBef>
                  <a:spcPts val="0"/>
                </a:spcBef>
                <a:spcAft>
                  <a:spcPts val="0"/>
                </a:spcAft>
                <a:buClr>
                  <a:srgbClr val="FFFFFF"/>
                </a:buClr>
                <a:buSzPts val="1400"/>
                <a:buFont typeface="Arial"/>
                <a:buNone/>
              </a:pPr>
              <a:r>
                <a:rPr lang="fr-FR" sz="1400" b="1" u="none" strike="noStrike" cap="none">
                  <a:solidFill>
                    <a:srgbClr val="FFFFFF"/>
                  </a:solidFill>
                  <a:latin typeface="Arial"/>
                  <a:ea typeface="Arial"/>
                  <a:cs typeface="Arial"/>
                  <a:sym typeface="Arial"/>
                </a:rPr>
                <a:t>2 400</a:t>
              </a:r>
              <a:endParaRPr/>
            </a:p>
            <a:p>
              <a:pPr marL="0" marR="0" lvl="0" indent="0" algn="ctr" rtl="0">
                <a:lnSpc>
                  <a:spcPct val="100000"/>
                </a:lnSpc>
                <a:spcBef>
                  <a:spcPts val="0"/>
                </a:spcBef>
                <a:spcAft>
                  <a:spcPts val="0"/>
                </a:spcAft>
                <a:buClr>
                  <a:srgbClr val="FFFFFF"/>
                </a:buClr>
                <a:buSzPts val="1400"/>
                <a:buFont typeface="Arial"/>
                <a:buNone/>
              </a:pPr>
              <a:r>
                <a:rPr lang="fr-FR" sz="1400" b="1" u="none" strike="noStrike" cap="none">
                  <a:solidFill>
                    <a:srgbClr val="FFFFFF"/>
                  </a:solidFill>
                  <a:latin typeface="Arial"/>
                  <a:ea typeface="Arial"/>
                  <a:cs typeface="Arial"/>
                  <a:sym typeface="Arial"/>
                </a:rPr>
                <a:t>Gt CO</a:t>
              </a:r>
              <a:r>
                <a:rPr lang="fr-FR" sz="1400" b="1" u="none" strike="noStrike" cap="none" baseline="-25000">
                  <a:solidFill>
                    <a:srgbClr val="FFFFFF"/>
                  </a:solidFill>
                  <a:latin typeface="Arial"/>
                  <a:ea typeface="Arial"/>
                  <a:cs typeface="Arial"/>
                  <a:sym typeface="Arial"/>
                </a:rPr>
                <a:t>2</a:t>
              </a:r>
              <a:endParaRPr sz="1400" b="1" u="none" strike="noStrike" cap="none">
                <a:solidFill>
                  <a:srgbClr val="FFFFFF"/>
                </a:solidFill>
                <a:latin typeface="Arial"/>
                <a:ea typeface="Arial"/>
                <a:cs typeface="Arial"/>
                <a:sym typeface="Arial"/>
              </a:endParaRPr>
            </a:p>
          </p:txBody>
        </p:sp>
        <p:cxnSp>
          <p:nvCxnSpPr>
            <p:cNvPr id="887" name="Google Shape;887;p28"/>
            <p:cNvCxnSpPr/>
            <p:nvPr/>
          </p:nvCxnSpPr>
          <p:spPr>
            <a:xfrm>
              <a:off x="9273706" y="2964417"/>
              <a:ext cx="1103582" cy="0"/>
            </a:xfrm>
            <a:prstGeom prst="straightConnector1">
              <a:avLst/>
            </a:prstGeom>
            <a:noFill/>
            <a:ln w="19050" cap="flat" cmpd="sng">
              <a:solidFill>
                <a:schemeClr val="lt2"/>
              </a:solidFill>
              <a:prstDash val="solid"/>
              <a:miter lim="800000"/>
              <a:headEnd type="none" w="sm" len="sm"/>
              <a:tailEnd type="none" w="sm" len="sm"/>
            </a:ln>
          </p:spPr>
        </p:cxnSp>
        <p:sp>
          <p:nvSpPr>
            <p:cNvPr id="888" name="Google Shape;888;p28"/>
            <p:cNvSpPr txBox="1"/>
            <p:nvPr/>
          </p:nvSpPr>
          <p:spPr>
            <a:xfrm>
              <a:off x="9093065" y="2966498"/>
              <a:ext cx="1483186" cy="584775"/>
            </a:xfrm>
            <a:prstGeom prst="rect">
              <a:avLst/>
            </a:prstGeom>
            <a:noFill/>
            <a:ln>
              <a:noFill/>
            </a:ln>
          </p:spPr>
          <p:txBody>
            <a:bodyPr spcFirstLastPara="1" wrap="square" lIns="91425" tIns="45700" rIns="91425" bIns="45700" anchor="ctr" anchorCtr="0">
              <a:spAutoFit/>
            </a:bodyPr>
            <a:lstStyle/>
            <a:p>
              <a:pPr marL="0" marR="0" lvl="0" indent="0" algn="ctr" rtl="0">
                <a:lnSpc>
                  <a:spcPct val="100000"/>
                </a:lnSpc>
                <a:spcBef>
                  <a:spcPts val="0"/>
                </a:spcBef>
                <a:spcAft>
                  <a:spcPts val="0"/>
                </a:spcAft>
                <a:buClr>
                  <a:schemeClr val="accent1"/>
                </a:buClr>
                <a:buSzPts val="1600"/>
                <a:buFont typeface="Arial"/>
                <a:buNone/>
              </a:pPr>
              <a:r>
                <a:rPr lang="fr-FR" sz="1600" u="none" strike="noStrike" cap="none">
                  <a:solidFill>
                    <a:schemeClr val="accent1"/>
                  </a:solidFill>
                  <a:latin typeface="Arial"/>
                  <a:ea typeface="Arial"/>
                  <a:cs typeface="Arial"/>
                  <a:sym typeface="Arial"/>
                </a:rPr>
                <a:t>déjà émis depuis 1850</a:t>
              </a:r>
              <a:endParaRPr/>
            </a:p>
          </p:txBody>
        </p:sp>
      </p:grpSp>
      <p:sp>
        <p:nvSpPr>
          <p:cNvPr id="889" name="Google Shape;889;p28"/>
          <p:cNvSpPr txBox="1"/>
          <p:nvPr/>
        </p:nvSpPr>
        <p:spPr>
          <a:xfrm>
            <a:off x="826266" y="5387167"/>
            <a:ext cx="374570" cy="27699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200">
                <a:solidFill>
                  <a:srgbClr val="0823AA"/>
                </a:solidFill>
                <a:latin typeface="Arial"/>
                <a:ea typeface="Arial"/>
                <a:cs typeface="Arial"/>
                <a:sym typeface="Arial"/>
              </a:rPr>
              <a:t>0</a:t>
            </a:r>
            <a:endParaRPr/>
          </a:p>
        </p:txBody>
      </p:sp>
      <p:sp>
        <p:nvSpPr>
          <p:cNvPr id="890" name="Google Shape;890;p28"/>
          <p:cNvSpPr txBox="1"/>
          <p:nvPr/>
        </p:nvSpPr>
        <p:spPr>
          <a:xfrm>
            <a:off x="6718041" y="-429208"/>
            <a:ext cx="184731" cy="3693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pic>
        <p:nvPicPr>
          <p:cNvPr id="891" name="Google Shape;891;p28"/>
          <p:cNvPicPr preferRelativeResize="0"/>
          <p:nvPr/>
        </p:nvPicPr>
        <p:blipFill rotWithShape="1">
          <a:blip r:embed="rId4">
            <a:alphaModFix/>
          </a:blip>
          <a:srcRect/>
          <a:stretch/>
        </p:blipFill>
        <p:spPr>
          <a:xfrm>
            <a:off x="849600" y="1220400"/>
            <a:ext cx="8153400" cy="4648200"/>
          </a:xfrm>
          <a:prstGeom prst="rect">
            <a:avLst/>
          </a:prstGeom>
          <a:noFill/>
          <a:ln>
            <a:noFill/>
          </a:ln>
        </p:spPr>
      </p:pic>
      <p:sp>
        <p:nvSpPr>
          <p:cNvPr id="892" name="Google Shape;892;p28"/>
          <p:cNvSpPr/>
          <p:nvPr/>
        </p:nvSpPr>
        <p:spPr>
          <a:xfrm>
            <a:off x="9433367" y="2149697"/>
            <a:ext cx="796590" cy="810001"/>
          </a:xfrm>
          <a:prstGeom prst="rect">
            <a:avLst/>
          </a:prstGeom>
          <a:solidFill>
            <a:srgbClr val="B6EDDF"/>
          </a:solid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chemeClr val="lt1"/>
              </a:buClr>
              <a:buSzPts val="1800"/>
              <a:buFont typeface="Arial"/>
              <a:buNone/>
            </a:pPr>
            <a:endParaRPr sz="1800" u="none" strike="noStrike" cap="none">
              <a:solidFill>
                <a:srgbClr val="FFFFFF"/>
              </a:solidFill>
              <a:latin typeface="Calibri"/>
              <a:ea typeface="Calibri"/>
              <a:cs typeface="Calibri"/>
              <a:sym typeface="Calibri"/>
            </a:endParaRPr>
          </a:p>
        </p:txBody>
      </p:sp>
      <p:sp>
        <p:nvSpPr>
          <p:cNvPr id="893" name="Google Shape;893;p28"/>
          <p:cNvSpPr txBox="1"/>
          <p:nvPr/>
        </p:nvSpPr>
        <p:spPr>
          <a:xfrm>
            <a:off x="9541916" y="2342573"/>
            <a:ext cx="587836" cy="430887"/>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FFFFFF"/>
              </a:buClr>
              <a:buSzPts val="1400"/>
              <a:buFont typeface="Arial"/>
              <a:buNone/>
            </a:pPr>
            <a:r>
              <a:rPr lang="fr-FR" sz="1400" b="1">
                <a:solidFill>
                  <a:srgbClr val="FFFFFF"/>
                </a:solidFill>
                <a:latin typeface="Arial"/>
                <a:ea typeface="Arial"/>
                <a:cs typeface="Arial"/>
                <a:sym typeface="Arial"/>
              </a:rPr>
              <a:t>1 2</a:t>
            </a:r>
            <a:r>
              <a:rPr lang="fr-FR" sz="1400" b="1" u="none" strike="noStrike" cap="none">
                <a:solidFill>
                  <a:srgbClr val="FFFFFF"/>
                </a:solidFill>
                <a:latin typeface="Arial"/>
                <a:ea typeface="Arial"/>
                <a:cs typeface="Arial"/>
                <a:sym typeface="Arial"/>
              </a:rPr>
              <a:t>00</a:t>
            </a:r>
            <a:endParaRPr/>
          </a:p>
          <a:p>
            <a:pPr marL="0" marR="0" lvl="0" indent="0" algn="ctr" rtl="0">
              <a:lnSpc>
                <a:spcPct val="100000"/>
              </a:lnSpc>
              <a:spcBef>
                <a:spcPts val="0"/>
              </a:spcBef>
              <a:spcAft>
                <a:spcPts val="0"/>
              </a:spcAft>
              <a:buClr>
                <a:srgbClr val="FFFFFF"/>
              </a:buClr>
              <a:buSzPts val="1400"/>
              <a:buFont typeface="Arial"/>
              <a:buNone/>
            </a:pPr>
            <a:r>
              <a:rPr lang="fr-FR" sz="1400" b="1" u="none" strike="noStrike" cap="none">
                <a:solidFill>
                  <a:srgbClr val="FFFFFF"/>
                </a:solidFill>
                <a:latin typeface="Arial"/>
                <a:ea typeface="Arial"/>
                <a:cs typeface="Arial"/>
                <a:sym typeface="Arial"/>
              </a:rPr>
              <a:t>Gt CO</a:t>
            </a:r>
            <a:r>
              <a:rPr lang="fr-FR" sz="1400" b="1" u="none" strike="noStrike" cap="none" baseline="-25000">
                <a:solidFill>
                  <a:srgbClr val="FFFFFF"/>
                </a:solidFill>
                <a:latin typeface="Arial"/>
                <a:ea typeface="Arial"/>
                <a:cs typeface="Arial"/>
                <a:sym typeface="Arial"/>
              </a:rPr>
              <a:t>2</a:t>
            </a:r>
            <a:endParaRPr sz="1400" b="1" u="none" strike="noStrike" cap="none">
              <a:solidFill>
                <a:srgbClr val="FFFFFF"/>
              </a:solidFill>
              <a:latin typeface="Arial"/>
              <a:ea typeface="Arial"/>
              <a:cs typeface="Arial"/>
              <a:sym typeface="Arial"/>
            </a:endParaRPr>
          </a:p>
        </p:txBody>
      </p:sp>
      <p:pic>
        <p:nvPicPr>
          <p:cNvPr id="894" name="Google Shape;894;p28"/>
          <p:cNvPicPr preferRelativeResize="0"/>
          <p:nvPr/>
        </p:nvPicPr>
        <p:blipFill rotWithShape="1">
          <a:blip r:embed="rId5">
            <a:alphaModFix/>
          </a:blip>
          <a:srcRect/>
          <a:stretch/>
        </p:blipFill>
        <p:spPr>
          <a:xfrm>
            <a:off x="849124" y="1222243"/>
            <a:ext cx="8153400" cy="4648200"/>
          </a:xfrm>
          <a:prstGeom prst="rect">
            <a:avLst/>
          </a:prstGeom>
          <a:noFill/>
          <a:ln>
            <a:noFill/>
          </a:ln>
        </p:spPr>
      </p:pic>
      <p:sp>
        <p:nvSpPr>
          <p:cNvPr id="895" name="Google Shape;895;p28"/>
          <p:cNvSpPr/>
          <p:nvPr/>
        </p:nvSpPr>
        <p:spPr>
          <a:xfrm>
            <a:off x="9433367" y="1339699"/>
            <a:ext cx="796590" cy="810000"/>
          </a:xfrm>
          <a:prstGeom prst="rect">
            <a:avLst/>
          </a:prstGeom>
          <a:solidFill>
            <a:srgbClr val="1E725C"/>
          </a:solid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chemeClr val="lt1"/>
              </a:buClr>
              <a:buSzPts val="1800"/>
              <a:buFont typeface="Arial"/>
              <a:buNone/>
            </a:pPr>
            <a:endParaRPr sz="1800" u="none" strike="noStrike" cap="none">
              <a:solidFill>
                <a:srgbClr val="FFFFFF"/>
              </a:solidFill>
              <a:latin typeface="Calibri"/>
              <a:ea typeface="Calibri"/>
              <a:cs typeface="Calibri"/>
              <a:sym typeface="Calibri"/>
            </a:endParaRPr>
          </a:p>
        </p:txBody>
      </p:sp>
      <p:sp>
        <p:nvSpPr>
          <p:cNvPr id="896" name="Google Shape;896;p28"/>
          <p:cNvSpPr txBox="1"/>
          <p:nvPr/>
        </p:nvSpPr>
        <p:spPr>
          <a:xfrm>
            <a:off x="9541916" y="1538362"/>
            <a:ext cx="587836" cy="430887"/>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FFFFFF"/>
              </a:buClr>
              <a:buSzPts val="1400"/>
              <a:buFont typeface="Arial"/>
              <a:buNone/>
            </a:pPr>
            <a:r>
              <a:rPr lang="fr-FR" sz="1400" b="1">
                <a:solidFill>
                  <a:srgbClr val="FFFFFF"/>
                </a:solidFill>
                <a:latin typeface="Arial"/>
                <a:ea typeface="Arial"/>
                <a:cs typeface="Arial"/>
                <a:sym typeface="Arial"/>
              </a:rPr>
              <a:t>1 2</a:t>
            </a:r>
            <a:r>
              <a:rPr lang="fr-FR" sz="1400" b="1" u="none" strike="noStrike" cap="none">
                <a:solidFill>
                  <a:srgbClr val="FFFFFF"/>
                </a:solidFill>
                <a:latin typeface="Arial"/>
                <a:ea typeface="Arial"/>
                <a:cs typeface="Arial"/>
                <a:sym typeface="Arial"/>
              </a:rPr>
              <a:t>00</a:t>
            </a:r>
            <a:endParaRPr/>
          </a:p>
          <a:p>
            <a:pPr marL="0" marR="0" lvl="0" indent="0" algn="ctr" rtl="0">
              <a:lnSpc>
                <a:spcPct val="100000"/>
              </a:lnSpc>
              <a:spcBef>
                <a:spcPts val="0"/>
              </a:spcBef>
              <a:spcAft>
                <a:spcPts val="0"/>
              </a:spcAft>
              <a:buClr>
                <a:srgbClr val="FFFFFF"/>
              </a:buClr>
              <a:buSzPts val="1400"/>
              <a:buFont typeface="Arial"/>
              <a:buNone/>
            </a:pPr>
            <a:r>
              <a:rPr lang="fr-FR" sz="1400" b="1" u="none" strike="noStrike" cap="none">
                <a:solidFill>
                  <a:srgbClr val="FFFFFF"/>
                </a:solidFill>
                <a:latin typeface="Arial"/>
                <a:ea typeface="Arial"/>
                <a:cs typeface="Arial"/>
                <a:sym typeface="Arial"/>
              </a:rPr>
              <a:t>Gt CO</a:t>
            </a:r>
            <a:r>
              <a:rPr lang="fr-FR" sz="1400" b="1" u="none" strike="noStrike" cap="none" baseline="-25000">
                <a:solidFill>
                  <a:srgbClr val="FFFFFF"/>
                </a:solidFill>
                <a:latin typeface="Arial"/>
                <a:ea typeface="Arial"/>
                <a:cs typeface="Arial"/>
                <a:sym typeface="Arial"/>
              </a:rPr>
              <a:t>2</a:t>
            </a:r>
            <a:endParaRPr sz="1400" b="1" u="none" strike="noStrike" cap="none">
              <a:solidFill>
                <a:srgbClr val="FFFFFF"/>
              </a:solidFill>
              <a:latin typeface="Arial"/>
              <a:ea typeface="Arial"/>
              <a:cs typeface="Arial"/>
              <a:sym typeface="Arial"/>
            </a:endParaRPr>
          </a:p>
        </p:txBody>
      </p:sp>
      <p:sp>
        <p:nvSpPr>
          <p:cNvPr id="897" name="Google Shape;897;p28"/>
          <p:cNvSpPr/>
          <p:nvPr/>
        </p:nvSpPr>
        <p:spPr>
          <a:xfrm>
            <a:off x="4897212" y="4721270"/>
            <a:ext cx="788226" cy="521012"/>
          </a:xfrm>
          <a:prstGeom prst="roundRect">
            <a:avLst>
              <a:gd name="adj" fmla="val 16667"/>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fr-FR" sz="1800">
                <a:solidFill>
                  <a:schemeClr val="lt1"/>
                </a:solidFill>
                <a:latin typeface="Arial"/>
                <a:ea typeface="Arial"/>
                <a:cs typeface="Arial"/>
                <a:sym typeface="Arial"/>
              </a:rPr>
              <a:t>1982</a:t>
            </a:r>
            <a:endParaRPr/>
          </a:p>
        </p:txBody>
      </p:sp>
      <p:pic>
        <p:nvPicPr>
          <p:cNvPr id="898" name="Google Shape;898;p28"/>
          <p:cNvPicPr preferRelativeResize="0"/>
          <p:nvPr/>
        </p:nvPicPr>
        <p:blipFill rotWithShape="1">
          <a:blip r:embed="rId6">
            <a:alphaModFix/>
          </a:blip>
          <a:srcRect/>
          <a:stretch/>
        </p:blipFill>
        <p:spPr>
          <a:xfrm>
            <a:off x="4245899" y="3325920"/>
            <a:ext cx="863600" cy="863600"/>
          </a:xfrm>
          <a:prstGeom prst="rect">
            <a:avLst/>
          </a:prstGeom>
          <a:noFill/>
          <a:ln>
            <a:noFill/>
          </a:ln>
        </p:spPr>
      </p:pic>
      <p:pic>
        <p:nvPicPr>
          <p:cNvPr id="899" name="Google Shape;899;p28"/>
          <p:cNvPicPr preferRelativeResize="0"/>
          <p:nvPr/>
        </p:nvPicPr>
        <p:blipFill rotWithShape="1">
          <a:blip r:embed="rId7">
            <a:alphaModFix/>
          </a:blip>
          <a:srcRect/>
          <a:stretch/>
        </p:blipFill>
        <p:spPr>
          <a:xfrm>
            <a:off x="1346307" y="4431993"/>
            <a:ext cx="863600" cy="863600"/>
          </a:xfrm>
          <a:prstGeom prst="rect">
            <a:avLst/>
          </a:prstGeom>
          <a:noFill/>
          <a:ln>
            <a:noFill/>
          </a:ln>
        </p:spPr>
      </p:pic>
      <p:pic>
        <p:nvPicPr>
          <p:cNvPr id="900" name="Google Shape;900;p28"/>
          <p:cNvPicPr preferRelativeResize="0"/>
          <p:nvPr/>
        </p:nvPicPr>
        <p:blipFill rotWithShape="1">
          <a:blip r:embed="rId8">
            <a:alphaModFix/>
          </a:blip>
          <a:srcRect/>
          <a:stretch/>
        </p:blipFill>
        <p:spPr>
          <a:xfrm>
            <a:off x="2773285" y="3938180"/>
            <a:ext cx="863600" cy="863600"/>
          </a:xfrm>
          <a:prstGeom prst="rect">
            <a:avLst/>
          </a:prstGeom>
          <a:noFill/>
          <a:ln>
            <a:noFill/>
          </a:ln>
        </p:spPr>
      </p:pic>
      <p:pic>
        <p:nvPicPr>
          <p:cNvPr id="901" name="Google Shape;901;p28" descr="Une image contenant texte, clipart&#10;&#10;Description générée automatiquement"/>
          <p:cNvPicPr preferRelativeResize="0"/>
          <p:nvPr/>
        </p:nvPicPr>
        <p:blipFill rotWithShape="1">
          <a:blip r:embed="rId9">
            <a:alphaModFix/>
          </a:blip>
          <a:srcRect/>
          <a:stretch/>
        </p:blipFill>
        <p:spPr>
          <a:xfrm>
            <a:off x="5446007" y="2241720"/>
            <a:ext cx="863600" cy="863600"/>
          </a:xfrm>
          <a:prstGeom prst="rect">
            <a:avLst/>
          </a:prstGeom>
          <a:noFill/>
          <a:ln>
            <a:noFill/>
          </a:ln>
        </p:spPr>
      </p:pic>
      <p:grpSp>
        <p:nvGrpSpPr>
          <p:cNvPr id="902" name="Google Shape;902;p28"/>
          <p:cNvGrpSpPr/>
          <p:nvPr/>
        </p:nvGrpSpPr>
        <p:grpSpPr>
          <a:xfrm>
            <a:off x="9123745" y="3588178"/>
            <a:ext cx="1543066" cy="966688"/>
            <a:chOff x="9123745" y="3588178"/>
            <a:chExt cx="1543066" cy="966688"/>
          </a:xfrm>
        </p:grpSpPr>
        <p:sp>
          <p:nvSpPr>
            <p:cNvPr id="903" name="Google Shape;903;p28"/>
            <p:cNvSpPr/>
            <p:nvPr/>
          </p:nvSpPr>
          <p:spPr>
            <a:xfrm>
              <a:off x="9123745" y="3588178"/>
              <a:ext cx="1382639" cy="966688"/>
            </a:xfrm>
            <a:prstGeom prst="roundRect">
              <a:avLst>
                <a:gd name="adj" fmla="val 16667"/>
              </a:avLst>
            </a:prstGeom>
            <a:solidFill>
              <a:srgbClr val="4AD3A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904" name="Google Shape;904;p28"/>
            <p:cNvPicPr preferRelativeResize="0"/>
            <p:nvPr/>
          </p:nvPicPr>
          <p:blipFill rotWithShape="1">
            <a:blip r:embed="rId10">
              <a:alphaModFix/>
            </a:blip>
            <a:srcRect/>
            <a:stretch/>
          </p:blipFill>
          <p:spPr>
            <a:xfrm>
              <a:off x="9282835" y="3744202"/>
              <a:ext cx="332821" cy="654639"/>
            </a:xfrm>
            <a:prstGeom prst="rect">
              <a:avLst/>
            </a:prstGeom>
            <a:noFill/>
            <a:ln>
              <a:noFill/>
            </a:ln>
          </p:spPr>
        </p:pic>
        <p:sp>
          <p:nvSpPr>
            <p:cNvPr id="905" name="Google Shape;905;p28"/>
            <p:cNvSpPr txBox="1"/>
            <p:nvPr/>
          </p:nvSpPr>
          <p:spPr>
            <a:xfrm>
              <a:off x="9576000" y="3865806"/>
              <a:ext cx="1090811" cy="40446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fr-FR" sz="2000" b="1" dirty="0">
                  <a:solidFill>
                    <a:schemeClr val="lt1"/>
                  </a:solidFill>
                  <a:latin typeface="Calibri"/>
                  <a:ea typeface="Calibri"/>
                  <a:cs typeface="Calibri"/>
                  <a:sym typeface="Calibri"/>
                </a:rPr>
                <a:t>+ 1,3°C</a:t>
              </a:r>
              <a:endParaRPr dirty="0"/>
            </a:p>
          </p:txBody>
        </p:sp>
      </p:grpSp>
    </p:spTree>
    <p:extLst>
      <p:ext uri="{BB962C8B-B14F-4D97-AF65-F5344CB8AC3E}">
        <p14:creationId xmlns:p14="http://schemas.microsoft.com/office/powerpoint/2010/main" val="3376716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99"/>
                                        </p:tgtEl>
                                        <p:attrNameLst>
                                          <p:attrName>style.visibility</p:attrName>
                                        </p:attrNameLst>
                                      </p:cBhvr>
                                      <p:to>
                                        <p:strVal val="visible"/>
                                      </p:to>
                                    </p:set>
                                    <p:animEffect transition="in" filter="fade">
                                      <p:cBhvr>
                                        <p:cTn id="7" dur="1000"/>
                                        <p:tgtEl>
                                          <p:spTgt spid="899"/>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900"/>
                                        </p:tgtEl>
                                        <p:attrNameLst>
                                          <p:attrName>style.visibility</p:attrName>
                                        </p:attrNameLst>
                                      </p:cBhvr>
                                      <p:to>
                                        <p:strVal val="visible"/>
                                      </p:to>
                                    </p:set>
                                    <p:animEffect transition="in" filter="fade">
                                      <p:cBhvr>
                                        <p:cTn id="11" dur="1000"/>
                                        <p:tgtEl>
                                          <p:spTgt spid="900"/>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898"/>
                                        </p:tgtEl>
                                        <p:attrNameLst>
                                          <p:attrName>style.visibility</p:attrName>
                                        </p:attrNameLst>
                                      </p:cBhvr>
                                      <p:to>
                                        <p:strVal val="visible"/>
                                      </p:to>
                                    </p:set>
                                    <p:animEffect transition="in" filter="fade">
                                      <p:cBhvr>
                                        <p:cTn id="15" dur="1000"/>
                                        <p:tgtEl>
                                          <p:spTgt spid="898"/>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901"/>
                                        </p:tgtEl>
                                        <p:attrNameLst>
                                          <p:attrName>style.visibility</p:attrName>
                                        </p:attrNameLst>
                                      </p:cBhvr>
                                      <p:to>
                                        <p:strVal val="visible"/>
                                      </p:to>
                                    </p:set>
                                    <p:animEffect transition="in" filter="fade">
                                      <p:cBhvr>
                                        <p:cTn id="19" dur="1000"/>
                                        <p:tgtEl>
                                          <p:spTgt spid="901"/>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884"/>
                                        </p:tgtEl>
                                        <p:attrNameLst>
                                          <p:attrName>style.visibility</p:attrName>
                                        </p:attrNameLst>
                                      </p:cBhvr>
                                      <p:to>
                                        <p:strVal val="visible"/>
                                      </p:to>
                                    </p:set>
                                    <p:animEffect transition="in" filter="fade">
                                      <p:cBhvr>
                                        <p:cTn id="24" dur="500"/>
                                        <p:tgtEl>
                                          <p:spTgt spid="88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902"/>
                                        </p:tgtEl>
                                        <p:attrNameLst>
                                          <p:attrName>style.visibility</p:attrName>
                                        </p:attrNameLst>
                                      </p:cBhvr>
                                      <p:to>
                                        <p:strVal val="visible"/>
                                      </p:to>
                                    </p:set>
                                    <p:animEffect transition="in" filter="fade">
                                      <p:cBhvr>
                                        <p:cTn id="29" dur="500"/>
                                        <p:tgtEl>
                                          <p:spTgt spid="902"/>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895"/>
                                        </p:tgtEl>
                                        <p:attrNameLst>
                                          <p:attrName>style.visibility</p:attrName>
                                        </p:attrNameLst>
                                      </p:cBhvr>
                                      <p:to>
                                        <p:strVal val="visible"/>
                                      </p:to>
                                    </p:set>
                                    <p:animEffect transition="in" filter="fade">
                                      <p:cBhvr>
                                        <p:cTn id="34" dur="1000"/>
                                        <p:tgtEl>
                                          <p:spTgt spid="895"/>
                                        </p:tgtEl>
                                      </p:cBhvr>
                                    </p:animEffect>
                                  </p:childTnLst>
                                </p:cTn>
                              </p:par>
                              <p:par>
                                <p:cTn id="35" presetID="10" presetClass="entr" presetSubtype="0" fill="hold" nodeType="withEffect">
                                  <p:stCondLst>
                                    <p:cond delay="0"/>
                                  </p:stCondLst>
                                  <p:childTnLst>
                                    <p:set>
                                      <p:cBhvr>
                                        <p:cTn id="36" dur="1" fill="hold">
                                          <p:stCondLst>
                                            <p:cond delay="0"/>
                                          </p:stCondLst>
                                        </p:cTn>
                                        <p:tgtEl>
                                          <p:spTgt spid="892"/>
                                        </p:tgtEl>
                                        <p:attrNameLst>
                                          <p:attrName>style.visibility</p:attrName>
                                        </p:attrNameLst>
                                      </p:cBhvr>
                                      <p:to>
                                        <p:strVal val="visible"/>
                                      </p:to>
                                    </p:set>
                                    <p:animEffect transition="in" filter="fade">
                                      <p:cBhvr>
                                        <p:cTn id="37" dur="1000"/>
                                        <p:tgtEl>
                                          <p:spTgt spid="892"/>
                                        </p:tgtEl>
                                      </p:cBhvr>
                                    </p:animEffect>
                                  </p:childTnLst>
                                </p:cTn>
                              </p:par>
                              <p:par>
                                <p:cTn id="38" presetID="10" presetClass="entr" presetSubtype="0" fill="hold" nodeType="withEffect">
                                  <p:stCondLst>
                                    <p:cond delay="0"/>
                                  </p:stCondLst>
                                  <p:childTnLst>
                                    <p:set>
                                      <p:cBhvr>
                                        <p:cTn id="39" dur="1" fill="hold">
                                          <p:stCondLst>
                                            <p:cond delay="0"/>
                                          </p:stCondLst>
                                        </p:cTn>
                                        <p:tgtEl>
                                          <p:spTgt spid="897"/>
                                        </p:tgtEl>
                                        <p:attrNameLst>
                                          <p:attrName>style.visibility</p:attrName>
                                        </p:attrNameLst>
                                      </p:cBhvr>
                                      <p:to>
                                        <p:strVal val="visible"/>
                                      </p:to>
                                    </p:set>
                                    <p:animEffect transition="in" filter="fade">
                                      <p:cBhvr>
                                        <p:cTn id="40" dur="1000"/>
                                        <p:tgtEl>
                                          <p:spTgt spid="897"/>
                                        </p:tgtEl>
                                      </p:cBhvr>
                                    </p:animEffect>
                                  </p:childTnLst>
                                </p:cTn>
                              </p:par>
                              <p:par>
                                <p:cTn id="41" presetID="10" presetClass="entr" presetSubtype="0" fill="hold" nodeType="withEffect">
                                  <p:stCondLst>
                                    <p:cond delay="0"/>
                                  </p:stCondLst>
                                  <p:childTnLst>
                                    <p:set>
                                      <p:cBhvr>
                                        <p:cTn id="42" dur="1" fill="hold">
                                          <p:stCondLst>
                                            <p:cond delay="0"/>
                                          </p:stCondLst>
                                        </p:cTn>
                                        <p:tgtEl>
                                          <p:spTgt spid="896"/>
                                        </p:tgtEl>
                                        <p:attrNameLst>
                                          <p:attrName>style.visibility</p:attrName>
                                        </p:attrNameLst>
                                      </p:cBhvr>
                                      <p:to>
                                        <p:strVal val="visible"/>
                                      </p:to>
                                    </p:set>
                                    <p:animEffect transition="in" filter="fade">
                                      <p:cBhvr>
                                        <p:cTn id="43" dur="1000"/>
                                        <p:tgtEl>
                                          <p:spTgt spid="896"/>
                                        </p:tgtEl>
                                      </p:cBhvr>
                                    </p:animEffect>
                                  </p:childTnLst>
                                </p:cTn>
                              </p:par>
                              <p:par>
                                <p:cTn id="44" presetID="10" presetClass="entr" presetSubtype="0" fill="hold" nodeType="withEffect">
                                  <p:stCondLst>
                                    <p:cond delay="0"/>
                                  </p:stCondLst>
                                  <p:childTnLst>
                                    <p:set>
                                      <p:cBhvr>
                                        <p:cTn id="45" dur="1" fill="hold">
                                          <p:stCondLst>
                                            <p:cond delay="0"/>
                                          </p:stCondLst>
                                        </p:cTn>
                                        <p:tgtEl>
                                          <p:spTgt spid="893"/>
                                        </p:tgtEl>
                                        <p:attrNameLst>
                                          <p:attrName>style.visibility</p:attrName>
                                        </p:attrNameLst>
                                      </p:cBhvr>
                                      <p:to>
                                        <p:strVal val="visible"/>
                                      </p:to>
                                    </p:set>
                                    <p:animEffect transition="in" filter="fade">
                                      <p:cBhvr>
                                        <p:cTn id="46" dur="1000"/>
                                        <p:tgtEl>
                                          <p:spTgt spid="893"/>
                                        </p:tgtEl>
                                      </p:cBhvr>
                                    </p:animEffect>
                                  </p:childTnLst>
                                </p:cTn>
                              </p:par>
                              <p:par>
                                <p:cTn id="47" presetID="10" presetClass="exit" presetSubtype="0" fill="hold" nodeType="withEffect">
                                  <p:stCondLst>
                                    <p:cond delay="0"/>
                                  </p:stCondLst>
                                  <p:childTnLst>
                                    <p:animEffect transition="out" filter="fade">
                                      <p:cBhvr>
                                        <p:cTn id="48" dur="1000"/>
                                        <p:tgtEl>
                                          <p:spTgt spid="891"/>
                                        </p:tgtEl>
                                      </p:cBhvr>
                                    </p:animEffect>
                                    <p:set>
                                      <p:cBhvr>
                                        <p:cTn id="49" dur="1" fill="hold">
                                          <p:stCondLst>
                                            <p:cond delay="1000"/>
                                          </p:stCondLst>
                                        </p:cTn>
                                        <p:tgtEl>
                                          <p:spTgt spid="891"/>
                                        </p:tgtEl>
                                        <p:attrNameLst>
                                          <p:attrName>style.visibility</p:attrName>
                                        </p:attrNameLst>
                                      </p:cBhvr>
                                      <p:to>
                                        <p:strVal val="hidden"/>
                                      </p:to>
                                    </p:set>
                                  </p:childTnLst>
                                </p:cTn>
                              </p:par>
                              <p:par>
                                <p:cTn id="50" presetID="10" presetClass="entr" presetSubtype="0" fill="hold" nodeType="withEffect">
                                  <p:stCondLst>
                                    <p:cond delay="0"/>
                                  </p:stCondLst>
                                  <p:childTnLst>
                                    <p:set>
                                      <p:cBhvr>
                                        <p:cTn id="51" dur="1" fill="hold">
                                          <p:stCondLst>
                                            <p:cond delay="0"/>
                                          </p:stCondLst>
                                        </p:cTn>
                                        <p:tgtEl>
                                          <p:spTgt spid="894"/>
                                        </p:tgtEl>
                                        <p:attrNameLst>
                                          <p:attrName>style.visibility</p:attrName>
                                        </p:attrNameLst>
                                      </p:cBhvr>
                                      <p:to>
                                        <p:strVal val="visible"/>
                                      </p:to>
                                    </p:set>
                                    <p:animEffect transition="in" filter="fade">
                                      <p:cBhvr>
                                        <p:cTn id="52" dur="1000"/>
                                        <p:tgtEl>
                                          <p:spTgt spid="89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967"/>
        <p:cNvGrpSpPr/>
        <p:nvPr/>
      </p:nvGrpSpPr>
      <p:grpSpPr>
        <a:xfrm>
          <a:off x="0" y="0"/>
          <a:ext cx="0" cy="0"/>
          <a:chOff x="0" y="0"/>
          <a:chExt cx="0" cy="0"/>
        </a:xfrm>
      </p:grpSpPr>
      <p:pic>
        <p:nvPicPr>
          <p:cNvPr id="968" name="Google Shape;968;p30"/>
          <p:cNvPicPr preferRelativeResize="0"/>
          <p:nvPr/>
        </p:nvPicPr>
        <p:blipFill rotWithShape="1">
          <a:blip r:embed="rId3">
            <a:alphaModFix/>
          </a:blip>
          <a:srcRect/>
          <a:stretch/>
        </p:blipFill>
        <p:spPr>
          <a:xfrm>
            <a:off x="850076" y="1222243"/>
            <a:ext cx="8153400" cy="4648200"/>
          </a:xfrm>
          <a:prstGeom prst="rect">
            <a:avLst/>
          </a:prstGeom>
          <a:noFill/>
          <a:ln>
            <a:noFill/>
          </a:ln>
        </p:spPr>
      </p:pic>
      <p:sp>
        <p:nvSpPr>
          <p:cNvPr id="969" name="Google Shape;969;p30"/>
          <p:cNvSpPr txBox="1">
            <a:spLocks noGrp="1"/>
          </p:cNvSpPr>
          <p:nvPr>
            <p:ph type="ftr" idx="11"/>
          </p:nvPr>
        </p:nvSpPr>
        <p:spPr>
          <a:xfrm>
            <a:off x="0" y="6489700"/>
            <a:ext cx="9046369" cy="368300"/>
          </a:xfrm>
          <a:prstGeom prst="rect">
            <a:avLst/>
          </a:prstGeom>
          <a:noFill/>
          <a:ln>
            <a:noFill/>
          </a:ln>
        </p:spPr>
        <p:txBody>
          <a:bodyPr spcFirstLastPara="1" wrap="square" lIns="91425" tIns="45700" rIns="91425" bIns="45700" anchor="ctr" anchorCtr="0">
            <a:noAutofit/>
          </a:bodyPr>
          <a:lstStyle/>
          <a:p>
            <a:pPr indent="-12700"/>
            <a:r>
              <a:rPr lang="fr-FR" dirty="0"/>
              <a:t>Transformer l’économie française, avec ou sans nucléaire ?</a:t>
            </a:r>
          </a:p>
        </p:txBody>
      </p:sp>
      <p:sp>
        <p:nvSpPr>
          <p:cNvPr id="970" name="Google Shape;970;p30"/>
          <p:cNvSpPr txBox="1">
            <a:spLocks noGrp="1"/>
          </p:cNvSpPr>
          <p:nvPr>
            <p:ph type="sldNum" idx="12"/>
          </p:nvPr>
        </p:nvSpPr>
        <p:spPr>
          <a:xfrm>
            <a:off x="9046369" y="6489700"/>
            <a:ext cx="2450306" cy="368300"/>
          </a:xfrm>
          <a:prstGeom prst="rect">
            <a:avLst/>
          </a:prstGeom>
          <a:noFill/>
          <a:ln>
            <a:noFill/>
          </a:ln>
        </p:spPr>
        <p:txBody>
          <a:bodyPr spcFirstLastPara="1" wrap="square" lIns="0" tIns="0" rIns="0" bIns="0" anchor="ctr" anchorCtr="0">
            <a:noAutofit/>
          </a:bodyPr>
          <a:lstStyle/>
          <a:p>
            <a:pPr marL="0" lvl="0" indent="0" algn="r" rtl="0">
              <a:spcBef>
                <a:spcPts val="0"/>
              </a:spcBef>
              <a:spcAft>
                <a:spcPts val="0"/>
              </a:spcAft>
              <a:buNone/>
            </a:pPr>
            <a:fld id="{00000000-1234-1234-1234-123412341234}" type="slidenum">
              <a:rPr lang="fr-FR"/>
              <a:t>4</a:t>
            </a:fld>
            <a:endParaRPr/>
          </a:p>
        </p:txBody>
      </p:sp>
      <p:sp>
        <p:nvSpPr>
          <p:cNvPr id="971" name="Google Shape;971;p30"/>
          <p:cNvSpPr txBox="1">
            <a:spLocks noGrp="1"/>
          </p:cNvSpPr>
          <p:nvPr>
            <p:ph type="body" idx="1"/>
          </p:nvPr>
        </p:nvSpPr>
        <p:spPr>
          <a:xfrm>
            <a:off x="695325" y="406371"/>
            <a:ext cx="10352339" cy="476803"/>
          </a:xfrm>
          <a:prstGeom prst="rect">
            <a:avLst/>
          </a:prstGeom>
          <a:noFill/>
          <a:ln>
            <a:noFill/>
          </a:ln>
        </p:spPr>
        <p:txBody>
          <a:bodyPr spcFirstLastPara="1" wrap="square" lIns="91425" tIns="45700" rIns="91425" bIns="45700" anchor="t" anchorCtr="0">
            <a:noAutofit/>
          </a:bodyPr>
          <a:lstStyle/>
          <a:p>
            <a:pPr marL="0" lvl="0" indent="0">
              <a:spcBef>
                <a:spcPts val="0"/>
              </a:spcBef>
            </a:pPr>
            <a:r>
              <a:rPr lang="fr-FR" dirty="0"/>
              <a:t>1- Contexte : émissions anthropiques de CO2 depuis 1850</a:t>
            </a:r>
          </a:p>
        </p:txBody>
      </p:sp>
      <p:sp>
        <p:nvSpPr>
          <p:cNvPr id="972" name="Google Shape;972;p30"/>
          <p:cNvSpPr txBox="1"/>
          <p:nvPr/>
        </p:nvSpPr>
        <p:spPr>
          <a:xfrm>
            <a:off x="751440" y="2529396"/>
            <a:ext cx="467846" cy="27699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200">
                <a:solidFill>
                  <a:srgbClr val="0823AA"/>
                </a:solidFill>
                <a:latin typeface="Arial"/>
                <a:ea typeface="Arial"/>
                <a:cs typeface="Arial"/>
                <a:sym typeface="Arial"/>
              </a:rPr>
              <a:t>50</a:t>
            </a:r>
            <a:endParaRPr/>
          </a:p>
        </p:txBody>
      </p:sp>
      <p:sp>
        <p:nvSpPr>
          <p:cNvPr id="973" name="Google Shape;973;p30"/>
          <p:cNvSpPr txBox="1"/>
          <p:nvPr/>
        </p:nvSpPr>
        <p:spPr>
          <a:xfrm>
            <a:off x="734352" y="3093211"/>
            <a:ext cx="467847" cy="27699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200">
                <a:solidFill>
                  <a:srgbClr val="0823AA"/>
                </a:solidFill>
                <a:latin typeface="Arial"/>
                <a:ea typeface="Arial"/>
                <a:cs typeface="Arial"/>
                <a:sym typeface="Arial"/>
              </a:rPr>
              <a:t>40</a:t>
            </a:r>
            <a:endParaRPr/>
          </a:p>
        </p:txBody>
      </p:sp>
      <p:sp>
        <p:nvSpPr>
          <p:cNvPr id="974" name="Google Shape;974;p30"/>
          <p:cNvSpPr txBox="1"/>
          <p:nvPr/>
        </p:nvSpPr>
        <p:spPr>
          <a:xfrm>
            <a:off x="751440" y="3661182"/>
            <a:ext cx="467846" cy="27699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200">
                <a:solidFill>
                  <a:srgbClr val="0823AA"/>
                </a:solidFill>
                <a:latin typeface="Arial"/>
                <a:ea typeface="Arial"/>
                <a:cs typeface="Arial"/>
                <a:sym typeface="Arial"/>
              </a:rPr>
              <a:t>30</a:t>
            </a:r>
            <a:endParaRPr/>
          </a:p>
        </p:txBody>
      </p:sp>
      <p:sp>
        <p:nvSpPr>
          <p:cNvPr id="975" name="Google Shape;975;p30"/>
          <p:cNvSpPr txBox="1"/>
          <p:nvPr/>
        </p:nvSpPr>
        <p:spPr>
          <a:xfrm>
            <a:off x="734353" y="4238876"/>
            <a:ext cx="467846" cy="27699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200">
                <a:solidFill>
                  <a:srgbClr val="0823AA"/>
                </a:solidFill>
                <a:latin typeface="Arial"/>
                <a:ea typeface="Arial"/>
                <a:cs typeface="Arial"/>
                <a:sym typeface="Arial"/>
              </a:rPr>
              <a:t>20</a:t>
            </a:r>
            <a:endParaRPr/>
          </a:p>
        </p:txBody>
      </p:sp>
      <p:sp>
        <p:nvSpPr>
          <p:cNvPr id="976" name="Google Shape;976;p30"/>
          <p:cNvSpPr txBox="1"/>
          <p:nvPr/>
        </p:nvSpPr>
        <p:spPr>
          <a:xfrm>
            <a:off x="751440" y="1954062"/>
            <a:ext cx="467847" cy="27699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200">
                <a:solidFill>
                  <a:srgbClr val="0823AA"/>
                </a:solidFill>
                <a:latin typeface="Arial"/>
                <a:ea typeface="Arial"/>
                <a:cs typeface="Arial"/>
                <a:sym typeface="Arial"/>
              </a:rPr>
              <a:t>60</a:t>
            </a:r>
            <a:endParaRPr/>
          </a:p>
        </p:txBody>
      </p:sp>
      <p:sp>
        <p:nvSpPr>
          <p:cNvPr id="977" name="Google Shape;977;p30"/>
          <p:cNvSpPr txBox="1"/>
          <p:nvPr/>
        </p:nvSpPr>
        <p:spPr>
          <a:xfrm>
            <a:off x="751440" y="1387904"/>
            <a:ext cx="467846" cy="27699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200">
                <a:solidFill>
                  <a:srgbClr val="0823AA"/>
                </a:solidFill>
                <a:latin typeface="Arial"/>
                <a:ea typeface="Arial"/>
                <a:cs typeface="Arial"/>
                <a:sym typeface="Arial"/>
              </a:rPr>
              <a:t>70</a:t>
            </a:r>
            <a:endParaRPr/>
          </a:p>
        </p:txBody>
      </p:sp>
      <p:sp>
        <p:nvSpPr>
          <p:cNvPr id="978" name="Google Shape;978;p30"/>
          <p:cNvSpPr txBox="1"/>
          <p:nvPr/>
        </p:nvSpPr>
        <p:spPr>
          <a:xfrm rot="-5400000">
            <a:off x="1084601" y="5823049"/>
            <a:ext cx="523413" cy="276999"/>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fr-FR" sz="1200">
                <a:solidFill>
                  <a:srgbClr val="0823AA"/>
                </a:solidFill>
                <a:latin typeface="Arial"/>
                <a:ea typeface="Arial"/>
                <a:cs typeface="Arial"/>
                <a:sym typeface="Arial"/>
              </a:rPr>
              <a:t>1850</a:t>
            </a:r>
            <a:endParaRPr/>
          </a:p>
        </p:txBody>
      </p:sp>
      <p:sp>
        <p:nvSpPr>
          <p:cNvPr id="979" name="Google Shape;979;p30"/>
          <p:cNvSpPr txBox="1"/>
          <p:nvPr/>
        </p:nvSpPr>
        <p:spPr>
          <a:xfrm rot="-5400000">
            <a:off x="1817741" y="5823048"/>
            <a:ext cx="523411" cy="276999"/>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fr-FR" sz="1200">
                <a:solidFill>
                  <a:srgbClr val="0823AA"/>
                </a:solidFill>
                <a:latin typeface="Arial"/>
                <a:ea typeface="Arial"/>
                <a:cs typeface="Arial"/>
                <a:sym typeface="Arial"/>
              </a:rPr>
              <a:t>1875</a:t>
            </a:r>
            <a:endParaRPr/>
          </a:p>
        </p:txBody>
      </p:sp>
      <p:sp>
        <p:nvSpPr>
          <p:cNvPr id="980" name="Google Shape;980;p30"/>
          <p:cNvSpPr txBox="1"/>
          <p:nvPr/>
        </p:nvSpPr>
        <p:spPr>
          <a:xfrm rot="-5400000">
            <a:off x="2577644" y="5823048"/>
            <a:ext cx="523410" cy="276999"/>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fr-FR" sz="1200">
                <a:solidFill>
                  <a:srgbClr val="0823AA"/>
                </a:solidFill>
                <a:latin typeface="Arial"/>
                <a:ea typeface="Arial"/>
                <a:cs typeface="Arial"/>
                <a:sym typeface="Arial"/>
              </a:rPr>
              <a:t>1900</a:t>
            </a:r>
            <a:endParaRPr/>
          </a:p>
        </p:txBody>
      </p:sp>
      <p:sp>
        <p:nvSpPr>
          <p:cNvPr id="981" name="Google Shape;981;p30"/>
          <p:cNvSpPr txBox="1"/>
          <p:nvPr/>
        </p:nvSpPr>
        <p:spPr>
          <a:xfrm rot="-5400000">
            <a:off x="3315411" y="5823048"/>
            <a:ext cx="523410" cy="276999"/>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fr-FR" sz="1200">
                <a:solidFill>
                  <a:srgbClr val="0823AA"/>
                </a:solidFill>
                <a:latin typeface="Arial"/>
                <a:ea typeface="Arial"/>
                <a:cs typeface="Arial"/>
                <a:sym typeface="Arial"/>
              </a:rPr>
              <a:t>1925</a:t>
            </a:r>
            <a:endParaRPr/>
          </a:p>
        </p:txBody>
      </p:sp>
      <p:sp>
        <p:nvSpPr>
          <p:cNvPr id="982" name="Google Shape;982;p30"/>
          <p:cNvSpPr txBox="1"/>
          <p:nvPr/>
        </p:nvSpPr>
        <p:spPr>
          <a:xfrm rot="-5400000">
            <a:off x="4054517" y="5823048"/>
            <a:ext cx="523410" cy="276999"/>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fr-FR" sz="1200">
                <a:solidFill>
                  <a:srgbClr val="0823AA"/>
                </a:solidFill>
                <a:latin typeface="Arial"/>
                <a:ea typeface="Arial"/>
                <a:cs typeface="Arial"/>
                <a:sym typeface="Arial"/>
              </a:rPr>
              <a:t>1950</a:t>
            </a:r>
            <a:endParaRPr/>
          </a:p>
        </p:txBody>
      </p:sp>
      <p:sp>
        <p:nvSpPr>
          <p:cNvPr id="983" name="Google Shape;983;p30"/>
          <p:cNvSpPr txBox="1"/>
          <p:nvPr/>
        </p:nvSpPr>
        <p:spPr>
          <a:xfrm rot="-5400000">
            <a:off x="4794822" y="5821849"/>
            <a:ext cx="521011" cy="276999"/>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fr-FR" sz="1200">
                <a:solidFill>
                  <a:srgbClr val="0823AA"/>
                </a:solidFill>
                <a:latin typeface="Arial"/>
                <a:ea typeface="Arial"/>
                <a:cs typeface="Arial"/>
                <a:sym typeface="Arial"/>
              </a:rPr>
              <a:t>1975</a:t>
            </a:r>
            <a:endParaRPr/>
          </a:p>
        </p:txBody>
      </p:sp>
      <p:sp>
        <p:nvSpPr>
          <p:cNvPr id="984" name="Google Shape;984;p30"/>
          <p:cNvSpPr txBox="1"/>
          <p:nvPr/>
        </p:nvSpPr>
        <p:spPr>
          <a:xfrm rot="-5400000">
            <a:off x="5537845" y="5823050"/>
            <a:ext cx="523414" cy="276999"/>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fr-FR" sz="1200">
                <a:solidFill>
                  <a:srgbClr val="0823AA"/>
                </a:solidFill>
                <a:latin typeface="Arial"/>
                <a:ea typeface="Arial"/>
                <a:cs typeface="Arial"/>
                <a:sym typeface="Arial"/>
              </a:rPr>
              <a:t>2000</a:t>
            </a:r>
            <a:endParaRPr/>
          </a:p>
        </p:txBody>
      </p:sp>
      <p:sp>
        <p:nvSpPr>
          <p:cNvPr id="985" name="Google Shape;985;p30"/>
          <p:cNvSpPr txBox="1"/>
          <p:nvPr/>
        </p:nvSpPr>
        <p:spPr>
          <a:xfrm rot="-5400000">
            <a:off x="6286683" y="5823510"/>
            <a:ext cx="524334" cy="276999"/>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fr-FR" sz="1200">
                <a:solidFill>
                  <a:srgbClr val="0823AA"/>
                </a:solidFill>
                <a:latin typeface="Arial"/>
                <a:ea typeface="Arial"/>
                <a:cs typeface="Arial"/>
                <a:sym typeface="Arial"/>
              </a:rPr>
              <a:t>2025</a:t>
            </a:r>
            <a:endParaRPr/>
          </a:p>
        </p:txBody>
      </p:sp>
      <p:sp>
        <p:nvSpPr>
          <p:cNvPr id="986" name="Google Shape;986;p30"/>
          <p:cNvSpPr txBox="1"/>
          <p:nvPr/>
        </p:nvSpPr>
        <p:spPr>
          <a:xfrm rot="-5400000">
            <a:off x="7031732" y="5824526"/>
            <a:ext cx="526365" cy="276999"/>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fr-FR" sz="1200">
                <a:solidFill>
                  <a:srgbClr val="0823AA"/>
                </a:solidFill>
                <a:latin typeface="Arial"/>
                <a:ea typeface="Arial"/>
                <a:cs typeface="Arial"/>
                <a:sym typeface="Arial"/>
              </a:rPr>
              <a:t>2050</a:t>
            </a:r>
            <a:endParaRPr/>
          </a:p>
        </p:txBody>
      </p:sp>
      <p:sp>
        <p:nvSpPr>
          <p:cNvPr id="987" name="Google Shape;987;p30"/>
          <p:cNvSpPr txBox="1"/>
          <p:nvPr/>
        </p:nvSpPr>
        <p:spPr>
          <a:xfrm rot="-5400000">
            <a:off x="7775065" y="5826552"/>
            <a:ext cx="530418" cy="276999"/>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fr-FR" sz="1200">
                <a:solidFill>
                  <a:srgbClr val="0823AA"/>
                </a:solidFill>
                <a:latin typeface="Arial"/>
                <a:ea typeface="Arial"/>
                <a:cs typeface="Arial"/>
                <a:sym typeface="Arial"/>
              </a:rPr>
              <a:t>2075</a:t>
            </a:r>
            <a:endParaRPr/>
          </a:p>
        </p:txBody>
      </p:sp>
      <p:sp>
        <p:nvSpPr>
          <p:cNvPr id="988" name="Google Shape;988;p30"/>
          <p:cNvSpPr txBox="1"/>
          <p:nvPr/>
        </p:nvSpPr>
        <p:spPr>
          <a:xfrm rot="-5400000">
            <a:off x="8523927" y="5823050"/>
            <a:ext cx="523414" cy="276999"/>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fr-FR" sz="1200">
                <a:solidFill>
                  <a:srgbClr val="0823AA"/>
                </a:solidFill>
                <a:latin typeface="Arial"/>
                <a:ea typeface="Arial"/>
                <a:cs typeface="Arial"/>
                <a:sym typeface="Arial"/>
              </a:rPr>
              <a:t>2100</a:t>
            </a:r>
            <a:endParaRPr/>
          </a:p>
        </p:txBody>
      </p:sp>
      <p:sp>
        <p:nvSpPr>
          <p:cNvPr id="989" name="Google Shape;989;p30"/>
          <p:cNvSpPr txBox="1"/>
          <p:nvPr/>
        </p:nvSpPr>
        <p:spPr>
          <a:xfrm>
            <a:off x="734353" y="4819136"/>
            <a:ext cx="467846" cy="27699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200">
                <a:solidFill>
                  <a:srgbClr val="0823AA"/>
                </a:solidFill>
                <a:latin typeface="Arial"/>
                <a:ea typeface="Arial"/>
                <a:cs typeface="Arial"/>
                <a:sym typeface="Arial"/>
              </a:rPr>
              <a:t>10</a:t>
            </a:r>
            <a:endParaRPr/>
          </a:p>
        </p:txBody>
      </p:sp>
      <p:grpSp>
        <p:nvGrpSpPr>
          <p:cNvPr id="990" name="Google Shape;990;p30"/>
          <p:cNvGrpSpPr/>
          <p:nvPr/>
        </p:nvGrpSpPr>
        <p:grpSpPr>
          <a:xfrm>
            <a:off x="9273706" y="1339699"/>
            <a:ext cx="1103582" cy="1624718"/>
            <a:chOff x="9751095" y="2956839"/>
            <a:chExt cx="1103582" cy="1624718"/>
          </a:xfrm>
        </p:grpSpPr>
        <p:sp>
          <p:nvSpPr>
            <p:cNvPr id="991" name="Google Shape;991;p30"/>
            <p:cNvSpPr/>
            <p:nvPr/>
          </p:nvSpPr>
          <p:spPr>
            <a:xfrm>
              <a:off x="9910756" y="2956839"/>
              <a:ext cx="796590" cy="1620000"/>
            </a:xfrm>
            <a:prstGeom prst="rect">
              <a:avLst/>
            </a:prstGeom>
            <a:solidFill>
              <a:srgbClr val="4BD2AF"/>
            </a:solid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chemeClr val="lt1"/>
                </a:buClr>
                <a:buSzPts val="1800"/>
                <a:buFont typeface="Arial"/>
                <a:buNone/>
              </a:pPr>
              <a:endParaRPr sz="1800" u="none" strike="noStrike" cap="none">
                <a:solidFill>
                  <a:srgbClr val="FFFFFF"/>
                </a:solidFill>
                <a:latin typeface="Calibri"/>
                <a:ea typeface="Calibri"/>
                <a:cs typeface="Calibri"/>
                <a:sym typeface="Calibri"/>
              </a:endParaRPr>
            </a:p>
          </p:txBody>
        </p:sp>
        <p:cxnSp>
          <p:nvCxnSpPr>
            <p:cNvPr id="992" name="Google Shape;992;p30"/>
            <p:cNvCxnSpPr/>
            <p:nvPr/>
          </p:nvCxnSpPr>
          <p:spPr>
            <a:xfrm>
              <a:off x="9751095" y="4581557"/>
              <a:ext cx="1103582" cy="0"/>
            </a:xfrm>
            <a:prstGeom prst="straightConnector1">
              <a:avLst/>
            </a:prstGeom>
            <a:noFill/>
            <a:ln w="19050" cap="flat" cmpd="sng">
              <a:solidFill>
                <a:schemeClr val="lt2"/>
              </a:solidFill>
              <a:prstDash val="solid"/>
              <a:miter lim="800000"/>
              <a:headEnd type="none" w="sm" len="sm"/>
              <a:tailEnd type="none" w="sm" len="sm"/>
            </a:ln>
          </p:spPr>
        </p:cxnSp>
        <p:sp>
          <p:nvSpPr>
            <p:cNvPr id="993" name="Google Shape;993;p30"/>
            <p:cNvSpPr txBox="1"/>
            <p:nvPr/>
          </p:nvSpPr>
          <p:spPr>
            <a:xfrm>
              <a:off x="10008968" y="3525035"/>
              <a:ext cx="587836" cy="646331"/>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FFFFFF"/>
                </a:buClr>
                <a:buSzPts val="1400"/>
                <a:buFont typeface="Arial"/>
                <a:buNone/>
              </a:pPr>
              <a:r>
                <a:rPr lang="fr-FR" sz="1400" b="1" u="none" strike="noStrike" cap="none">
                  <a:solidFill>
                    <a:srgbClr val="FFFFFF"/>
                  </a:solidFill>
                  <a:latin typeface="Arial"/>
                  <a:ea typeface="Arial"/>
                  <a:cs typeface="Arial"/>
                  <a:sym typeface="Arial"/>
                </a:rPr>
                <a:t>env.</a:t>
              </a:r>
              <a:endParaRPr/>
            </a:p>
            <a:p>
              <a:pPr marL="0" marR="0" lvl="0" indent="0" algn="ctr" rtl="0">
                <a:lnSpc>
                  <a:spcPct val="100000"/>
                </a:lnSpc>
                <a:spcBef>
                  <a:spcPts val="0"/>
                </a:spcBef>
                <a:spcAft>
                  <a:spcPts val="0"/>
                </a:spcAft>
                <a:buClr>
                  <a:srgbClr val="FFFFFF"/>
                </a:buClr>
                <a:buSzPts val="1400"/>
                <a:buFont typeface="Arial"/>
                <a:buNone/>
              </a:pPr>
              <a:r>
                <a:rPr lang="fr-FR" sz="1400" b="1" u="none" strike="noStrike" cap="none">
                  <a:solidFill>
                    <a:srgbClr val="FFFFFF"/>
                  </a:solidFill>
                  <a:latin typeface="Arial"/>
                  <a:ea typeface="Arial"/>
                  <a:cs typeface="Arial"/>
                  <a:sym typeface="Arial"/>
                </a:rPr>
                <a:t>2 400</a:t>
              </a:r>
              <a:endParaRPr/>
            </a:p>
            <a:p>
              <a:pPr marL="0" marR="0" lvl="0" indent="0" algn="ctr" rtl="0">
                <a:lnSpc>
                  <a:spcPct val="100000"/>
                </a:lnSpc>
                <a:spcBef>
                  <a:spcPts val="0"/>
                </a:spcBef>
                <a:spcAft>
                  <a:spcPts val="0"/>
                </a:spcAft>
                <a:buClr>
                  <a:srgbClr val="FFFFFF"/>
                </a:buClr>
                <a:buSzPts val="1400"/>
                <a:buFont typeface="Arial"/>
                <a:buNone/>
              </a:pPr>
              <a:r>
                <a:rPr lang="fr-FR" sz="1400" b="1" u="none" strike="noStrike" cap="none">
                  <a:solidFill>
                    <a:srgbClr val="FFFFFF"/>
                  </a:solidFill>
                  <a:latin typeface="Arial"/>
                  <a:ea typeface="Arial"/>
                  <a:cs typeface="Arial"/>
                  <a:sym typeface="Arial"/>
                </a:rPr>
                <a:t>Gt CO</a:t>
              </a:r>
              <a:r>
                <a:rPr lang="fr-FR" sz="1400" b="1" u="none" strike="noStrike" cap="none" baseline="-25000">
                  <a:solidFill>
                    <a:srgbClr val="FFFFFF"/>
                  </a:solidFill>
                  <a:latin typeface="Arial"/>
                  <a:ea typeface="Arial"/>
                  <a:cs typeface="Arial"/>
                  <a:sym typeface="Arial"/>
                </a:rPr>
                <a:t>2</a:t>
              </a:r>
              <a:endParaRPr sz="1400" b="1" u="none" strike="noStrike" cap="none">
                <a:solidFill>
                  <a:srgbClr val="FFFFFF"/>
                </a:solidFill>
                <a:latin typeface="Arial"/>
                <a:ea typeface="Arial"/>
                <a:cs typeface="Arial"/>
                <a:sym typeface="Arial"/>
              </a:endParaRPr>
            </a:p>
          </p:txBody>
        </p:sp>
      </p:grpSp>
      <p:sp>
        <p:nvSpPr>
          <p:cNvPr id="994" name="Google Shape;994;p30"/>
          <p:cNvSpPr txBox="1"/>
          <p:nvPr/>
        </p:nvSpPr>
        <p:spPr>
          <a:xfrm>
            <a:off x="826266" y="5387167"/>
            <a:ext cx="374570" cy="27699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200">
                <a:solidFill>
                  <a:srgbClr val="0823AA"/>
                </a:solidFill>
                <a:latin typeface="Arial"/>
                <a:ea typeface="Arial"/>
                <a:cs typeface="Arial"/>
                <a:sym typeface="Arial"/>
              </a:rPr>
              <a:t>0</a:t>
            </a:r>
            <a:endParaRPr/>
          </a:p>
        </p:txBody>
      </p:sp>
      <p:sp>
        <p:nvSpPr>
          <p:cNvPr id="995" name="Google Shape;995;p30"/>
          <p:cNvSpPr txBox="1"/>
          <p:nvPr/>
        </p:nvSpPr>
        <p:spPr>
          <a:xfrm>
            <a:off x="6718041" y="-429208"/>
            <a:ext cx="184731" cy="3693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996" name="Google Shape;996;p30"/>
          <p:cNvSpPr txBox="1"/>
          <p:nvPr/>
        </p:nvSpPr>
        <p:spPr>
          <a:xfrm>
            <a:off x="9093065" y="2966498"/>
            <a:ext cx="1483186" cy="584775"/>
          </a:xfrm>
          <a:prstGeom prst="rect">
            <a:avLst/>
          </a:prstGeom>
          <a:noFill/>
          <a:ln>
            <a:noFill/>
          </a:ln>
        </p:spPr>
        <p:txBody>
          <a:bodyPr spcFirstLastPara="1" wrap="square" lIns="91425" tIns="45700" rIns="91425" bIns="45700" anchor="ctr" anchorCtr="0">
            <a:spAutoFit/>
          </a:bodyPr>
          <a:lstStyle/>
          <a:p>
            <a:pPr marL="0" marR="0" lvl="0" indent="0" algn="ctr" rtl="0">
              <a:lnSpc>
                <a:spcPct val="100000"/>
              </a:lnSpc>
              <a:spcBef>
                <a:spcPts val="0"/>
              </a:spcBef>
              <a:spcAft>
                <a:spcPts val="0"/>
              </a:spcAft>
              <a:buClr>
                <a:schemeClr val="accent1"/>
              </a:buClr>
              <a:buSzPts val="1600"/>
              <a:buFont typeface="Arial"/>
              <a:buNone/>
            </a:pPr>
            <a:r>
              <a:rPr lang="fr-FR" sz="1600" u="none" strike="noStrike" cap="none">
                <a:solidFill>
                  <a:schemeClr val="accent1"/>
                </a:solidFill>
                <a:latin typeface="Arial"/>
                <a:ea typeface="Arial"/>
                <a:cs typeface="Arial"/>
                <a:sym typeface="Arial"/>
              </a:rPr>
              <a:t>déjà émis depuis 1850</a:t>
            </a:r>
            <a:endParaRPr/>
          </a:p>
        </p:txBody>
      </p:sp>
      <p:pic>
        <p:nvPicPr>
          <p:cNvPr id="997" name="Google Shape;997;p30"/>
          <p:cNvPicPr preferRelativeResize="0"/>
          <p:nvPr/>
        </p:nvPicPr>
        <p:blipFill rotWithShape="1">
          <a:blip r:embed="rId4">
            <a:alphaModFix/>
          </a:blip>
          <a:srcRect/>
          <a:stretch/>
        </p:blipFill>
        <p:spPr>
          <a:xfrm>
            <a:off x="4245899" y="3325920"/>
            <a:ext cx="863600" cy="863600"/>
          </a:xfrm>
          <a:prstGeom prst="rect">
            <a:avLst/>
          </a:prstGeom>
          <a:noFill/>
          <a:ln>
            <a:noFill/>
          </a:ln>
        </p:spPr>
      </p:pic>
      <p:pic>
        <p:nvPicPr>
          <p:cNvPr id="998" name="Google Shape;998;p30"/>
          <p:cNvPicPr preferRelativeResize="0"/>
          <p:nvPr/>
        </p:nvPicPr>
        <p:blipFill rotWithShape="1">
          <a:blip r:embed="rId5">
            <a:alphaModFix/>
          </a:blip>
          <a:srcRect/>
          <a:stretch/>
        </p:blipFill>
        <p:spPr>
          <a:xfrm>
            <a:off x="1346307" y="4431993"/>
            <a:ext cx="863600" cy="863600"/>
          </a:xfrm>
          <a:prstGeom prst="rect">
            <a:avLst/>
          </a:prstGeom>
          <a:noFill/>
          <a:ln>
            <a:noFill/>
          </a:ln>
        </p:spPr>
      </p:pic>
      <p:pic>
        <p:nvPicPr>
          <p:cNvPr id="999" name="Google Shape;999;p30"/>
          <p:cNvPicPr preferRelativeResize="0"/>
          <p:nvPr/>
        </p:nvPicPr>
        <p:blipFill rotWithShape="1">
          <a:blip r:embed="rId6">
            <a:alphaModFix/>
          </a:blip>
          <a:srcRect/>
          <a:stretch/>
        </p:blipFill>
        <p:spPr>
          <a:xfrm>
            <a:off x="2773285" y="3938180"/>
            <a:ext cx="863600" cy="863600"/>
          </a:xfrm>
          <a:prstGeom prst="rect">
            <a:avLst/>
          </a:prstGeom>
          <a:noFill/>
          <a:ln>
            <a:noFill/>
          </a:ln>
        </p:spPr>
      </p:pic>
      <p:pic>
        <p:nvPicPr>
          <p:cNvPr id="1000" name="Google Shape;1000;p30" descr="Une image contenant texte, clipart&#10;&#10;Description générée automatiquement"/>
          <p:cNvPicPr preferRelativeResize="0"/>
          <p:nvPr/>
        </p:nvPicPr>
        <p:blipFill rotWithShape="1">
          <a:blip r:embed="rId7">
            <a:alphaModFix/>
          </a:blip>
          <a:srcRect/>
          <a:stretch/>
        </p:blipFill>
        <p:spPr>
          <a:xfrm>
            <a:off x="5446007" y="2241720"/>
            <a:ext cx="863600" cy="863600"/>
          </a:xfrm>
          <a:prstGeom prst="rect">
            <a:avLst/>
          </a:prstGeom>
          <a:noFill/>
          <a:ln>
            <a:noFill/>
          </a:ln>
        </p:spPr>
      </p:pic>
      <p:pic>
        <p:nvPicPr>
          <p:cNvPr id="1001" name="Google Shape;1001;p30"/>
          <p:cNvPicPr preferRelativeResize="0"/>
          <p:nvPr/>
        </p:nvPicPr>
        <p:blipFill rotWithShape="1">
          <a:blip r:embed="rId8">
            <a:alphaModFix/>
          </a:blip>
          <a:srcRect/>
          <a:stretch/>
        </p:blipFill>
        <p:spPr>
          <a:xfrm>
            <a:off x="849600" y="1217944"/>
            <a:ext cx="8153400" cy="4648200"/>
          </a:xfrm>
          <a:prstGeom prst="rect">
            <a:avLst/>
          </a:prstGeom>
          <a:noFill/>
          <a:ln>
            <a:noFill/>
          </a:ln>
        </p:spPr>
      </p:pic>
      <p:sp>
        <p:nvSpPr>
          <p:cNvPr id="1002" name="Google Shape;1002;p30"/>
          <p:cNvSpPr/>
          <p:nvPr/>
        </p:nvSpPr>
        <p:spPr>
          <a:xfrm>
            <a:off x="6406072" y="1092458"/>
            <a:ext cx="1184933" cy="2129640"/>
          </a:xfrm>
          <a:custGeom>
            <a:avLst/>
            <a:gdLst/>
            <a:ahLst/>
            <a:cxnLst/>
            <a:rect l="l" t="t" r="r" b="b"/>
            <a:pathLst>
              <a:path w="1184933" h="2129640" extrusionOk="0">
                <a:moveTo>
                  <a:pt x="0" y="2129640"/>
                </a:moveTo>
                <a:cubicBezTo>
                  <a:pt x="382232" y="1614977"/>
                  <a:pt x="410078" y="1631952"/>
                  <a:pt x="701247" y="1021041"/>
                </a:cubicBezTo>
                <a:cubicBezTo>
                  <a:pt x="908773" y="587577"/>
                  <a:pt x="1012455" y="420781"/>
                  <a:pt x="1184933" y="0"/>
                </a:cubicBezTo>
              </a:path>
            </a:pathLst>
          </a:custGeom>
          <a:noFill/>
          <a:ln w="44450" cap="flat" cmpd="sng">
            <a:solidFill>
              <a:schemeClr val="accent4"/>
            </a:solidFill>
            <a:prstDash val="lgDash"/>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1003" name="Google Shape;1003;p30"/>
          <p:cNvSpPr txBox="1"/>
          <p:nvPr/>
        </p:nvSpPr>
        <p:spPr>
          <a:xfrm>
            <a:off x="9002524" y="5519317"/>
            <a:ext cx="1503860" cy="3693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900">
                <a:solidFill>
                  <a:srgbClr val="7F7F7F"/>
                </a:solidFill>
                <a:latin typeface="Arial"/>
                <a:ea typeface="Arial"/>
                <a:cs typeface="Arial"/>
                <a:sym typeface="Arial"/>
              </a:rPr>
              <a:t>Source : Global Carbon Project</a:t>
            </a:r>
            <a:endParaRPr/>
          </a:p>
        </p:txBody>
      </p:sp>
      <p:sp>
        <p:nvSpPr>
          <p:cNvPr id="1004" name="Google Shape;1004;p30"/>
          <p:cNvSpPr txBox="1"/>
          <p:nvPr/>
        </p:nvSpPr>
        <p:spPr>
          <a:xfrm>
            <a:off x="760487" y="975422"/>
            <a:ext cx="7834424" cy="415498"/>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200">
                <a:solidFill>
                  <a:srgbClr val="0823AA"/>
                </a:solidFill>
                <a:latin typeface="Arial"/>
                <a:ea typeface="Arial"/>
                <a:cs typeface="Arial"/>
                <a:sym typeface="Arial"/>
              </a:rPr>
              <a:t>Émissions anthropiques* de CO</a:t>
            </a:r>
            <a:r>
              <a:rPr lang="fr-FR" sz="1200" baseline="-25000">
                <a:solidFill>
                  <a:srgbClr val="0823AA"/>
                </a:solidFill>
                <a:latin typeface="Arial"/>
                <a:ea typeface="Arial"/>
                <a:cs typeface="Arial"/>
                <a:sym typeface="Arial"/>
              </a:rPr>
              <a:t>2</a:t>
            </a:r>
            <a:r>
              <a:rPr lang="fr-FR" sz="1200">
                <a:solidFill>
                  <a:srgbClr val="0823AA"/>
                </a:solidFill>
                <a:latin typeface="Arial"/>
                <a:ea typeface="Arial"/>
                <a:cs typeface="Arial"/>
                <a:sym typeface="Arial"/>
              </a:rPr>
              <a:t> (Gt CO</a:t>
            </a:r>
            <a:r>
              <a:rPr lang="fr-FR" sz="1200" baseline="-25000">
                <a:solidFill>
                  <a:srgbClr val="0823AA"/>
                </a:solidFill>
                <a:latin typeface="Arial"/>
                <a:ea typeface="Arial"/>
                <a:cs typeface="Arial"/>
                <a:sym typeface="Arial"/>
              </a:rPr>
              <a:t>2</a:t>
            </a:r>
            <a:r>
              <a:rPr lang="fr-FR" sz="1200">
                <a:solidFill>
                  <a:srgbClr val="0823AA"/>
                </a:solidFill>
                <a:latin typeface="Arial"/>
                <a:ea typeface="Arial"/>
                <a:cs typeface="Arial"/>
                <a:sym typeface="Arial"/>
              </a:rPr>
              <a:t>/an)</a:t>
            </a:r>
            <a:endParaRPr sz="900">
              <a:solidFill>
                <a:schemeClr val="lt2"/>
              </a:solidFill>
              <a:latin typeface="Arial"/>
              <a:ea typeface="Arial"/>
              <a:cs typeface="Arial"/>
              <a:sym typeface="Arial"/>
            </a:endParaRPr>
          </a:p>
          <a:p>
            <a:pPr marL="0" marR="0" lvl="0" indent="0" algn="l" rtl="0">
              <a:spcBef>
                <a:spcPts val="0"/>
              </a:spcBef>
              <a:spcAft>
                <a:spcPts val="0"/>
              </a:spcAft>
              <a:buNone/>
            </a:pPr>
            <a:r>
              <a:rPr lang="fr-FR" sz="900">
                <a:solidFill>
                  <a:schemeClr val="lt2"/>
                </a:solidFill>
                <a:latin typeface="Arial"/>
                <a:ea typeface="Arial"/>
                <a:cs typeface="Arial"/>
                <a:sym typeface="Arial"/>
              </a:rPr>
              <a:t>* combustion d’énergies fossiles, procédés industriels, usage des sols et forêts.</a:t>
            </a:r>
            <a:endParaRPr/>
          </a:p>
        </p:txBody>
      </p:sp>
      <p:grpSp>
        <p:nvGrpSpPr>
          <p:cNvPr id="1005" name="Google Shape;1005;p30"/>
          <p:cNvGrpSpPr/>
          <p:nvPr/>
        </p:nvGrpSpPr>
        <p:grpSpPr>
          <a:xfrm>
            <a:off x="7666908" y="421216"/>
            <a:ext cx="1615927" cy="966688"/>
            <a:chOff x="9123746" y="3588178"/>
            <a:chExt cx="1615927" cy="966688"/>
          </a:xfrm>
        </p:grpSpPr>
        <p:sp>
          <p:nvSpPr>
            <p:cNvPr id="1006" name="Google Shape;1006;p30"/>
            <p:cNvSpPr/>
            <p:nvPr/>
          </p:nvSpPr>
          <p:spPr>
            <a:xfrm>
              <a:off x="9123746" y="3588178"/>
              <a:ext cx="1525140" cy="966688"/>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1007" name="Google Shape;1007;p30"/>
            <p:cNvPicPr preferRelativeResize="0"/>
            <p:nvPr/>
          </p:nvPicPr>
          <p:blipFill rotWithShape="1">
            <a:blip r:embed="rId9">
              <a:alphaModFix/>
            </a:blip>
            <a:srcRect/>
            <a:stretch/>
          </p:blipFill>
          <p:spPr>
            <a:xfrm>
              <a:off x="9282835" y="3744202"/>
              <a:ext cx="332821" cy="654639"/>
            </a:xfrm>
            <a:prstGeom prst="rect">
              <a:avLst/>
            </a:prstGeom>
            <a:noFill/>
            <a:ln>
              <a:noFill/>
            </a:ln>
          </p:spPr>
        </p:pic>
        <p:sp>
          <p:nvSpPr>
            <p:cNvPr id="1008" name="Google Shape;1008;p30"/>
            <p:cNvSpPr txBox="1"/>
            <p:nvPr/>
          </p:nvSpPr>
          <p:spPr>
            <a:xfrm>
              <a:off x="9559203" y="3865806"/>
              <a:ext cx="1180470" cy="40446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fr-FR" sz="2000" b="1">
                  <a:solidFill>
                    <a:schemeClr val="lt1"/>
                  </a:solidFill>
                  <a:latin typeface="Calibri"/>
                  <a:ea typeface="Calibri"/>
                  <a:cs typeface="Calibri"/>
                  <a:sym typeface="Calibri"/>
                </a:rPr>
                <a:t>+ 4 à 6°C</a:t>
              </a:r>
              <a:endParaRPr/>
            </a:p>
          </p:txBody>
        </p:sp>
      </p:grpSp>
      <p:cxnSp>
        <p:nvCxnSpPr>
          <p:cNvPr id="1009" name="Google Shape;1009;p30"/>
          <p:cNvCxnSpPr/>
          <p:nvPr/>
        </p:nvCxnSpPr>
        <p:spPr>
          <a:xfrm>
            <a:off x="10824796" y="2962800"/>
            <a:ext cx="1103582" cy="0"/>
          </a:xfrm>
          <a:prstGeom prst="straightConnector1">
            <a:avLst/>
          </a:prstGeom>
          <a:noFill/>
          <a:ln w="19050" cap="flat" cmpd="sng">
            <a:solidFill>
              <a:schemeClr val="lt2"/>
            </a:solidFill>
            <a:prstDash val="solid"/>
            <a:miter lim="800000"/>
            <a:headEnd type="none" w="sm" len="sm"/>
            <a:tailEnd type="none" w="sm" len="sm"/>
          </a:ln>
        </p:spPr>
      </p:cxnSp>
      <p:sp>
        <p:nvSpPr>
          <p:cNvPr id="1010" name="Google Shape;1010;p30"/>
          <p:cNvSpPr txBox="1"/>
          <p:nvPr/>
        </p:nvSpPr>
        <p:spPr>
          <a:xfrm>
            <a:off x="10468721" y="2974636"/>
            <a:ext cx="1804608" cy="584775"/>
          </a:xfrm>
          <a:prstGeom prst="rect">
            <a:avLst/>
          </a:prstGeom>
          <a:noFill/>
          <a:ln>
            <a:noFill/>
          </a:ln>
        </p:spPr>
        <p:txBody>
          <a:bodyPr spcFirstLastPara="1" wrap="square" lIns="91425" tIns="45700" rIns="91425" bIns="45700" anchor="ctr" anchorCtr="0">
            <a:spAutoFit/>
          </a:bodyPr>
          <a:lstStyle/>
          <a:p>
            <a:pPr marL="0" marR="0" lvl="0" indent="0" algn="ctr" rtl="0">
              <a:lnSpc>
                <a:spcPct val="100000"/>
              </a:lnSpc>
              <a:spcBef>
                <a:spcPts val="0"/>
              </a:spcBef>
              <a:spcAft>
                <a:spcPts val="0"/>
              </a:spcAft>
              <a:buClr>
                <a:schemeClr val="dk2"/>
              </a:buClr>
              <a:buSzPts val="1600"/>
              <a:buFont typeface="Arial"/>
              <a:buNone/>
            </a:pPr>
            <a:r>
              <a:rPr lang="fr-FR" sz="1600">
                <a:solidFill>
                  <a:schemeClr val="dk2"/>
                </a:solidFill>
                <a:latin typeface="Arial"/>
                <a:ea typeface="Arial"/>
                <a:cs typeface="Arial"/>
                <a:sym typeface="Arial"/>
              </a:rPr>
              <a:t>r</a:t>
            </a:r>
            <a:r>
              <a:rPr lang="fr-FR" sz="1600" u="none" strike="noStrike" cap="none">
                <a:solidFill>
                  <a:schemeClr val="dk2"/>
                </a:solidFill>
                <a:latin typeface="Arial"/>
                <a:ea typeface="Arial"/>
                <a:cs typeface="Arial"/>
                <a:sym typeface="Arial"/>
              </a:rPr>
              <a:t>estant à émettre d’ici 2100</a:t>
            </a:r>
            <a:endParaRPr/>
          </a:p>
        </p:txBody>
      </p:sp>
      <p:grpSp>
        <p:nvGrpSpPr>
          <p:cNvPr id="1011" name="Google Shape;1011;p30"/>
          <p:cNvGrpSpPr/>
          <p:nvPr/>
        </p:nvGrpSpPr>
        <p:grpSpPr>
          <a:xfrm>
            <a:off x="10665474" y="3588178"/>
            <a:ext cx="1473001" cy="966688"/>
            <a:chOff x="9123745" y="3588178"/>
            <a:chExt cx="1473001" cy="966688"/>
          </a:xfrm>
        </p:grpSpPr>
        <p:sp>
          <p:nvSpPr>
            <p:cNvPr id="1012" name="Google Shape;1012;p30"/>
            <p:cNvSpPr/>
            <p:nvPr/>
          </p:nvSpPr>
          <p:spPr>
            <a:xfrm>
              <a:off x="9123745" y="3588178"/>
              <a:ext cx="1382639" cy="966688"/>
            </a:xfrm>
            <a:prstGeom prst="roundRect">
              <a:avLst>
                <a:gd name="adj" fmla="val 16667"/>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1013" name="Google Shape;1013;p30"/>
            <p:cNvPicPr preferRelativeResize="0"/>
            <p:nvPr/>
          </p:nvPicPr>
          <p:blipFill rotWithShape="1">
            <a:blip r:embed="rId9">
              <a:alphaModFix/>
            </a:blip>
            <a:srcRect/>
            <a:stretch/>
          </p:blipFill>
          <p:spPr>
            <a:xfrm>
              <a:off x="9282835" y="3744202"/>
              <a:ext cx="332821" cy="654639"/>
            </a:xfrm>
            <a:prstGeom prst="rect">
              <a:avLst/>
            </a:prstGeom>
            <a:noFill/>
            <a:ln>
              <a:noFill/>
            </a:ln>
          </p:spPr>
        </p:pic>
        <p:sp>
          <p:nvSpPr>
            <p:cNvPr id="1014" name="Google Shape;1014;p30"/>
            <p:cNvSpPr txBox="1"/>
            <p:nvPr/>
          </p:nvSpPr>
          <p:spPr>
            <a:xfrm>
              <a:off x="9505935" y="3865806"/>
              <a:ext cx="1090811" cy="40446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fr-FR" sz="2000" b="1">
                  <a:solidFill>
                    <a:schemeClr val="lt1"/>
                  </a:solidFill>
                  <a:latin typeface="Calibri"/>
                  <a:ea typeface="Calibri"/>
                  <a:cs typeface="Calibri"/>
                  <a:sym typeface="Calibri"/>
                </a:rPr>
                <a:t>  + 2°C</a:t>
              </a:r>
              <a:endParaRPr/>
            </a:p>
          </p:txBody>
        </p:sp>
      </p:grpSp>
      <p:sp>
        <p:nvSpPr>
          <p:cNvPr id="1015" name="Google Shape;1015;p30"/>
          <p:cNvSpPr/>
          <p:nvPr/>
        </p:nvSpPr>
        <p:spPr>
          <a:xfrm>
            <a:off x="10980140" y="2417064"/>
            <a:ext cx="796590" cy="540000"/>
          </a:xfrm>
          <a:prstGeom prst="rect">
            <a:avLst/>
          </a:prstGeom>
          <a:solidFill>
            <a:schemeClr val="dk2"/>
          </a:solid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chemeClr val="lt1"/>
              </a:buClr>
              <a:buSzPts val="1800"/>
              <a:buFont typeface="Arial"/>
              <a:buNone/>
            </a:pPr>
            <a:endParaRPr sz="1800" u="none" strike="noStrike" cap="none">
              <a:solidFill>
                <a:srgbClr val="FFFFFF"/>
              </a:solidFill>
              <a:latin typeface="Calibri"/>
              <a:ea typeface="Calibri"/>
              <a:cs typeface="Calibri"/>
              <a:sym typeface="Calibri"/>
            </a:endParaRPr>
          </a:p>
        </p:txBody>
      </p:sp>
      <p:sp>
        <p:nvSpPr>
          <p:cNvPr id="1016" name="Google Shape;1016;p30"/>
          <p:cNvSpPr txBox="1"/>
          <p:nvPr/>
        </p:nvSpPr>
        <p:spPr>
          <a:xfrm>
            <a:off x="11015189" y="2468340"/>
            <a:ext cx="726492" cy="430887"/>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FFFFFF"/>
              </a:buClr>
              <a:buSzPts val="1400"/>
              <a:buFont typeface="Arial"/>
              <a:buNone/>
            </a:pPr>
            <a:r>
              <a:rPr lang="fr-FR" sz="1400" b="1" u="none" strike="noStrike" cap="none">
                <a:solidFill>
                  <a:srgbClr val="FFFFFF"/>
                </a:solidFill>
                <a:latin typeface="Arial"/>
                <a:ea typeface="Arial"/>
                <a:cs typeface="Arial"/>
                <a:sym typeface="Arial"/>
              </a:rPr>
              <a:t>env. </a:t>
            </a:r>
            <a:r>
              <a:rPr lang="fr-FR" sz="1400" b="1">
                <a:solidFill>
                  <a:srgbClr val="FFFFFF"/>
                </a:solidFill>
                <a:latin typeface="Arial"/>
                <a:ea typeface="Arial"/>
                <a:cs typeface="Arial"/>
                <a:sym typeface="Arial"/>
              </a:rPr>
              <a:t>8</a:t>
            </a:r>
            <a:r>
              <a:rPr lang="fr-FR" sz="1400" b="1" u="none" strike="noStrike" cap="none">
                <a:solidFill>
                  <a:srgbClr val="FFFFFF"/>
                </a:solidFill>
                <a:latin typeface="Arial"/>
                <a:ea typeface="Arial"/>
                <a:cs typeface="Arial"/>
                <a:sym typeface="Arial"/>
              </a:rPr>
              <a:t>00</a:t>
            </a:r>
            <a:endParaRPr/>
          </a:p>
          <a:p>
            <a:pPr marL="0" marR="0" lvl="0" indent="0" algn="ctr" rtl="0">
              <a:lnSpc>
                <a:spcPct val="100000"/>
              </a:lnSpc>
              <a:spcBef>
                <a:spcPts val="0"/>
              </a:spcBef>
              <a:spcAft>
                <a:spcPts val="0"/>
              </a:spcAft>
              <a:buClr>
                <a:srgbClr val="FFFFFF"/>
              </a:buClr>
              <a:buSzPts val="1400"/>
              <a:buFont typeface="Arial"/>
              <a:buNone/>
            </a:pPr>
            <a:r>
              <a:rPr lang="fr-FR" sz="1400" b="1" u="none" strike="noStrike" cap="none">
                <a:solidFill>
                  <a:srgbClr val="FFFFFF"/>
                </a:solidFill>
                <a:latin typeface="Arial"/>
                <a:ea typeface="Arial"/>
                <a:cs typeface="Arial"/>
                <a:sym typeface="Arial"/>
              </a:rPr>
              <a:t>Gt CO</a:t>
            </a:r>
            <a:r>
              <a:rPr lang="fr-FR" sz="1400" b="1" u="none" strike="noStrike" cap="none" baseline="-25000">
                <a:solidFill>
                  <a:srgbClr val="FFFFFF"/>
                </a:solidFill>
                <a:latin typeface="Arial"/>
                <a:ea typeface="Arial"/>
                <a:cs typeface="Arial"/>
                <a:sym typeface="Arial"/>
              </a:rPr>
              <a:t>2</a:t>
            </a:r>
            <a:endParaRPr sz="1400" b="1" u="none" strike="noStrike" cap="none">
              <a:solidFill>
                <a:srgbClr val="FFFFFF"/>
              </a:solidFill>
              <a:latin typeface="Arial"/>
              <a:ea typeface="Arial"/>
              <a:cs typeface="Arial"/>
              <a:sym typeface="Arial"/>
            </a:endParaRPr>
          </a:p>
        </p:txBody>
      </p:sp>
      <p:sp>
        <p:nvSpPr>
          <p:cNvPr id="1017" name="Google Shape;1017;p30"/>
          <p:cNvSpPr/>
          <p:nvPr/>
        </p:nvSpPr>
        <p:spPr>
          <a:xfrm>
            <a:off x="6419998" y="3191551"/>
            <a:ext cx="675174" cy="2328993"/>
          </a:xfrm>
          <a:prstGeom prst="rect">
            <a:avLst/>
          </a:prstGeom>
          <a:solidFill>
            <a:srgbClr val="00004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1018" name="Google Shape;1018;p30"/>
          <p:cNvSpPr/>
          <p:nvPr/>
        </p:nvSpPr>
        <p:spPr>
          <a:xfrm>
            <a:off x="6421206" y="3189111"/>
            <a:ext cx="2386504" cy="2330573"/>
          </a:xfrm>
          <a:custGeom>
            <a:avLst/>
            <a:gdLst/>
            <a:ahLst/>
            <a:cxnLst/>
            <a:rect l="l" t="t" r="r" b="b"/>
            <a:pathLst>
              <a:path w="2386504" h="2330573" extrusionOk="0">
                <a:moveTo>
                  <a:pt x="2172" y="0"/>
                </a:moveTo>
                <a:cubicBezTo>
                  <a:pt x="126086" y="367887"/>
                  <a:pt x="321400" y="655187"/>
                  <a:pt x="656927" y="1185333"/>
                </a:cubicBezTo>
                <a:cubicBezTo>
                  <a:pt x="1324962" y="2053926"/>
                  <a:pt x="1762833" y="2118088"/>
                  <a:pt x="2386504" y="2252941"/>
                </a:cubicBezTo>
                <a:cubicBezTo>
                  <a:pt x="2386297" y="2287087"/>
                  <a:pt x="2384140" y="2286155"/>
                  <a:pt x="2384402" y="2330573"/>
                </a:cubicBezTo>
                <a:lnTo>
                  <a:pt x="161" y="2328836"/>
                </a:lnTo>
                <a:cubicBezTo>
                  <a:pt x="-780" y="1858465"/>
                  <a:pt x="2758" y="389345"/>
                  <a:pt x="2172" y="0"/>
                </a:cubicBezTo>
                <a:close/>
              </a:path>
            </a:pathLst>
          </a:custGeom>
          <a:solidFill>
            <a:srgbClr val="00004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1019" name="Google Shape;1019;p30"/>
          <p:cNvPicPr preferRelativeResize="0"/>
          <p:nvPr/>
        </p:nvPicPr>
        <p:blipFill rotWithShape="1">
          <a:blip r:embed="rId10">
            <a:alphaModFix/>
          </a:blip>
          <a:srcRect/>
          <a:stretch/>
        </p:blipFill>
        <p:spPr>
          <a:xfrm rot="927527">
            <a:off x="7126967" y="4004285"/>
            <a:ext cx="827138" cy="827138"/>
          </a:xfrm>
          <a:prstGeom prst="rect">
            <a:avLst/>
          </a:prstGeom>
          <a:noFill/>
          <a:ln>
            <a:noFill/>
          </a:ln>
        </p:spPr>
      </p:pic>
      <p:grpSp>
        <p:nvGrpSpPr>
          <p:cNvPr id="1020" name="Google Shape;1020;p30"/>
          <p:cNvGrpSpPr/>
          <p:nvPr/>
        </p:nvGrpSpPr>
        <p:grpSpPr>
          <a:xfrm>
            <a:off x="9123745" y="3588178"/>
            <a:ext cx="1543066" cy="966688"/>
            <a:chOff x="9123745" y="3588178"/>
            <a:chExt cx="1543066" cy="966688"/>
          </a:xfrm>
        </p:grpSpPr>
        <p:sp>
          <p:nvSpPr>
            <p:cNvPr id="1021" name="Google Shape;1021;p30"/>
            <p:cNvSpPr/>
            <p:nvPr/>
          </p:nvSpPr>
          <p:spPr>
            <a:xfrm>
              <a:off x="9123745" y="3588178"/>
              <a:ext cx="1382639" cy="966688"/>
            </a:xfrm>
            <a:prstGeom prst="roundRect">
              <a:avLst>
                <a:gd name="adj" fmla="val 16667"/>
              </a:avLst>
            </a:prstGeom>
            <a:solidFill>
              <a:srgbClr val="4AD3A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1022" name="Google Shape;1022;p30"/>
            <p:cNvPicPr preferRelativeResize="0"/>
            <p:nvPr/>
          </p:nvPicPr>
          <p:blipFill rotWithShape="1">
            <a:blip r:embed="rId9">
              <a:alphaModFix/>
            </a:blip>
            <a:srcRect/>
            <a:stretch/>
          </p:blipFill>
          <p:spPr>
            <a:xfrm>
              <a:off x="9282835" y="3744202"/>
              <a:ext cx="332821" cy="654639"/>
            </a:xfrm>
            <a:prstGeom prst="rect">
              <a:avLst/>
            </a:prstGeom>
            <a:noFill/>
            <a:ln>
              <a:noFill/>
            </a:ln>
          </p:spPr>
        </p:pic>
        <p:sp>
          <p:nvSpPr>
            <p:cNvPr id="1023" name="Google Shape;1023;p30"/>
            <p:cNvSpPr txBox="1"/>
            <p:nvPr/>
          </p:nvSpPr>
          <p:spPr>
            <a:xfrm>
              <a:off x="9576000" y="3865806"/>
              <a:ext cx="1090811" cy="40446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fr-FR" sz="2000" b="1" dirty="0">
                  <a:solidFill>
                    <a:schemeClr val="lt1"/>
                  </a:solidFill>
                  <a:latin typeface="Calibri"/>
                  <a:ea typeface="Calibri"/>
                  <a:cs typeface="Calibri"/>
                  <a:sym typeface="Calibri"/>
                </a:rPr>
                <a:t>+ 1,3°C</a:t>
              </a:r>
              <a:endParaRPr dirty="0"/>
            </a:p>
          </p:txBody>
        </p:sp>
      </p:grpSp>
    </p:spTree>
    <p:extLst>
      <p:ext uri="{BB962C8B-B14F-4D97-AF65-F5344CB8AC3E}">
        <p14:creationId xmlns:p14="http://schemas.microsoft.com/office/powerpoint/2010/main" val="2002418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02"/>
                                        </p:tgtEl>
                                        <p:attrNameLst>
                                          <p:attrName>style.visibility</p:attrName>
                                        </p:attrNameLst>
                                      </p:cBhvr>
                                      <p:to>
                                        <p:strVal val="visible"/>
                                      </p:to>
                                    </p:set>
                                    <p:animEffect transition="in" filter="fade">
                                      <p:cBhvr>
                                        <p:cTn id="7" dur="500"/>
                                        <p:tgtEl>
                                          <p:spTgt spid="100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05"/>
                                        </p:tgtEl>
                                        <p:attrNameLst>
                                          <p:attrName>style.visibility</p:attrName>
                                        </p:attrNameLst>
                                      </p:cBhvr>
                                      <p:to>
                                        <p:strVal val="visible"/>
                                      </p:to>
                                    </p:set>
                                    <p:animEffect transition="in" filter="fade">
                                      <p:cBhvr>
                                        <p:cTn id="11" dur="500"/>
                                        <p:tgtEl>
                                          <p:spTgt spid="1005"/>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011"/>
                                        </p:tgtEl>
                                        <p:attrNameLst>
                                          <p:attrName>style.visibility</p:attrName>
                                        </p:attrNameLst>
                                      </p:cBhvr>
                                      <p:to>
                                        <p:strVal val="visible"/>
                                      </p:to>
                                    </p:set>
                                    <p:animEffect transition="in" filter="fade">
                                      <p:cBhvr>
                                        <p:cTn id="16" dur="500"/>
                                        <p:tgtEl>
                                          <p:spTgt spid="101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009"/>
                                        </p:tgtEl>
                                        <p:attrNameLst>
                                          <p:attrName>style.visibility</p:attrName>
                                        </p:attrNameLst>
                                      </p:cBhvr>
                                      <p:to>
                                        <p:strVal val="visible"/>
                                      </p:to>
                                    </p:set>
                                    <p:animEffect transition="in" filter="fade">
                                      <p:cBhvr>
                                        <p:cTn id="21" dur="500"/>
                                        <p:tgtEl>
                                          <p:spTgt spid="1009"/>
                                        </p:tgtEl>
                                      </p:cBhvr>
                                    </p:animEffect>
                                  </p:childTnLst>
                                </p:cTn>
                              </p:par>
                              <p:par>
                                <p:cTn id="22" presetID="10" presetClass="entr" presetSubtype="0" fill="hold" nodeType="withEffect">
                                  <p:stCondLst>
                                    <p:cond delay="0"/>
                                  </p:stCondLst>
                                  <p:childTnLst>
                                    <p:set>
                                      <p:cBhvr>
                                        <p:cTn id="23" dur="1" fill="hold">
                                          <p:stCondLst>
                                            <p:cond delay="0"/>
                                          </p:stCondLst>
                                        </p:cTn>
                                        <p:tgtEl>
                                          <p:spTgt spid="1010"/>
                                        </p:tgtEl>
                                        <p:attrNameLst>
                                          <p:attrName>style.visibility</p:attrName>
                                        </p:attrNameLst>
                                      </p:cBhvr>
                                      <p:to>
                                        <p:strVal val="visible"/>
                                      </p:to>
                                    </p:set>
                                    <p:animEffect transition="in" filter="fade">
                                      <p:cBhvr>
                                        <p:cTn id="24" dur="500"/>
                                        <p:tgtEl>
                                          <p:spTgt spid="1010"/>
                                        </p:tgtEl>
                                      </p:cBhvr>
                                    </p:animEffect>
                                  </p:childTnLst>
                                </p:cTn>
                              </p:par>
                              <p:par>
                                <p:cTn id="25" presetID="10" presetClass="entr" presetSubtype="0" fill="hold" nodeType="withEffect">
                                  <p:stCondLst>
                                    <p:cond delay="0"/>
                                  </p:stCondLst>
                                  <p:childTnLst>
                                    <p:set>
                                      <p:cBhvr>
                                        <p:cTn id="26" dur="1" fill="hold">
                                          <p:stCondLst>
                                            <p:cond delay="0"/>
                                          </p:stCondLst>
                                        </p:cTn>
                                        <p:tgtEl>
                                          <p:spTgt spid="1015"/>
                                        </p:tgtEl>
                                        <p:attrNameLst>
                                          <p:attrName>style.visibility</p:attrName>
                                        </p:attrNameLst>
                                      </p:cBhvr>
                                      <p:to>
                                        <p:strVal val="visible"/>
                                      </p:to>
                                    </p:set>
                                    <p:animEffect transition="in" filter="fade">
                                      <p:cBhvr>
                                        <p:cTn id="27" dur="500"/>
                                        <p:tgtEl>
                                          <p:spTgt spid="1015"/>
                                        </p:tgtEl>
                                      </p:cBhvr>
                                    </p:animEffect>
                                  </p:childTnLst>
                                </p:cTn>
                              </p:par>
                              <p:par>
                                <p:cTn id="28" presetID="10" presetClass="entr" presetSubtype="0" fill="hold" nodeType="withEffect">
                                  <p:stCondLst>
                                    <p:cond delay="0"/>
                                  </p:stCondLst>
                                  <p:childTnLst>
                                    <p:set>
                                      <p:cBhvr>
                                        <p:cTn id="29" dur="1" fill="hold">
                                          <p:stCondLst>
                                            <p:cond delay="0"/>
                                          </p:stCondLst>
                                        </p:cTn>
                                        <p:tgtEl>
                                          <p:spTgt spid="1016"/>
                                        </p:tgtEl>
                                        <p:attrNameLst>
                                          <p:attrName>style.visibility</p:attrName>
                                        </p:attrNameLst>
                                      </p:cBhvr>
                                      <p:to>
                                        <p:strVal val="visible"/>
                                      </p:to>
                                    </p:set>
                                    <p:animEffect transition="in" filter="fade">
                                      <p:cBhvr>
                                        <p:cTn id="30" dur="500"/>
                                        <p:tgtEl>
                                          <p:spTgt spid="1016"/>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1017"/>
                                        </p:tgtEl>
                                        <p:attrNameLst>
                                          <p:attrName>style.visibility</p:attrName>
                                        </p:attrNameLst>
                                      </p:cBhvr>
                                      <p:to>
                                        <p:strVal val="visible"/>
                                      </p:to>
                                    </p:set>
                                    <p:animEffect transition="in" filter="fade">
                                      <p:cBhvr>
                                        <p:cTn id="35" dur="500"/>
                                        <p:tgtEl>
                                          <p:spTgt spid="1017"/>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xit" presetSubtype="0" fill="hold" nodeType="clickEffect">
                                  <p:stCondLst>
                                    <p:cond delay="0"/>
                                  </p:stCondLst>
                                  <p:childTnLst>
                                    <p:animEffect transition="out" filter="fade">
                                      <p:cBhvr>
                                        <p:cTn id="39" dur="1000"/>
                                        <p:tgtEl>
                                          <p:spTgt spid="1017"/>
                                        </p:tgtEl>
                                      </p:cBhvr>
                                    </p:animEffect>
                                    <p:set>
                                      <p:cBhvr>
                                        <p:cTn id="40" dur="1" fill="hold">
                                          <p:stCondLst>
                                            <p:cond delay="1000"/>
                                          </p:stCondLst>
                                        </p:cTn>
                                        <p:tgtEl>
                                          <p:spTgt spid="1017"/>
                                        </p:tgtEl>
                                        <p:attrNameLst>
                                          <p:attrName>style.visibility</p:attrName>
                                        </p:attrNameLst>
                                      </p:cBhvr>
                                      <p:to>
                                        <p:strVal val="hidden"/>
                                      </p:to>
                                    </p:set>
                                  </p:childTnLst>
                                </p:cTn>
                              </p:par>
                              <p:par>
                                <p:cTn id="41" presetID="10" presetClass="entr" presetSubtype="0" fill="hold" nodeType="withEffect">
                                  <p:stCondLst>
                                    <p:cond delay="0"/>
                                  </p:stCondLst>
                                  <p:childTnLst>
                                    <p:set>
                                      <p:cBhvr>
                                        <p:cTn id="42" dur="1" fill="hold">
                                          <p:stCondLst>
                                            <p:cond delay="0"/>
                                          </p:stCondLst>
                                        </p:cTn>
                                        <p:tgtEl>
                                          <p:spTgt spid="1018"/>
                                        </p:tgtEl>
                                        <p:attrNameLst>
                                          <p:attrName>style.visibility</p:attrName>
                                        </p:attrNameLst>
                                      </p:cBhvr>
                                      <p:to>
                                        <p:strVal val="visible"/>
                                      </p:to>
                                    </p:set>
                                    <p:animEffect transition="in" filter="fade">
                                      <p:cBhvr>
                                        <p:cTn id="43" dur="1000"/>
                                        <p:tgtEl>
                                          <p:spTgt spid="1018"/>
                                        </p:tgtEl>
                                      </p:cBhvr>
                                    </p:animEffect>
                                  </p:childTnLst>
                                </p:cTn>
                              </p:par>
                            </p:childTnLst>
                          </p:cTn>
                        </p:par>
                        <p:par>
                          <p:cTn id="44" fill="hold">
                            <p:stCondLst>
                              <p:cond delay="1000"/>
                            </p:stCondLst>
                            <p:childTnLst>
                              <p:par>
                                <p:cTn id="45" presetID="10" presetClass="entr" presetSubtype="0" fill="hold" nodeType="afterEffect">
                                  <p:stCondLst>
                                    <p:cond delay="0"/>
                                  </p:stCondLst>
                                  <p:childTnLst>
                                    <p:set>
                                      <p:cBhvr>
                                        <p:cTn id="46" dur="1" fill="hold">
                                          <p:stCondLst>
                                            <p:cond delay="0"/>
                                          </p:stCondLst>
                                        </p:cTn>
                                        <p:tgtEl>
                                          <p:spTgt spid="1019"/>
                                        </p:tgtEl>
                                        <p:attrNameLst>
                                          <p:attrName>style.visibility</p:attrName>
                                        </p:attrNameLst>
                                      </p:cBhvr>
                                      <p:to>
                                        <p:strVal val="visible"/>
                                      </p:to>
                                    </p:set>
                                    <p:animEffect transition="in" filter="fade">
                                      <p:cBhvr>
                                        <p:cTn id="47" dur="500"/>
                                        <p:tgtEl>
                                          <p:spTgt spid="10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idx="12"/>
          </p:nvPr>
        </p:nvSpPr>
        <p:spPr/>
        <p:txBody>
          <a:bodyPr/>
          <a:lstStyle/>
          <a:p>
            <a:pPr marL="0" lvl="0" indent="0" algn="r" rtl="0">
              <a:spcBef>
                <a:spcPts val="0"/>
              </a:spcBef>
              <a:spcAft>
                <a:spcPts val="0"/>
              </a:spcAft>
              <a:buNone/>
            </a:pPr>
            <a:fld id="{00000000-1234-1234-1234-123412341234}" type="slidenum">
              <a:rPr lang="fr-FR" smtClean="0"/>
              <a:t>5</a:t>
            </a:fld>
            <a:endParaRPr lang="fr-FR"/>
          </a:p>
        </p:txBody>
      </p:sp>
      <p:sp>
        <p:nvSpPr>
          <p:cNvPr id="3" name="Titre 2"/>
          <p:cNvSpPr>
            <a:spLocks noGrp="1"/>
          </p:cNvSpPr>
          <p:nvPr>
            <p:ph type="title"/>
          </p:nvPr>
        </p:nvSpPr>
        <p:spPr/>
        <p:txBody>
          <a:bodyPr>
            <a:normAutofit/>
          </a:bodyPr>
          <a:lstStyle/>
          <a:p>
            <a:pPr indent="-12700"/>
            <a:r>
              <a:rPr lang="fr-FR" dirty="0"/>
              <a:t>Transformer l’économie française, avec ou sans nucléaire ?</a:t>
            </a:r>
          </a:p>
        </p:txBody>
      </p:sp>
      <p:sp>
        <p:nvSpPr>
          <p:cNvPr id="4" name="Espace réservé du texte 3"/>
          <p:cNvSpPr>
            <a:spLocks noGrp="1"/>
          </p:cNvSpPr>
          <p:nvPr>
            <p:ph type="body" idx="1"/>
          </p:nvPr>
        </p:nvSpPr>
        <p:spPr>
          <a:xfrm>
            <a:off x="695325" y="1348303"/>
            <a:ext cx="11392597" cy="4952137"/>
          </a:xfrm>
        </p:spPr>
        <p:txBody>
          <a:bodyPr/>
          <a:lstStyle/>
          <a:p>
            <a:endParaRPr lang="fr-FR" dirty="0"/>
          </a:p>
          <a:p>
            <a:pPr marL="228600" indent="0"/>
            <a:r>
              <a:rPr lang="fr-FR" dirty="0">
                <a:solidFill>
                  <a:schemeClr val="tx2">
                    <a:lumMod val="20000"/>
                    <a:lumOff val="80000"/>
                  </a:schemeClr>
                </a:solidFill>
              </a:rPr>
              <a:t>1- Contexte : émissions anthropiques de CO2 depuis 1850 (5 min) </a:t>
            </a:r>
          </a:p>
          <a:p>
            <a:pPr marL="228600" indent="0"/>
            <a:br>
              <a:rPr lang="fr-FR" dirty="0"/>
            </a:br>
            <a:r>
              <a:rPr lang="fr-FR" dirty="0"/>
              <a:t>2- Consommation mondiale d’énergie (5 min)</a:t>
            </a:r>
          </a:p>
          <a:p>
            <a:pPr marL="228600" indent="0"/>
            <a:br>
              <a:rPr lang="fr-FR" dirty="0">
                <a:solidFill>
                  <a:schemeClr val="tx2">
                    <a:lumMod val="20000"/>
                    <a:lumOff val="80000"/>
                  </a:schemeClr>
                </a:solidFill>
              </a:rPr>
            </a:br>
            <a:r>
              <a:rPr lang="fr-FR" dirty="0">
                <a:solidFill>
                  <a:schemeClr val="tx2">
                    <a:lumMod val="20000"/>
                    <a:lumOff val="80000"/>
                  </a:schemeClr>
                </a:solidFill>
              </a:rPr>
              <a:t>3- Panorama du nucléaire civil dans le monde (5 min)</a:t>
            </a:r>
          </a:p>
          <a:p>
            <a:endParaRPr lang="fr-FR" dirty="0"/>
          </a:p>
        </p:txBody>
      </p:sp>
    </p:spTree>
    <p:extLst>
      <p:ext uri="{BB962C8B-B14F-4D97-AF65-F5344CB8AC3E}">
        <p14:creationId xmlns:p14="http://schemas.microsoft.com/office/powerpoint/2010/main" val="26872564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Box 32">
            <a:extLst>
              <a:ext uri="{FF2B5EF4-FFF2-40B4-BE49-F238E27FC236}">
                <a16:creationId xmlns:a16="http://schemas.microsoft.com/office/drawing/2014/main" id="{804A5BAF-A3C4-4068-9FB9-1FFA20AD5D97}"/>
              </a:ext>
            </a:extLst>
          </p:cNvPr>
          <p:cNvSpPr txBox="1">
            <a:spLocks noChangeArrowheads="1"/>
          </p:cNvSpPr>
          <p:nvPr/>
        </p:nvSpPr>
        <p:spPr bwMode="auto">
          <a:xfrm>
            <a:off x="1436689" y="6093011"/>
            <a:ext cx="10043268"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defTabSz="914377">
              <a:spcBef>
                <a:spcPct val="50000"/>
              </a:spcBef>
            </a:pPr>
            <a:r>
              <a:rPr lang="fr-FR" altLang="fr-FR" b="1" dirty="0">
                <a:latin typeface="Century Gothic" panose="020B0502020202020204" pitchFamily="34" charset="0"/>
              </a:rPr>
              <a:t>       1800			2000				2100 ?			</a:t>
            </a:r>
            <a:endParaRPr lang="fr-FR" altLang="fr-FR" b="1" dirty="0">
              <a:solidFill>
                <a:prstClr val="black"/>
              </a:solidFill>
              <a:latin typeface="Century Gothic" panose="020B0502020202020204" pitchFamily="34" charset="0"/>
            </a:endParaRPr>
          </a:p>
        </p:txBody>
      </p:sp>
      <p:sp>
        <p:nvSpPr>
          <p:cNvPr id="22" name="Text Box 32">
            <a:extLst>
              <a:ext uri="{FF2B5EF4-FFF2-40B4-BE49-F238E27FC236}">
                <a16:creationId xmlns:a16="http://schemas.microsoft.com/office/drawing/2014/main" id="{61E22BF7-EFF3-4FF9-B80B-056E756E503D}"/>
              </a:ext>
            </a:extLst>
          </p:cNvPr>
          <p:cNvSpPr txBox="1">
            <a:spLocks noChangeArrowheads="1"/>
          </p:cNvSpPr>
          <p:nvPr/>
        </p:nvSpPr>
        <p:spPr bwMode="auto">
          <a:xfrm>
            <a:off x="1685927" y="6091824"/>
            <a:ext cx="9866312"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defTabSz="914377">
              <a:spcBef>
                <a:spcPct val="50000"/>
              </a:spcBef>
            </a:pPr>
            <a:r>
              <a:rPr lang="fr-FR" altLang="fr-FR" b="1" dirty="0">
                <a:solidFill>
                  <a:prstClr val="black"/>
                </a:solidFill>
                <a:latin typeface="Century Gothic" panose="020B0502020202020204" pitchFamily="34" charset="0"/>
              </a:rPr>
              <a:t>-10 000             -8000             -6000               -4000              -2000               0                2000</a:t>
            </a:r>
          </a:p>
        </p:txBody>
      </p:sp>
      <p:sp>
        <p:nvSpPr>
          <p:cNvPr id="3" name="Rectangle 1"/>
          <p:cNvSpPr>
            <a:spLocks noChangeArrowheads="1"/>
          </p:cNvSpPr>
          <p:nvPr/>
        </p:nvSpPr>
        <p:spPr bwMode="auto">
          <a:xfrm>
            <a:off x="247251" y="1985840"/>
            <a:ext cx="11944749" cy="5744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20" tIns="60960" rIns="121920" bIns="60960" numCol="1" anchor="ctr" anchorCtr="0" compatLnSpc="1">
            <a:prstTxWarp prst="textNoShape">
              <a:avLst/>
            </a:prstTxWarp>
            <a:spAutoFit/>
          </a:bodyPr>
          <a:lstStyle/>
          <a:p>
            <a:pPr defTabSz="1219170" eaLnBrk="0" fontAlgn="base" hangingPunct="0">
              <a:spcBef>
                <a:spcPct val="0"/>
              </a:spcBef>
              <a:spcAft>
                <a:spcPct val="0"/>
              </a:spcAft>
            </a:pPr>
            <a:endParaRPr lang="fr-FR" sz="2933" dirty="0"/>
          </a:p>
        </p:txBody>
      </p:sp>
      <p:sp>
        <p:nvSpPr>
          <p:cNvPr id="2" name="Titre 1"/>
          <p:cNvSpPr>
            <a:spLocks noGrp="1"/>
          </p:cNvSpPr>
          <p:nvPr>
            <p:ph type="title"/>
          </p:nvPr>
        </p:nvSpPr>
        <p:spPr>
          <a:xfrm>
            <a:off x="334434" y="567533"/>
            <a:ext cx="8606367" cy="332399"/>
          </a:xfrm>
        </p:spPr>
        <p:txBody>
          <a:bodyPr/>
          <a:lstStyle/>
          <a:p>
            <a:r>
              <a:rPr lang="fr-FR" dirty="0"/>
              <a:t>2- Consommation mondiale d’énergie </a:t>
            </a:r>
          </a:p>
        </p:txBody>
      </p:sp>
      <p:sp>
        <p:nvSpPr>
          <p:cNvPr id="8" name="Espace réservé du numéro de diapositive 7"/>
          <p:cNvSpPr>
            <a:spLocks noGrp="1"/>
          </p:cNvSpPr>
          <p:nvPr>
            <p:ph type="sldNum" sz="quarter" idx="17"/>
          </p:nvPr>
        </p:nvSpPr>
        <p:spPr/>
        <p:txBody>
          <a:bodyPr/>
          <a:lstStyle/>
          <a:p>
            <a:fld id="{4D2FDC22-80BD-4979-B76F-73272F05F8A8}" type="slidenum">
              <a:rPr lang="fr-FR" smtClean="0">
                <a:solidFill>
                  <a:srgbClr val="B4B4B4"/>
                </a:solidFill>
              </a:rPr>
              <a:pPr/>
              <a:t>6</a:t>
            </a:fld>
            <a:endParaRPr lang="fr-FR" dirty="0">
              <a:solidFill>
                <a:srgbClr val="B4B4B4"/>
              </a:solidFill>
            </a:endParaRPr>
          </a:p>
        </p:txBody>
      </p:sp>
      <p:sp>
        <p:nvSpPr>
          <p:cNvPr id="9" name="Line 31">
            <a:extLst>
              <a:ext uri="{FF2B5EF4-FFF2-40B4-BE49-F238E27FC236}">
                <a16:creationId xmlns:a16="http://schemas.microsoft.com/office/drawing/2014/main" id="{0EAC2396-800C-4FB8-B9B0-2D81C645C593}"/>
              </a:ext>
            </a:extLst>
          </p:cNvPr>
          <p:cNvSpPr>
            <a:spLocks noChangeShapeType="1"/>
          </p:cNvSpPr>
          <p:nvPr/>
        </p:nvSpPr>
        <p:spPr bwMode="auto">
          <a:xfrm flipV="1">
            <a:off x="2046288" y="1125726"/>
            <a:ext cx="0" cy="4967287"/>
          </a:xfrm>
          <a:prstGeom prst="line">
            <a:avLst/>
          </a:prstGeom>
          <a:noFill/>
          <a:ln w="50800">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pPr defTabSz="914377"/>
            <a:endParaRPr lang="fr-FR">
              <a:latin typeface="Century Gothic" panose="020B0502020202020204" pitchFamily="34" charset="0"/>
            </a:endParaRPr>
          </a:p>
        </p:txBody>
      </p:sp>
      <p:sp>
        <p:nvSpPr>
          <p:cNvPr id="10" name="Text Box 32">
            <a:extLst>
              <a:ext uri="{FF2B5EF4-FFF2-40B4-BE49-F238E27FC236}">
                <a16:creationId xmlns:a16="http://schemas.microsoft.com/office/drawing/2014/main" id="{24324F7C-C86C-4750-9FC4-92016E8F78DF}"/>
              </a:ext>
            </a:extLst>
          </p:cNvPr>
          <p:cNvSpPr txBox="1">
            <a:spLocks noChangeArrowheads="1"/>
          </p:cNvSpPr>
          <p:nvPr/>
        </p:nvSpPr>
        <p:spPr bwMode="auto">
          <a:xfrm rot="-5400000">
            <a:off x="-829468" y="3670586"/>
            <a:ext cx="4537075"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ctr" defTabSz="914377">
              <a:spcBef>
                <a:spcPct val="50000"/>
              </a:spcBef>
            </a:pPr>
            <a:r>
              <a:rPr lang="fr-FR" altLang="fr-FR" b="1">
                <a:solidFill>
                  <a:prstClr val="black"/>
                </a:solidFill>
                <a:latin typeface="Century Gothic" panose="020B0502020202020204" pitchFamily="34" charset="0"/>
              </a:rPr>
              <a:t>Milliards de tonnes équivalent pétrole</a:t>
            </a:r>
          </a:p>
        </p:txBody>
      </p:sp>
      <p:sp>
        <p:nvSpPr>
          <p:cNvPr id="11" name="ZoneTexte 15">
            <a:extLst>
              <a:ext uri="{FF2B5EF4-FFF2-40B4-BE49-F238E27FC236}">
                <a16:creationId xmlns:a16="http://schemas.microsoft.com/office/drawing/2014/main" id="{95C691F8-11B4-4A09-AEDE-D8B6295B045F}"/>
              </a:ext>
            </a:extLst>
          </p:cNvPr>
          <p:cNvSpPr txBox="1">
            <a:spLocks noChangeArrowheads="1"/>
          </p:cNvSpPr>
          <p:nvPr/>
        </p:nvSpPr>
        <p:spPr bwMode="auto">
          <a:xfrm>
            <a:off x="1398590" y="1486087"/>
            <a:ext cx="720725" cy="37548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r" defTabSz="914377"/>
            <a:r>
              <a:rPr lang="fr-FR" altLang="fr-FR" b="1" dirty="0">
                <a:solidFill>
                  <a:prstClr val="black"/>
                </a:solidFill>
                <a:latin typeface="Century Gothic" panose="020B0502020202020204" pitchFamily="34" charset="0"/>
              </a:rPr>
              <a:t>25 -</a:t>
            </a:r>
          </a:p>
          <a:p>
            <a:pPr algn="r" defTabSz="914377"/>
            <a:endParaRPr lang="fr-FR" altLang="fr-FR" b="1" dirty="0">
              <a:solidFill>
                <a:prstClr val="black"/>
              </a:solidFill>
              <a:latin typeface="Century Gothic" panose="020B0502020202020204" pitchFamily="34" charset="0"/>
            </a:endParaRPr>
          </a:p>
          <a:p>
            <a:pPr algn="r" defTabSz="914377"/>
            <a:endParaRPr lang="fr-FR" altLang="fr-FR" b="1" dirty="0">
              <a:solidFill>
                <a:prstClr val="black"/>
              </a:solidFill>
              <a:latin typeface="Century Gothic" panose="020B0502020202020204" pitchFamily="34" charset="0"/>
            </a:endParaRPr>
          </a:p>
          <a:p>
            <a:pPr algn="r" defTabSz="914377"/>
            <a:endParaRPr lang="fr-FR" altLang="fr-FR" b="1" dirty="0">
              <a:solidFill>
                <a:prstClr val="black"/>
              </a:solidFill>
              <a:latin typeface="Century Gothic" panose="020B0502020202020204" pitchFamily="34" charset="0"/>
            </a:endParaRPr>
          </a:p>
          <a:p>
            <a:pPr algn="r" defTabSz="914377"/>
            <a:r>
              <a:rPr lang="fr-FR" altLang="fr-FR" b="1" dirty="0">
                <a:solidFill>
                  <a:prstClr val="black"/>
                </a:solidFill>
                <a:latin typeface="Century Gothic" panose="020B0502020202020204" pitchFamily="34" charset="0"/>
              </a:rPr>
              <a:t>20 -</a:t>
            </a:r>
          </a:p>
          <a:p>
            <a:pPr algn="r" defTabSz="914377"/>
            <a:endParaRPr lang="fr-FR" altLang="fr-FR" b="1" dirty="0">
              <a:solidFill>
                <a:prstClr val="black"/>
              </a:solidFill>
              <a:latin typeface="Century Gothic" panose="020B0502020202020204" pitchFamily="34" charset="0"/>
            </a:endParaRPr>
          </a:p>
          <a:p>
            <a:pPr algn="r" defTabSz="914377"/>
            <a:endParaRPr lang="fr-FR" altLang="fr-FR" b="1" dirty="0">
              <a:solidFill>
                <a:prstClr val="black"/>
              </a:solidFill>
              <a:latin typeface="Century Gothic" panose="020B0502020202020204" pitchFamily="34" charset="0"/>
            </a:endParaRPr>
          </a:p>
          <a:p>
            <a:pPr algn="r" defTabSz="914377"/>
            <a:endParaRPr lang="fr-FR" altLang="fr-FR" b="1" dirty="0">
              <a:solidFill>
                <a:prstClr val="black"/>
              </a:solidFill>
              <a:latin typeface="Century Gothic" panose="020B0502020202020204" pitchFamily="34" charset="0"/>
            </a:endParaRPr>
          </a:p>
          <a:p>
            <a:pPr algn="r" defTabSz="914377"/>
            <a:r>
              <a:rPr lang="fr-FR" altLang="fr-FR" b="1" dirty="0">
                <a:solidFill>
                  <a:prstClr val="black"/>
                </a:solidFill>
                <a:latin typeface="Century Gothic" panose="020B0502020202020204" pitchFamily="34" charset="0"/>
              </a:rPr>
              <a:t>10 -</a:t>
            </a:r>
          </a:p>
          <a:p>
            <a:pPr algn="r" defTabSz="914377"/>
            <a:endParaRPr lang="fr-FR" altLang="fr-FR" b="1" dirty="0">
              <a:solidFill>
                <a:prstClr val="black"/>
              </a:solidFill>
              <a:latin typeface="Century Gothic" panose="020B0502020202020204" pitchFamily="34" charset="0"/>
            </a:endParaRPr>
          </a:p>
          <a:p>
            <a:pPr algn="r" defTabSz="914377"/>
            <a:endParaRPr lang="fr-FR" altLang="fr-FR" b="1" dirty="0">
              <a:solidFill>
                <a:prstClr val="black"/>
              </a:solidFill>
              <a:latin typeface="Century Gothic" panose="020B0502020202020204" pitchFamily="34" charset="0"/>
            </a:endParaRPr>
          </a:p>
          <a:p>
            <a:pPr algn="r" defTabSz="914377"/>
            <a:endParaRPr lang="fr-FR" altLang="fr-FR" b="1" dirty="0">
              <a:solidFill>
                <a:prstClr val="black"/>
              </a:solidFill>
              <a:latin typeface="Century Gothic" panose="020B0502020202020204" pitchFamily="34" charset="0"/>
            </a:endParaRPr>
          </a:p>
          <a:p>
            <a:pPr algn="r" defTabSz="914377"/>
            <a:r>
              <a:rPr lang="fr-FR" altLang="fr-FR" b="1" dirty="0">
                <a:solidFill>
                  <a:prstClr val="black"/>
                </a:solidFill>
                <a:latin typeface="Century Gothic" panose="020B0502020202020204" pitchFamily="34" charset="0"/>
              </a:rPr>
              <a:t>5 -</a:t>
            </a:r>
          </a:p>
          <a:p>
            <a:pPr algn="r" defTabSz="914377"/>
            <a:endParaRPr lang="fr-FR" altLang="fr-FR" b="1" dirty="0">
              <a:solidFill>
                <a:prstClr val="black"/>
              </a:solidFill>
              <a:latin typeface="Century Gothic" panose="020B0502020202020204" pitchFamily="34" charset="0"/>
            </a:endParaRPr>
          </a:p>
          <a:p>
            <a:pPr algn="r" defTabSz="914377"/>
            <a:endParaRPr lang="fr-FR" altLang="fr-FR" b="1" dirty="0">
              <a:solidFill>
                <a:prstClr val="black"/>
              </a:solidFill>
              <a:latin typeface="Century Gothic" panose="020B0502020202020204" pitchFamily="34" charset="0"/>
            </a:endParaRPr>
          </a:p>
          <a:p>
            <a:pPr algn="r" defTabSz="914377"/>
            <a:endParaRPr lang="fr-FR" altLang="fr-FR" b="1" dirty="0">
              <a:solidFill>
                <a:prstClr val="black"/>
              </a:solidFill>
              <a:latin typeface="Century Gothic" panose="020B0502020202020204" pitchFamily="34" charset="0"/>
            </a:endParaRPr>
          </a:p>
          <a:p>
            <a:pPr algn="r" defTabSz="914377"/>
            <a:r>
              <a:rPr lang="fr-FR" altLang="fr-FR" b="1" dirty="0">
                <a:solidFill>
                  <a:prstClr val="black"/>
                </a:solidFill>
                <a:latin typeface="Century Gothic" panose="020B0502020202020204" pitchFamily="34" charset="0"/>
              </a:rPr>
              <a:t>0 -</a:t>
            </a:r>
          </a:p>
        </p:txBody>
      </p:sp>
      <p:grpSp>
        <p:nvGrpSpPr>
          <p:cNvPr id="12" name="Groupe 24">
            <a:extLst>
              <a:ext uri="{FF2B5EF4-FFF2-40B4-BE49-F238E27FC236}">
                <a16:creationId xmlns:a16="http://schemas.microsoft.com/office/drawing/2014/main" id="{ED631A1C-341A-42A2-92A6-74D3609D616F}"/>
              </a:ext>
            </a:extLst>
          </p:cNvPr>
          <p:cNvGrpSpPr>
            <a:grpSpLocks/>
          </p:cNvGrpSpPr>
          <p:nvPr/>
        </p:nvGrpSpPr>
        <p:grpSpPr bwMode="auto">
          <a:xfrm>
            <a:off x="2076702" y="1376874"/>
            <a:ext cx="9057887" cy="4704980"/>
            <a:chOff x="1073399" y="1376099"/>
            <a:chExt cx="9057797" cy="4713482"/>
          </a:xfrm>
        </p:grpSpPr>
        <p:sp>
          <p:nvSpPr>
            <p:cNvPr id="13" name="Rectangle 23">
              <a:extLst>
                <a:ext uri="{FF2B5EF4-FFF2-40B4-BE49-F238E27FC236}">
                  <a16:creationId xmlns:a16="http://schemas.microsoft.com/office/drawing/2014/main" id="{9E52D319-CEE7-444B-A82F-436EDBA1DDC1}"/>
                </a:ext>
              </a:extLst>
            </p:cNvPr>
            <p:cNvSpPr>
              <a:spLocks noChangeArrowheads="1"/>
            </p:cNvSpPr>
            <p:nvPr/>
          </p:nvSpPr>
          <p:spPr bwMode="auto">
            <a:xfrm>
              <a:off x="9771156" y="1376099"/>
              <a:ext cx="360040" cy="4536504"/>
            </a:xfrm>
            <a:prstGeom prst="rect">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a:lstStyle/>
            <a:p>
              <a:pPr defTabSz="914377"/>
              <a:endParaRPr lang="fr-FR" altLang="fr-FR">
                <a:latin typeface="Century Gothic" panose="020B0502020202020204" pitchFamily="34" charset="0"/>
              </a:endParaRPr>
            </a:p>
          </p:txBody>
        </p:sp>
        <p:sp>
          <p:nvSpPr>
            <p:cNvPr id="14" name="Forme libre 13">
              <a:extLst>
                <a:ext uri="{FF2B5EF4-FFF2-40B4-BE49-F238E27FC236}">
                  <a16:creationId xmlns:a16="http://schemas.microsoft.com/office/drawing/2014/main" id="{523D7039-2EB9-44CC-A267-582B23710DE9}"/>
                </a:ext>
              </a:extLst>
            </p:cNvPr>
            <p:cNvSpPr/>
            <p:nvPr/>
          </p:nvSpPr>
          <p:spPr bwMode="auto">
            <a:xfrm>
              <a:off x="1073399" y="1623480"/>
              <a:ext cx="7617791" cy="4466101"/>
            </a:xfrm>
            <a:custGeom>
              <a:avLst/>
              <a:gdLst>
                <a:gd name="connsiteX0" fmla="*/ 173832 w 2331244"/>
                <a:gd name="connsiteY0" fmla="*/ 5938837 h 5967412"/>
                <a:gd name="connsiteX1" fmla="*/ 216694 w 2331244"/>
                <a:gd name="connsiteY1" fmla="*/ 2738437 h 5967412"/>
                <a:gd name="connsiteX2" fmla="*/ 2316957 w 2331244"/>
                <a:gd name="connsiteY2" fmla="*/ 538162 h 5967412"/>
                <a:gd name="connsiteX3" fmla="*/ 2331244 w 2331244"/>
                <a:gd name="connsiteY3" fmla="*/ 5967412 h 5967412"/>
                <a:gd name="connsiteX4" fmla="*/ 173832 w 2331244"/>
                <a:gd name="connsiteY4" fmla="*/ 5938837 h 5967412"/>
                <a:gd name="connsiteX0" fmla="*/ 198281 w 2355693"/>
                <a:gd name="connsiteY0" fmla="*/ 5938837 h 5967412"/>
                <a:gd name="connsiteX1" fmla="*/ 216694 w 2355693"/>
                <a:gd name="connsiteY1" fmla="*/ 1365721 h 5967412"/>
                <a:gd name="connsiteX2" fmla="*/ 2341406 w 2355693"/>
                <a:gd name="connsiteY2" fmla="*/ 538162 h 5967412"/>
                <a:gd name="connsiteX3" fmla="*/ 2355693 w 2355693"/>
                <a:gd name="connsiteY3" fmla="*/ 5967412 h 5967412"/>
                <a:gd name="connsiteX4" fmla="*/ 198281 w 2355693"/>
                <a:gd name="connsiteY4" fmla="*/ 5938837 h 5967412"/>
                <a:gd name="connsiteX0" fmla="*/ 0 w 2157412"/>
                <a:gd name="connsiteY0" fmla="*/ 5938837 h 5967412"/>
                <a:gd name="connsiteX1" fmla="*/ 18413 w 2157412"/>
                <a:gd name="connsiteY1" fmla="*/ 1365721 h 5967412"/>
                <a:gd name="connsiteX2" fmla="*/ 2143125 w 2157412"/>
                <a:gd name="connsiteY2" fmla="*/ 538162 h 5967412"/>
                <a:gd name="connsiteX3" fmla="*/ 2157412 w 2157412"/>
                <a:gd name="connsiteY3" fmla="*/ 5967412 h 5967412"/>
                <a:gd name="connsiteX4" fmla="*/ 0 w 2157412"/>
                <a:gd name="connsiteY4" fmla="*/ 5938837 h 5967412"/>
                <a:gd name="connsiteX0" fmla="*/ 0 w 2157412"/>
                <a:gd name="connsiteY0" fmla="*/ 5400675 h 5429250"/>
                <a:gd name="connsiteX1" fmla="*/ 18413 w 2157412"/>
                <a:gd name="connsiteY1" fmla="*/ 827559 h 5429250"/>
                <a:gd name="connsiteX2" fmla="*/ 2143125 w 2157412"/>
                <a:gd name="connsiteY2" fmla="*/ 0 h 5429250"/>
                <a:gd name="connsiteX3" fmla="*/ 2157412 w 2157412"/>
                <a:gd name="connsiteY3" fmla="*/ 5429250 h 5429250"/>
                <a:gd name="connsiteX4" fmla="*/ 0 w 2157412"/>
                <a:gd name="connsiteY4" fmla="*/ 5400675 h 5429250"/>
                <a:gd name="connsiteX0" fmla="*/ 366055 w 2145137"/>
                <a:gd name="connsiteY0" fmla="*/ 5076031 h 5429250"/>
                <a:gd name="connsiteX1" fmla="*/ 6138 w 2145137"/>
                <a:gd name="connsiteY1" fmla="*/ 827559 h 5429250"/>
                <a:gd name="connsiteX2" fmla="*/ 2130850 w 2145137"/>
                <a:gd name="connsiteY2" fmla="*/ 0 h 5429250"/>
                <a:gd name="connsiteX3" fmla="*/ 2145137 w 2145137"/>
                <a:gd name="connsiteY3" fmla="*/ 5429250 h 5429250"/>
                <a:gd name="connsiteX4" fmla="*/ 366055 w 2145137"/>
                <a:gd name="connsiteY4" fmla="*/ 5076031 h 5429250"/>
                <a:gd name="connsiteX0" fmla="*/ 6138 w 2145137"/>
                <a:gd name="connsiteY0" fmla="*/ 5436071 h 5436071"/>
                <a:gd name="connsiteX1" fmla="*/ 6138 w 2145137"/>
                <a:gd name="connsiteY1" fmla="*/ 827559 h 5436071"/>
                <a:gd name="connsiteX2" fmla="*/ 2130850 w 2145137"/>
                <a:gd name="connsiteY2" fmla="*/ 0 h 5436071"/>
                <a:gd name="connsiteX3" fmla="*/ 2145137 w 2145137"/>
                <a:gd name="connsiteY3" fmla="*/ 5429250 h 5436071"/>
                <a:gd name="connsiteX4" fmla="*/ 6138 w 2145137"/>
                <a:gd name="connsiteY4" fmla="*/ 5436071 h 5436071"/>
                <a:gd name="connsiteX0" fmla="*/ 6138 w 2130850"/>
                <a:gd name="connsiteY0" fmla="*/ 5436071 h 5436071"/>
                <a:gd name="connsiteX1" fmla="*/ 6138 w 2130850"/>
                <a:gd name="connsiteY1" fmla="*/ 827559 h 5436071"/>
                <a:gd name="connsiteX2" fmla="*/ 2130850 w 2130850"/>
                <a:gd name="connsiteY2" fmla="*/ 0 h 5436071"/>
                <a:gd name="connsiteX3" fmla="*/ 2021676 w 2130850"/>
                <a:gd name="connsiteY3" fmla="*/ 4932015 h 5436071"/>
                <a:gd name="connsiteX4" fmla="*/ 6138 w 2130850"/>
                <a:gd name="connsiteY4" fmla="*/ 5436071 h 5436071"/>
                <a:gd name="connsiteX0" fmla="*/ 6138 w 2165643"/>
                <a:gd name="connsiteY0" fmla="*/ 5436071 h 5436071"/>
                <a:gd name="connsiteX1" fmla="*/ 6138 w 2165643"/>
                <a:gd name="connsiteY1" fmla="*/ 827559 h 5436071"/>
                <a:gd name="connsiteX2" fmla="*/ 2130850 w 2165643"/>
                <a:gd name="connsiteY2" fmla="*/ 0 h 5436071"/>
                <a:gd name="connsiteX3" fmla="*/ 2165643 w 2165643"/>
                <a:gd name="connsiteY3" fmla="*/ 5436071 h 5436071"/>
                <a:gd name="connsiteX4" fmla="*/ 6138 w 2165643"/>
                <a:gd name="connsiteY4" fmla="*/ 5436071 h 5436071"/>
                <a:gd name="connsiteX0" fmla="*/ 6138 w 2165643"/>
                <a:gd name="connsiteY0" fmla="*/ 5184576 h 5184576"/>
                <a:gd name="connsiteX1" fmla="*/ 6138 w 2165643"/>
                <a:gd name="connsiteY1" fmla="*/ 576064 h 5184576"/>
                <a:gd name="connsiteX2" fmla="*/ 2165642 w 2165643"/>
                <a:gd name="connsiteY2" fmla="*/ 0 h 5184576"/>
                <a:gd name="connsiteX3" fmla="*/ 2165643 w 2165643"/>
                <a:gd name="connsiteY3" fmla="*/ 5184576 h 5184576"/>
                <a:gd name="connsiteX4" fmla="*/ 6138 w 2165643"/>
                <a:gd name="connsiteY4" fmla="*/ 5184576 h 5184576"/>
                <a:gd name="connsiteX0" fmla="*/ 6139 w 2165644"/>
                <a:gd name="connsiteY0" fmla="*/ 5184576 h 5184576"/>
                <a:gd name="connsiteX1" fmla="*/ 6138 w 2165644"/>
                <a:gd name="connsiteY1" fmla="*/ 648071 h 5184576"/>
                <a:gd name="connsiteX2" fmla="*/ 2165643 w 2165644"/>
                <a:gd name="connsiteY2" fmla="*/ 0 h 5184576"/>
                <a:gd name="connsiteX3" fmla="*/ 2165644 w 2165644"/>
                <a:gd name="connsiteY3" fmla="*/ 5184576 h 5184576"/>
                <a:gd name="connsiteX4" fmla="*/ 6139 w 2165644"/>
                <a:gd name="connsiteY4" fmla="*/ 5184576 h 5184576"/>
                <a:gd name="connsiteX0" fmla="*/ 6139 w 2165644"/>
                <a:gd name="connsiteY0" fmla="*/ 5256585 h 5256585"/>
                <a:gd name="connsiteX1" fmla="*/ 6138 w 2165644"/>
                <a:gd name="connsiteY1" fmla="*/ 720080 h 5256585"/>
                <a:gd name="connsiteX2" fmla="*/ 2165644 w 2165644"/>
                <a:gd name="connsiteY2" fmla="*/ 0 h 5256585"/>
                <a:gd name="connsiteX3" fmla="*/ 2165644 w 2165644"/>
                <a:gd name="connsiteY3" fmla="*/ 5256585 h 5256585"/>
                <a:gd name="connsiteX4" fmla="*/ 6139 w 2165644"/>
                <a:gd name="connsiteY4" fmla="*/ 5256585 h 5256585"/>
                <a:gd name="connsiteX0" fmla="*/ 78122 w 2237627"/>
                <a:gd name="connsiteY0" fmla="*/ 5256585 h 5256585"/>
                <a:gd name="connsiteX1" fmla="*/ 6138 w 2237627"/>
                <a:gd name="connsiteY1" fmla="*/ 720081 h 5256585"/>
                <a:gd name="connsiteX2" fmla="*/ 2237627 w 2237627"/>
                <a:gd name="connsiteY2" fmla="*/ 0 h 5256585"/>
                <a:gd name="connsiteX3" fmla="*/ 2237627 w 2237627"/>
                <a:gd name="connsiteY3" fmla="*/ 5256585 h 5256585"/>
                <a:gd name="connsiteX4" fmla="*/ 78122 w 2237627"/>
                <a:gd name="connsiteY4" fmla="*/ 5256585 h 5256585"/>
                <a:gd name="connsiteX0" fmla="*/ 6138 w 2237627"/>
                <a:gd name="connsiteY0" fmla="*/ 5256585 h 5256585"/>
                <a:gd name="connsiteX1" fmla="*/ 6138 w 2237627"/>
                <a:gd name="connsiteY1" fmla="*/ 720081 h 5256585"/>
                <a:gd name="connsiteX2" fmla="*/ 2237627 w 2237627"/>
                <a:gd name="connsiteY2" fmla="*/ 0 h 5256585"/>
                <a:gd name="connsiteX3" fmla="*/ 2237627 w 2237627"/>
                <a:gd name="connsiteY3" fmla="*/ 5256585 h 5256585"/>
                <a:gd name="connsiteX4" fmla="*/ 6138 w 2237627"/>
                <a:gd name="connsiteY4" fmla="*/ 5256585 h 5256585"/>
                <a:gd name="connsiteX0" fmla="*/ 12276 w 2243765"/>
                <a:gd name="connsiteY0" fmla="*/ 5256585 h 5256585"/>
                <a:gd name="connsiteX1" fmla="*/ 6138 w 2243765"/>
                <a:gd name="connsiteY1" fmla="*/ 2088232 h 5256585"/>
                <a:gd name="connsiteX2" fmla="*/ 2243765 w 2243765"/>
                <a:gd name="connsiteY2" fmla="*/ 0 h 5256585"/>
                <a:gd name="connsiteX3" fmla="*/ 2243765 w 2243765"/>
                <a:gd name="connsiteY3" fmla="*/ 5256585 h 5256585"/>
                <a:gd name="connsiteX4" fmla="*/ 12276 w 2243765"/>
                <a:gd name="connsiteY4" fmla="*/ 5256585 h 5256585"/>
                <a:gd name="connsiteX0" fmla="*/ 12276 w 2243765"/>
                <a:gd name="connsiteY0" fmla="*/ 3168353 h 3168353"/>
                <a:gd name="connsiteX1" fmla="*/ 6138 w 2243765"/>
                <a:gd name="connsiteY1" fmla="*/ 0 h 3168353"/>
                <a:gd name="connsiteX2" fmla="*/ 2021677 w 2243765"/>
                <a:gd name="connsiteY2" fmla="*/ 2160240 h 3168353"/>
                <a:gd name="connsiteX3" fmla="*/ 2243765 w 2243765"/>
                <a:gd name="connsiteY3" fmla="*/ 3168353 h 3168353"/>
                <a:gd name="connsiteX4" fmla="*/ 12276 w 2243765"/>
                <a:gd name="connsiteY4" fmla="*/ 3168353 h 3168353"/>
                <a:gd name="connsiteX0" fmla="*/ 12276 w 2243765"/>
                <a:gd name="connsiteY0" fmla="*/ 3168353 h 3168353"/>
                <a:gd name="connsiteX1" fmla="*/ 6138 w 2243765"/>
                <a:gd name="connsiteY1" fmla="*/ 0 h 3168353"/>
                <a:gd name="connsiteX2" fmla="*/ 2021677 w 2243765"/>
                <a:gd name="connsiteY2" fmla="*/ 2160240 h 3168353"/>
                <a:gd name="connsiteX3" fmla="*/ 2243765 w 2243765"/>
                <a:gd name="connsiteY3" fmla="*/ 3168353 h 3168353"/>
                <a:gd name="connsiteX4" fmla="*/ 12276 w 2243765"/>
                <a:gd name="connsiteY4" fmla="*/ 3168353 h 3168353"/>
                <a:gd name="connsiteX0" fmla="*/ 12276 w 2243765"/>
                <a:gd name="connsiteY0" fmla="*/ 3168353 h 3168353"/>
                <a:gd name="connsiteX1" fmla="*/ 6138 w 2243765"/>
                <a:gd name="connsiteY1" fmla="*/ 0 h 3168353"/>
                <a:gd name="connsiteX2" fmla="*/ 2237627 w 2243765"/>
                <a:gd name="connsiteY2" fmla="*/ 2232248 h 3168353"/>
                <a:gd name="connsiteX3" fmla="*/ 2243765 w 2243765"/>
                <a:gd name="connsiteY3" fmla="*/ 3168353 h 3168353"/>
                <a:gd name="connsiteX4" fmla="*/ 12276 w 2243765"/>
                <a:gd name="connsiteY4" fmla="*/ 3168353 h 3168353"/>
                <a:gd name="connsiteX0" fmla="*/ 12276 w 2243765"/>
                <a:gd name="connsiteY0" fmla="*/ 3168353 h 3168353"/>
                <a:gd name="connsiteX1" fmla="*/ 6138 w 2243765"/>
                <a:gd name="connsiteY1" fmla="*/ 0 h 3168353"/>
                <a:gd name="connsiteX2" fmla="*/ 2237627 w 2243765"/>
                <a:gd name="connsiteY2" fmla="*/ 3096344 h 3168353"/>
                <a:gd name="connsiteX3" fmla="*/ 2243765 w 2243765"/>
                <a:gd name="connsiteY3" fmla="*/ 3168353 h 3168353"/>
                <a:gd name="connsiteX4" fmla="*/ 12276 w 2243765"/>
                <a:gd name="connsiteY4" fmla="*/ 3168353 h 3168353"/>
                <a:gd name="connsiteX0" fmla="*/ 12276 w 2243765"/>
                <a:gd name="connsiteY0" fmla="*/ 3168353 h 3168353"/>
                <a:gd name="connsiteX1" fmla="*/ 6138 w 2243765"/>
                <a:gd name="connsiteY1" fmla="*/ 0 h 3168353"/>
                <a:gd name="connsiteX2" fmla="*/ 2165644 w 2243765"/>
                <a:gd name="connsiteY2" fmla="*/ 2448272 h 3168353"/>
                <a:gd name="connsiteX3" fmla="*/ 2237627 w 2243765"/>
                <a:gd name="connsiteY3" fmla="*/ 3096344 h 3168353"/>
                <a:gd name="connsiteX4" fmla="*/ 2243765 w 2243765"/>
                <a:gd name="connsiteY4" fmla="*/ 3168353 h 3168353"/>
                <a:gd name="connsiteX5" fmla="*/ 12276 w 2243765"/>
                <a:gd name="connsiteY5" fmla="*/ 3168353 h 3168353"/>
                <a:gd name="connsiteX0" fmla="*/ 12276 w 2243765"/>
                <a:gd name="connsiteY0" fmla="*/ 3168353 h 3168353"/>
                <a:gd name="connsiteX1" fmla="*/ 6138 w 2243765"/>
                <a:gd name="connsiteY1" fmla="*/ 0 h 3168353"/>
                <a:gd name="connsiteX2" fmla="*/ 1085891 w 2243765"/>
                <a:gd name="connsiteY2" fmla="*/ 2160240 h 3168353"/>
                <a:gd name="connsiteX3" fmla="*/ 2165644 w 2243765"/>
                <a:gd name="connsiteY3" fmla="*/ 2448272 h 3168353"/>
                <a:gd name="connsiteX4" fmla="*/ 2237627 w 2243765"/>
                <a:gd name="connsiteY4" fmla="*/ 3096344 h 3168353"/>
                <a:gd name="connsiteX5" fmla="*/ 2243765 w 2243765"/>
                <a:gd name="connsiteY5" fmla="*/ 3168353 h 3168353"/>
                <a:gd name="connsiteX6" fmla="*/ 12276 w 2243765"/>
                <a:gd name="connsiteY6" fmla="*/ 3168353 h 3168353"/>
                <a:gd name="connsiteX0" fmla="*/ 12276 w 2243765"/>
                <a:gd name="connsiteY0" fmla="*/ 3168353 h 3168353"/>
                <a:gd name="connsiteX1" fmla="*/ 6138 w 2243765"/>
                <a:gd name="connsiteY1" fmla="*/ 0 h 3168353"/>
                <a:gd name="connsiteX2" fmla="*/ 1373825 w 2243765"/>
                <a:gd name="connsiteY2" fmla="*/ 2088232 h 3168353"/>
                <a:gd name="connsiteX3" fmla="*/ 2165644 w 2243765"/>
                <a:gd name="connsiteY3" fmla="*/ 2448272 h 3168353"/>
                <a:gd name="connsiteX4" fmla="*/ 2237627 w 2243765"/>
                <a:gd name="connsiteY4" fmla="*/ 3096344 h 3168353"/>
                <a:gd name="connsiteX5" fmla="*/ 2243765 w 2243765"/>
                <a:gd name="connsiteY5" fmla="*/ 3168353 h 3168353"/>
                <a:gd name="connsiteX6" fmla="*/ 12276 w 2243765"/>
                <a:gd name="connsiteY6" fmla="*/ 3168353 h 3168353"/>
                <a:gd name="connsiteX0" fmla="*/ 12276 w 2243765"/>
                <a:gd name="connsiteY0" fmla="*/ 3348373 h 3348373"/>
                <a:gd name="connsiteX1" fmla="*/ 6138 w 2243765"/>
                <a:gd name="connsiteY1" fmla="*/ 180020 h 3348373"/>
                <a:gd name="connsiteX2" fmla="*/ 1373825 w 2243765"/>
                <a:gd name="connsiteY2" fmla="*/ 2268252 h 3348373"/>
                <a:gd name="connsiteX3" fmla="*/ 2165644 w 2243765"/>
                <a:gd name="connsiteY3" fmla="*/ 2628292 h 3348373"/>
                <a:gd name="connsiteX4" fmla="*/ 2237627 w 2243765"/>
                <a:gd name="connsiteY4" fmla="*/ 3276364 h 3348373"/>
                <a:gd name="connsiteX5" fmla="*/ 2243765 w 2243765"/>
                <a:gd name="connsiteY5" fmla="*/ 3348373 h 3348373"/>
                <a:gd name="connsiteX6" fmla="*/ 12276 w 2243765"/>
                <a:gd name="connsiteY6" fmla="*/ 3348373 h 3348373"/>
                <a:gd name="connsiteX0" fmla="*/ 12276 w 2243765"/>
                <a:gd name="connsiteY0" fmla="*/ 3348373 h 3348373"/>
                <a:gd name="connsiteX1" fmla="*/ 6138 w 2243765"/>
                <a:gd name="connsiteY1" fmla="*/ 180020 h 3348373"/>
                <a:gd name="connsiteX2" fmla="*/ 1373825 w 2243765"/>
                <a:gd name="connsiteY2" fmla="*/ 2268252 h 3348373"/>
                <a:gd name="connsiteX3" fmla="*/ 2165644 w 2243765"/>
                <a:gd name="connsiteY3" fmla="*/ 2628292 h 3348373"/>
                <a:gd name="connsiteX4" fmla="*/ 2237627 w 2243765"/>
                <a:gd name="connsiteY4" fmla="*/ 3276364 h 3348373"/>
                <a:gd name="connsiteX5" fmla="*/ 2243765 w 2243765"/>
                <a:gd name="connsiteY5" fmla="*/ 3348373 h 3348373"/>
                <a:gd name="connsiteX6" fmla="*/ 12276 w 2243765"/>
                <a:gd name="connsiteY6" fmla="*/ 3348373 h 3348373"/>
                <a:gd name="connsiteX0" fmla="*/ 12276 w 2243765"/>
                <a:gd name="connsiteY0" fmla="*/ 3348373 h 3348373"/>
                <a:gd name="connsiteX1" fmla="*/ 6138 w 2243765"/>
                <a:gd name="connsiteY1" fmla="*/ 180020 h 3348373"/>
                <a:gd name="connsiteX2" fmla="*/ 1373825 w 2243765"/>
                <a:gd name="connsiteY2" fmla="*/ 2268252 h 3348373"/>
                <a:gd name="connsiteX3" fmla="*/ 2237627 w 2243765"/>
                <a:gd name="connsiteY3" fmla="*/ 2916324 h 3348373"/>
                <a:gd name="connsiteX4" fmla="*/ 2237627 w 2243765"/>
                <a:gd name="connsiteY4" fmla="*/ 3276364 h 3348373"/>
                <a:gd name="connsiteX5" fmla="*/ 2243765 w 2243765"/>
                <a:gd name="connsiteY5" fmla="*/ 3348373 h 3348373"/>
                <a:gd name="connsiteX6" fmla="*/ 12276 w 2243765"/>
                <a:gd name="connsiteY6" fmla="*/ 3348373 h 3348373"/>
                <a:gd name="connsiteX0" fmla="*/ 12276 w 2243765"/>
                <a:gd name="connsiteY0" fmla="*/ 3168353 h 3168353"/>
                <a:gd name="connsiteX1" fmla="*/ 6138 w 2243765"/>
                <a:gd name="connsiteY1" fmla="*/ 0 h 3168353"/>
                <a:gd name="connsiteX2" fmla="*/ 1373825 w 2243765"/>
                <a:gd name="connsiteY2" fmla="*/ 2088232 h 3168353"/>
                <a:gd name="connsiteX3" fmla="*/ 2237627 w 2243765"/>
                <a:gd name="connsiteY3" fmla="*/ 2736304 h 3168353"/>
                <a:gd name="connsiteX4" fmla="*/ 2237627 w 2243765"/>
                <a:gd name="connsiteY4" fmla="*/ 3096344 h 3168353"/>
                <a:gd name="connsiteX5" fmla="*/ 2243765 w 2243765"/>
                <a:gd name="connsiteY5" fmla="*/ 3168353 h 3168353"/>
                <a:gd name="connsiteX6" fmla="*/ 12276 w 2243765"/>
                <a:gd name="connsiteY6" fmla="*/ 3168353 h 3168353"/>
                <a:gd name="connsiteX0" fmla="*/ 12276 w 2243765"/>
                <a:gd name="connsiteY0" fmla="*/ 3168353 h 3168353"/>
                <a:gd name="connsiteX1" fmla="*/ 6138 w 2243765"/>
                <a:gd name="connsiteY1" fmla="*/ 0 h 3168353"/>
                <a:gd name="connsiteX2" fmla="*/ 1373825 w 2243765"/>
                <a:gd name="connsiteY2" fmla="*/ 2088232 h 3168353"/>
                <a:gd name="connsiteX3" fmla="*/ 2237627 w 2243765"/>
                <a:gd name="connsiteY3" fmla="*/ 2736304 h 3168353"/>
                <a:gd name="connsiteX4" fmla="*/ 2243765 w 2243765"/>
                <a:gd name="connsiteY4" fmla="*/ 3168353 h 3168353"/>
                <a:gd name="connsiteX5" fmla="*/ 12276 w 2243765"/>
                <a:gd name="connsiteY5" fmla="*/ 3168353 h 3168353"/>
                <a:gd name="connsiteX0" fmla="*/ 2237627 w 2237627"/>
                <a:gd name="connsiteY0" fmla="*/ 3168353 h 3168353"/>
                <a:gd name="connsiteX1" fmla="*/ 0 w 2237627"/>
                <a:gd name="connsiteY1" fmla="*/ 0 h 3168353"/>
                <a:gd name="connsiteX2" fmla="*/ 1367687 w 2237627"/>
                <a:gd name="connsiteY2" fmla="*/ 2088232 h 3168353"/>
                <a:gd name="connsiteX3" fmla="*/ 2231489 w 2237627"/>
                <a:gd name="connsiteY3" fmla="*/ 2736304 h 3168353"/>
                <a:gd name="connsiteX4" fmla="*/ 2237627 w 2237627"/>
                <a:gd name="connsiteY4" fmla="*/ 3168353 h 3168353"/>
                <a:gd name="connsiteX0" fmla="*/ 7426126 w 7792851"/>
                <a:gd name="connsiteY0" fmla="*/ 1152079 h 1634691"/>
                <a:gd name="connsiteX1" fmla="*/ 0 w 7792851"/>
                <a:gd name="connsiteY1" fmla="*/ 1151781 h 1634691"/>
                <a:gd name="connsiteX2" fmla="*/ 6556186 w 7792851"/>
                <a:gd name="connsiteY2" fmla="*/ 71958 h 1634691"/>
                <a:gd name="connsiteX3" fmla="*/ 7419988 w 7792851"/>
                <a:gd name="connsiteY3" fmla="*/ 720030 h 1634691"/>
                <a:gd name="connsiteX4" fmla="*/ 7426126 w 7792851"/>
                <a:gd name="connsiteY4" fmla="*/ 1152079 h 1634691"/>
                <a:gd name="connsiteX0" fmla="*/ 8324008 w 8486797"/>
                <a:gd name="connsiteY0" fmla="*/ 1104078 h 1104079"/>
                <a:gd name="connsiteX1" fmla="*/ 897882 w 8486797"/>
                <a:gd name="connsiteY1" fmla="*/ 1103780 h 1104079"/>
                <a:gd name="connsiteX2" fmla="*/ 2121495 w 8486797"/>
                <a:gd name="connsiteY2" fmla="*/ 815774 h 1104079"/>
                <a:gd name="connsiteX3" fmla="*/ 7454068 w 8486797"/>
                <a:gd name="connsiteY3" fmla="*/ 23957 h 1104079"/>
                <a:gd name="connsiteX4" fmla="*/ 8317870 w 8486797"/>
                <a:gd name="connsiteY4" fmla="*/ 672029 h 1104079"/>
                <a:gd name="connsiteX5" fmla="*/ 8324008 w 8486797"/>
                <a:gd name="connsiteY5" fmla="*/ 1104078 h 1104079"/>
                <a:gd name="connsiteX0" fmla="*/ 8324008 w 9416706"/>
                <a:gd name="connsiteY0" fmla="*/ 1128172 h 1128172"/>
                <a:gd name="connsiteX1" fmla="*/ 897882 w 9416706"/>
                <a:gd name="connsiteY1" fmla="*/ 1127874 h 1128172"/>
                <a:gd name="connsiteX2" fmla="*/ 2121495 w 9416706"/>
                <a:gd name="connsiteY2" fmla="*/ 839868 h 1128172"/>
                <a:gd name="connsiteX3" fmla="*/ 7454068 w 9416706"/>
                <a:gd name="connsiteY3" fmla="*/ 48051 h 1128172"/>
                <a:gd name="connsiteX4" fmla="*/ 8324008 w 9416706"/>
                <a:gd name="connsiteY4" fmla="*/ 1128172 h 1128172"/>
                <a:gd name="connsiteX0" fmla="*/ 8324008 w 9416706"/>
                <a:gd name="connsiteY0" fmla="*/ 312304 h 312304"/>
                <a:gd name="connsiteX1" fmla="*/ 897882 w 9416706"/>
                <a:gd name="connsiteY1" fmla="*/ 312006 h 312304"/>
                <a:gd name="connsiteX2" fmla="*/ 2121495 w 9416706"/>
                <a:gd name="connsiteY2" fmla="*/ 24000 h 312304"/>
                <a:gd name="connsiteX3" fmla="*/ 3561039 w 9416706"/>
                <a:gd name="connsiteY3" fmla="*/ 168004 h 312304"/>
                <a:gd name="connsiteX4" fmla="*/ 8324008 w 9416706"/>
                <a:gd name="connsiteY4" fmla="*/ 312304 h 312304"/>
                <a:gd name="connsiteX0" fmla="*/ 8324008 w 9562804"/>
                <a:gd name="connsiteY0" fmla="*/ 312304 h 312304"/>
                <a:gd name="connsiteX1" fmla="*/ 897882 w 9562804"/>
                <a:gd name="connsiteY1" fmla="*/ 312006 h 312304"/>
                <a:gd name="connsiteX2" fmla="*/ 2121495 w 9562804"/>
                <a:gd name="connsiteY2" fmla="*/ 24000 h 312304"/>
                <a:gd name="connsiteX3" fmla="*/ 3561039 w 9562804"/>
                <a:gd name="connsiteY3" fmla="*/ 168004 h 312304"/>
                <a:gd name="connsiteX4" fmla="*/ 8311535 w 9562804"/>
                <a:gd name="connsiteY4" fmla="*/ 96003 h 312304"/>
                <a:gd name="connsiteX5" fmla="*/ 8324008 w 9562804"/>
                <a:gd name="connsiteY5" fmla="*/ 312304 h 312304"/>
                <a:gd name="connsiteX0" fmla="*/ 8324008 w 8324008"/>
                <a:gd name="connsiteY0" fmla="*/ 312304 h 312304"/>
                <a:gd name="connsiteX1" fmla="*/ 897882 w 8324008"/>
                <a:gd name="connsiteY1" fmla="*/ 312006 h 312304"/>
                <a:gd name="connsiteX2" fmla="*/ 2121495 w 8324008"/>
                <a:gd name="connsiteY2" fmla="*/ 24000 h 312304"/>
                <a:gd name="connsiteX3" fmla="*/ 3561039 w 8324008"/>
                <a:gd name="connsiteY3" fmla="*/ 168004 h 312304"/>
                <a:gd name="connsiteX4" fmla="*/ 8311535 w 8324008"/>
                <a:gd name="connsiteY4" fmla="*/ 96003 h 312304"/>
                <a:gd name="connsiteX5" fmla="*/ 8324008 w 8324008"/>
                <a:gd name="connsiteY5" fmla="*/ 312304 h 312304"/>
                <a:gd name="connsiteX0" fmla="*/ 8324008 w 8383513"/>
                <a:gd name="connsiteY0" fmla="*/ 312304 h 312304"/>
                <a:gd name="connsiteX1" fmla="*/ 897882 w 8383513"/>
                <a:gd name="connsiteY1" fmla="*/ 312006 h 312304"/>
                <a:gd name="connsiteX2" fmla="*/ 2121495 w 8383513"/>
                <a:gd name="connsiteY2" fmla="*/ 24000 h 312304"/>
                <a:gd name="connsiteX3" fmla="*/ 3561039 w 8383513"/>
                <a:gd name="connsiteY3" fmla="*/ 168004 h 312304"/>
                <a:gd name="connsiteX4" fmla="*/ 8383513 w 8383513"/>
                <a:gd name="connsiteY4" fmla="*/ 168004 h 312304"/>
                <a:gd name="connsiteX5" fmla="*/ 8324008 w 8383513"/>
                <a:gd name="connsiteY5" fmla="*/ 312304 h 312304"/>
                <a:gd name="connsiteX0" fmla="*/ 8324008 w 8324008"/>
                <a:gd name="connsiteY0" fmla="*/ 312304 h 312304"/>
                <a:gd name="connsiteX1" fmla="*/ 897882 w 8324008"/>
                <a:gd name="connsiteY1" fmla="*/ 312006 h 312304"/>
                <a:gd name="connsiteX2" fmla="*/ 2121495 w 8324008"/>
                <a:gd name="connsiteY2" fmla="*/ 24000 h 312304"/>
                <a:gd name="connsiteX3" fmla="*/ 3561039 w 8324008"/>
                <a:gd name="connsiteY3" fmla="*/ 168004 h 312304"/>
                <a:gd name="connsiteX4" fmla="*/ 8311536 w 8324008"/>
                <a:gd name="connsiteY4" fmla="*/ 168004 h 312304"/>
                <a:gd name="connsiteX5" fmla="*/ 8324008 w 8324008"/>
                <a:gd name="connsiteY5" fmla="*/ 312304 h 312304"/>
                <a:gd name="connsiteX0" fmla="*/ 8383513 w 8383513"/>
                <a:gd name="connsiteY0" fmla="*/ 312007 h 312007"/>
                <a:gd name="connsiteX1" fmla="*/ 897882 w 8383513"/>
                <a:gd name="connsiteY1" fmla="*/ 312006 h 312007"/>
                <a:gd name="connsiteX2" fmla="*/ 2121495 w 8383513"/>
                <a:gd name="connsiteY2" fmla="*/ 24000 h 312007"/>
                <a:gd name="connsiteX3" fmla="*/ 3561039 w 8383513"/>
                <a:gd name="connsiteY3" fmla="*/ 168004 h 312007"/>
                <a:gd name="connsiteX4" fmla="*/ 8311536 w 8383513"/>
                <a:gd name="connsiteY4" fmla="*/ 168004 h 312007"/>
                <a:gd name="connsiteX5" fmla="*/ 8383513 w 8383513"/>
                <a:gd name="connsiteY5" fmla="*/ 312007 h 312007"/>
                <a:gd name="connsiteX0" fmla="*/ 8311536 w 8311536"/>
                <a:gd name="connsiteY0" fmla="*/ 312007 h 312007"/>
                <a:gd name="connsiteX1" fmla="*/ 897882 w 8311536"/>
                <a:gd name="connsiteY1" fmla="*/ 312006 h 312007"/>
                <a:gd name="connsiteX2" fmla="*/ 2121495 w 8311536"/>
                <a:gd name="connsiteY2" fmla="*/ 24000 h 312007"/>
                <a:gd name="connsiteX3" fmla="*/ 3561039 w 8311536"/>
                <a:gd name="connsiteY3" fmla="*/ 168004 h 312007"/>
                <a:gd name="connsiteX4" fmla="*/ 8311536 w 8311536"/>
                <a:gd name="connsiteY4" fmla="*/ 168004 h 312007"/>
                <a:gd name="connsiteX5" fmla="*/ 8311536 w 8311536"/>
                <a:gd name="connsiteY5" fmla="*/ 312007 h 312007"/>
                <a:gd name="connsiteX0" fmla="*/ 8311536 w 8311536"/>
                <a:gd name="connsiteY0" fmla="*/ 312007 h 312007"/>
                <a:gd name="connsiteX1" fmla="*/ 897882 w 8311536"/>
                <a:gd name="connsiteY1" fmla="*/ 312006 h 312007"/>
                <a:gd name="connsiteX2" fmla="*/ 2121495 w 8311536"/>
                <a:gd name="connsiteY2" fmla="*/ 24000 h 312007"/>
                <a:gd name="connsiteX3" fmla="*/ 3561039 w 8311536"/>
                <a:gd name="connsiteY3" fmla="*/ 168004 h 312007"/>
                <a:gd name="connsiteX4" fmla="*/ 8311536 w 8311536"/>
                <a:gd name="connsiteY4" fmla="*/ 168004 h 312007"/>
                <a:gd name="connsiteX5" fmla="*/ 8311536 w 8311536"/>
                <a:gd name="connsiteY5" fmla="*/ 312007 h 312007"/>
                <a:gd name="connsiteX0" fmla="*/ 8311536 w 8311536"/>
                <a:gd name="connsiteY0" fmla="*/ 312007 h 312007"/>
                <a:gd name="connsiteX1" fmla="*/ 897882 w 8311536"/>
                <a:gd name="connsiteY1" fmla="*/ 312006 h 312007"/>
                <a:gd name="connsiteX2" fmla="*/ 2121495 w 8311536"/>
                <a:gd name="connsiteY2" fmla="*/ 24000 h 312007"/>
                <a:gd name="connsiteX3" fmla="*/ 3561039 w 8311536"/>
                <a:gd name="connsiteY3" fmla="*/ 168004 h 312007"/>
                <a:gd name="connsiteX4" fmla="*/ 8311536 w 8311536"/>
                <a:gd name="connsiteY4" fmla="*/ 168004 h 312007"/>
                <a:gd name="connsiteX5" fmla="*/ 8311536 w 8311536"/>
                <a:gd name="connsiteY5" fmla="*/ 312007 h 312007"/>
                <a:gd name="connsiteX0" fmla="*/ 8311536 w 8311536"/>
                <a:gd name="connsiteY0" fmla="*/ 444008 h 444008"/>
                <a:gd name="connsiteX1" fmla="*/ 897882 w 8311536"/>
                <a:gd name="connsiteY1" fmla="*/ 444007 h 444008"/>
                <a:gd name="connsiteX2" fmla="*/ 2121495 w 8311536"/>
                <a:gd name="connsiteY2" fmla="*/ 156001 h 444008"/>
                <a:gd name="connsiteX3" fmla="*/ 4136857 w 8311536"/>
                <a:gd name="connsiteY3" fmla="*/ 12000 h 444008"/>
                <a:gd name="connsiteX4" fmla="*/ 8311536 w 8311536"/>
                <a:gd name="connsiteY4" fmla="*/ 300005 h 444008"/>
                <a:gd name="connsiteX5" fmla="*/ 8311536 w 8311536"/>
                <a:gd name="connsiteY5" fmla="*/ 444008 h 444008"/>
                <a:gd name="connsiteX0" fmla="*/ 8311536 w 8311536"/>
                <a:gd name="connsiteY0" fmla="*/ 435064 h 435064"/>
                <a:gd name="connsiteX1" fmla="*/ 897882 w 8311536"/>
                <a:gd name="connsiteY1" fmla="*/ 435063 h 435064"/>
                <a:gd name="connsiteX2" fmla="*/ 2121495 w 8311536"/>
                <a:gd name="connsiteY2" fmla="*/ 147057 h 435064"/>
                <a:gd name="connsiteX3" fmla="*/ 4136857 w 8311536"/>
                <a:gd name="connsiteY3" fmla="*/ 3056 h 435064"/>
                <a:gd name="connsiteX4" fmla="*/ 6512105 w 8311536"/>
                <a:gd name="connsiteY4" fmla="*/ 291062 h 435064"/>
                <a:gd name="connsiteX5" fmla="*/ 8311536 w 8311536"/>
                <a:gd name="connsiteY5" fmla="*/ 291061 h 435064"/>
                <a:gd name="connsiteX6" fmla="*/ 8311536 w 8311536"/>
                <a:gd name="connsiteY6" fmla="*/ 435064 h 435064"/>
                <a:gd name="connsiteX0" fmla="*/ 8311536 w 8311536"/>
                <a:gd name="connsiteY0" fmla="*/ 435064 h 435064"/>
                <a:gd name="connsiteX1" fmla="*/ 897882 w 8311536"/>
                <a:gd name="connsiteY1" fmla="*/ 435063 h 435064"/>
                <a:gd name="connsiteX2" fmla="*/ 2121495 w 8311536"/>
                <a:gd name="connsiteY2" fmla="*/ 147057 h 435064"/>
                <a:gd name="connsiteX3" fmla="*/ 4136857 w 8311536"/>
                <a:gd name="connsiteY3" fmla="*/ 3056 h 435064"/>
                <a:gd name="connsiteX4" fmla="*/ 6440128 w 8311536"/>
                <a:gd name="connsiteY4" fmla="*/ 147058 h 435064"/>
                <a:gd name="connsiteX5" fmla="*/ 8311536 w 8311536"/>
                <a:gd name="connsiteY5" fmla="*/ 291061 h 435064"/>
                <a:gd name="connsiteX6" fmla="*/ 8311536 w 8311536"/>
                <a:gd name="connsiteY6" fmla="*/ 435064 h 435064"/>
                <a:gd name="connsiteX0" fmla="*/ 8311536 w 8311536"/>
                <a:gd name="connsiteY0" fmla="*/ 435064 h 435064"/>
                <a:gd name="connsiteX1" fmla="*/ 897882 w 8311536"/>
                <a:gd name="connsiteY1" fmla="*/ 435063 h 435064"/>
                <a:gd name="connsiteX2" fmla="*/ 2121495 w 8311536"/>
                <a:gd name="connsiteY2" fmla="*/ 147057 h 435064"/>
                <a:gd name="connsiteX3" fmla="*/ 4352789 w 8311536"/>
                <a:gd name="connsiteY3" fmla="*/ 3056 h 435064"/>
                <a:gd name="connsiteX4" fmla="*/ 6440128 w 8311536"/>
                <a:gd name="connsiteY4" fmla="*/ 147058 h 435064"/>
                <a:gd name="connsiteX5" fmla="*/ 8311536 w 8311536"/>
                <a:gd name="connsiteY5" fmla="*/ 291061 h 435064"/>
                <a:gd name="connsiteX6" fmla="*/ 8311536 w 8311536"/>
                <a:gd name="connsiteY6" fmla="*/ 435064 h 435064"/>
                <a:gd name="connsiteX0" fmla="*/ 8383513 w 8383513"/>
                <a:gd name="connsiteY0" fmla="*/ 435064 h 435064"/>
                <a:gd name="connsiteX1" fmla="*/ 897882 w 8383513"/>
                <a:gd name="connsiteY1" fmla="*/ 435064 h 435064"/>
                <a:gd name="connsiteX2" fmla="*/ 2193472 w 8383513"/>
                <a:gd name="connsiteY2" fmla="*/ 147057 h 435064"/>
                <a:gd name="connsiteX3" fmla="*/ 4424766 w 8383513"/>
                <a:gd name="connsiteY3" fmla="*/ 3056 h 435064"/>
                <a:gd name="connsiteX4" fmla="*/ 6512105 w 8383513"/>
                <a:gd name="connsiteY4" fmla="*/ 147058 h 435064"/>
                <a:gd name="connsiteX5" fmla="*/ 8383513 w 8383513"/>
                <a:gd name="connsiteY5" fmla="*/ 291061 h 435064"/>
                <a:gd name="connsiteX6" fmla="*/ 8383513 w 8383513"/>
                <a:gd name="connsiteY6" fmla="*/ 435064 h 435064"/>
                <a:gd name="connsiteX0" fmla="*/ 7485631 w 7485631"/>
                <a:gd name="connsiteY0" fmla="*/ 435064 h 435064"/>
                <a:gd name="connsiteX1" fmla="*/ 0 w 7485631"/>
                <a:gd name="connsiteY1" fmla="*/ 435064 h 435064"/>
                <a:gd name="connsiteX2" fmla="*/ 1295590 w 7485631"/>
                <a:gd name="connsiteY2" fmla="*/ 147057 h 435064"/>
                <a:gd name="connsiteX3" fmla="*/ 3526884 w 7485631"/>
                <a:gd name="connsiteY3" fmla="*/ 3056 h 435064"/>
                <a:gd name="connsiteX4" fmla="*/ 5614223 w 7485631"/>
                <a:gd name="connsiteY4" fmla="*/ 147058 h 435064"/>
                <a:gd name="connsiteX5" fmla="*/ 7485631 w 7485631"/>
                <a:gd name="connsiteY5" fmla="*/ 291061 h 435064"/>
                <a:gd name="connsiteX6" fmla="*/ 7485631 w 7485631"/>
                <a:gd name="connsiteY6" fmla="*/ 435064 h 435064"/>
                <a:gd name="connsiteX0" fmla="*/ 7485631 w 7485631"/>
                <a:gd name="connsiteY0" fmla="*/ 435064 h 435064"/>
                <a:gd name="connsiteX1" fmla="*/ 0 w 7485631"/>
                <a:gd name="connsiteY1" fmla="*/ 435064 h 435064"/>
                <a:gd name="connsiteX2" fmla="*/ 1151636 w 7485631"/>
                <a:gd name="connsiteY2" fmla="*/ 147058 h 435064"/>
                <a:gd name="connsiteX3" fmla="*/ 3526884 w 7485631"/>
                <a:gd name="connsiteY3" fmla="*/ 3056 h 435064"/>
                <a:gd name="connsiteX4" fmla="*/ 5614223 w 7485631"/>
                <a:gd name="connsiteY4" fmla="*/ 147058 h 435064"/>
                <a:gd name="connsiteX5" fmla="*/ 7485631 w 7485631"/>
                <a:gd name="connsiteY5" fmla="*/ 291061 h 435064"/>
                <a:gd name="connsiteX6" fmla="*/ 7485631 w 7485631"/>
                <a:gd name="connsiteY6" fmla="*/ 435064 h 435064"/>
                <a:gd name="connsiteX0" fmla="*/ 7485631 w 7485631"/>
                <a:gd name="connsiteY0" fmla="*/ 435064 h 435064"/>
                <a:gd name="connsiteX1" fmla="*/ 0 w 7485631"/>
                <a:gd name="connsiteY1" fmla="*/ 435064 h 435064"/>
                <a:gd name="connsiteX2" fmla="*/ 647795 w 7485631"/>
                <a:gd name="connsiteY2" fmla="*/ 291061 h 435064"/>
                <a:gd name="connsiteX3" fmla="*/ 1151636 w 7485631"/>
                <a:gd name="connsiteY3" fmla="*/ 147058 h 435064"/>
                <a:gd name="connsiteX4" fmla="*/ 3526884 w 7485631"/>
                <a:gd name="connsiteY4" fmla="*/ 3056 h 435064"/>
                <a:gd name="connsiteX5" fmla="*/ 5614223 w 7485631"/>
                <a:gd name="connsiteY5" fmla="*/ 147058 h 435064"/>
                <a:gd name="connsiteX6" fmla="*/ 7485631 w 7485631"/>
                <a:gd name="connsiteY6" fmla="*/ 291061 h 435064"/>
                <a:gd name="connsiteX7" fmla="*/ 7485631 w 7485631"/>
                <a:gd name="connsiteY7" fmla="*/ 435064 h 435064"/>
                <a:gd name="connsiteX0" fmla="*/ 7485631 w 7485631"/>
                <a:gd name="connsiteY0" fmla="*/ 435064 h 435064"/>
                <a:gd name="connsiteX1" fmla="*/ 0 w 7485631"/>
                <a:gd name="connsiteY1" fmla="*/ 435064 h 435064"/>
                <a:gd name="connsiteX2" fmla="*/ 719772 w 7485631"/>
                <a:gd name="connsiteY2" fmla="*/ 291061 h 435064"/>
                <a:gd name="connsiteX3" fmla="*/ 1151636 w 7485631"/>
                <a:gd name="connsiteY3" fmla="*/ 147058 h 435064"/>
                <a:gd name="connsiteX4" fmla="*/ 3526884 w 7485631"/>
                <a:gd name="connsiteY4" fmla="*/ 3056 h 435064"/>
                <a:gd name="connsiteX5" fmla="*/ 5614223 w 7485631"/>
                <a:gd name="connsiteY5" fmla="*/ 147058 h 435064"/>
                <a:gd name="connsiteX6" fmla="*/ 7485631 w 7485631"/>
                <a:gd name="connsiteY6" fmla="*/ 291061 h 435064"/>
                <a:gd name="connsiteX7" fmla="*/ 7485631 w 7485631"/>
                <a:gd name="connsiteY7" fmla="*/ 435064 h 435064"/>
                <a:gd name="connsiteX0" fmla="*/ 7485631 w 7485631"/>
                <a:gd name="connsiteY0" fmla="*/ 437537 h 437537"/>
                <a:gd name="connsiteX1" fmla="*/ 0 w 7485631"/>
                <a:gd name="connsiteY1" fmla="*/ 437537 h 437537"/>
                <a:gd name="connsiteX2" fmla="*/ 719772 w 7485631"/>
                <a:gd name="connsiteY2" fmla="*/ 293534 h 437537"/>
                <a:gd name="connsiteX3" fmla="*/ 1151636 w 7485631"/>
                <a:gd name="connsiteY3" fmla="*/ 149531 h 437537"/>
                <a:gd name="connsiteX4" fmla="*/ 1295590 w 7485631"/>
                <a:gd name="connsiteY4" fmla="*/ 149531 h 437537"/>
                <a:gd name="connsiteX5" fmla="*/ 3526884 w 7485631"/>
                <a:gd name="connsiteY5" fmla="*/ 5529 h 437537"/>
                <a:gd name="connsiteX6" fmla="*/ 5614223 w 7485631"/>
                <a:gd name="connsiteY6" fmla="*/ 149531 h 437537"/>
                <a:gd name="connsiteX7" fmla="*/ 7485631 w 7485631"/>
                <a:gd name="connsiteY7" fmla="*/ 293534 h 437537"/>
                <a:gd name="connsiteX8" fmla="*/ 7485631 w 7485631"/>
                <a:gd name="connsiteY8" fmla="*/ 437537 h 437537"/>
                <a:gd name="connsiteX0" fmla="*/ 7485631 w 7485631"/>
                <a:gd name="connsiteY0" fmla="*/ 432008 h 432008"/>
                <a:gd name="connsiteX1" fmla="*/ 0 w 7485631"/>
                <a:gd name="connsiteY1" fmla="*/ 432008 h 432008"/>
                <a:gd name="connsiteX2" fmla="*/ 719772 w 7485631"/>
                <a:gd name="connsiteY2" fmla="*/ 288005 h 432008"/>
                <a:gd name="connsiteX3" fmla="*/ 1151636 w 7485631"/>
                <a:gd name="connsiteY3" fmla="*/ 144002 h 432008"/>
                <a:gd name="connsiteX4" fmla="*/ 1295590 w 7485631"/>
                <a:gd name="connsiteY4" fmla="*/ 144002 h 432008"/>
                <a:gd name="connsiteX5" fmla="*/ 1439544 w 7485631"/>
                <a:gd name="connsiteY5" fmla="*/ 72002 h 432008"/>
                <a:gd name="connsiteX6" fmla="*/ 3526884 w 7485631"/>
                <a:gd name="connsiteY6" fmla="*/ 0 h 432008"/>
                <a:gd name="connsiteX7" fmla="*/ 5614223 w 7485631"/>
                <a:gd name="connsiteY7" fmla="*/ 144002 h 432008"/>
                <a:gd name="connsiteX8" fmla="*/ 7485631 w 7485631"/>
                <a:gd name="connsiteY8" fmla="*/ 288005 h 432008"/>
                <a:gd name="connsiteX9" fmla="*/ 7485631 w 7485631"/>
                <a:gd name="connsiteY9" fmla="*/ 432008 h 432008"/>
                <a:gd name="connsiteX0" fmla="*/ 7485631 w 7485631"/>
                <a:gd name="connsiteY0" fmla="*/ 448269 h 448269"/>
                <a:gd name="connsiteX1" fmla="*/ 0 w 7485631"/>
                <a:gd name="connsiteY1" fmla="*/ 448269 h 448269"/>
                <a:gd name="connsiteX2" fmla="*/ 719772 w 7485631"/>
                <a:gd name="connsiteY2" fmla="*/ 304266 h 448269"/>
                <a:gd name="connsiteX3" fmla="*/ 1151636 w 7485631"/>
                <a:gd name="connsiteY3" fmla="*/ 160263 h 448269"/>
                <a:gd name="connsiteX4" fmla="*/ 1295590 w 7485631"/>
                <a:gd name="connsiteY4" fmla="*/ 160263 h 448269"/>
                <a:gd name="connsiteX5" fmla="*/ 1439544 w 7485631"/>
                <a:gd name="connsiteY5" fmla="*/ 88263 h 448269"/>
                <a:gd name="connsiteX6" fmla="*/ 1655476 w 7485631"/>
                <a:gd name="connsiteY6" fmla="*/ 160264 h 448269"/>
                <a:gd name="connsiteX7" fmla="*/ 3526884 w 7485631"/>
                <a:gd name="connsiteY7" fmla="*/ 16261 h 448269"/>
                <a:gd name="connsiteX8" fmla="*/ 5614223 w 7485631"/>
                <a:gd name="connsiteY8" fmla="*/ 160263 h 448269"/>
                <a:gd name="connsiteX9" fmla="*/ 7485631 w 7485631"/>
                <a:gd name="connsiteY9" fmla="*/ 304266 h 448269"/>
                <a:gd name="connsiteX10" fmla="*/ 7485631 w 7485631"/>
                <a:gd name="connsiteY10" fmla="*/ 448269 h 448269"/>
                <a:gd name="connsiteX0" fmla="*/ 7485631 w 7485631"/>
                <a:gd name="connsiteY0" fmla="*/ 448269 h 448269"/>
                <a:gd name="connsiteX1" fmla="*/ 0 w 7485631"/>
                <a:gd name="connsiteY1" fmla="*/ 448269 h 448269"/>
                <a:gd name="connsiteX2" fmla="*/ 719772 w 7485631"/>
                <a:gd name="connsiteY2" fmla="*/ 304266 h 448269"/>
                <a:gd name="connsiteX3" fmla="*/ 1151636 w 7485631"/>
                <a:gd name="connsiteY3" fmla="*/ 160263 h 448269"/>
                <a:gd name="connsiteX4" fmla="*/ 1295590 w 7485631"/>
                <a:gd name="connsiteY4" fmla="*/ 160263 h 448269"/>
                <a:gd name="connsiteX5" fmla="*/ 1439544 w 7485631"/>
                <a:gd name="connsiteY5" fmla="*/ 88263 h 448269"/>
                <a:gd name="connsiteX6" fmla="*/ 1655476 w 7485631"/>
                <a:gd name="connsiteY6" fmla="*/ 160264 h 448269"/>
                <a:gd name="connsiteX7" fmla="*/ 3526884 w 7485631"/>
                <a:gd name="connsiteY7" fmla="*/ 16261 h 448269"/>
                <a:gd name="connsiteX8" fmla="*/ 5614223 w 7485631"/>
                <a:gd name="connsiteY8" fmla="*/ 160263 h 448269"/>
                <a:gd name="connsiteX9" fmla="*/ 7485631 w 7485631"/>
                <a:gd name="connsiteY9" fmla="*/ 304266 h 448269"/>
                <a:gd name="connsiteX10" fmla="*/ 7485631 w 7485631"/>
                <a:gd name="connsiteY10" fmla="*/ 448269 h 448269"/>
                <a:gd name="connsiteX0" fmla="*/ 7485631 w 7485631"/>
                <a:gd name="connsiteY0" fmla="*/ 448269 h 448269"/>
                <a:gd name="connsiteX1" fmla="*/ 0 w 7485631"/>
                <a:gd name="connsiteY1" fmla="*/ 448269 h 448269"/>
                <a:gd name="connsiteX2" fmla="*/ 719772 w 7485631"/>
                <a:gd name="connsiteY2" fmla="*/ 304266 h 448269"/>
                <a:gd name="connsiteX3" fmla="*/ 1151636 w 7485631"/>
                <a:gd name="connsiteY3" fmla="*/ 160263 h 448269"/>
                <a:gd name="connsiteX4" fmla="*/ 1295590 w 7485631"/>
                <a:gd name="connsiteY4" fmla="*/ 160263 h 448269"/>
                <a:gd name="connsiteX5" fmla="*/ 1439544 w 7485631"/>
                <a:gd name="connsiteY5" fmla="*/ 88263 h 448269"/>
                <a:gd name="connsiteX6" fmla="*/ 1655476 w 7485631"/>
                <a:gd name="connsiteY6" fmla="*/ 160264 h 448269"/>
                <a:gd name="connsiteX7" fmla="*/ 3526884 w 7485631"/>
                <a:gd name="connsiteY7" fmla="*/ 16261 h 448269"/>
                <a:gd name="connsiteX8" fmla="*/ 5614223 w 7485631"/>
                <a:gd name="connsiteY8" fmla="*/ 160263 h 448269"/>
                <a:gd name="connsiteX9" fmla="*/ 7485631 w 7485631"/>
                <a:gd name="connsiteY9" fmla="*/ 304266 h 448269"/>
                <a:gd name="connsiteX10" fmla="*/ 7485631 w 7485631"/>
                <a:gd name="connsiteY10" fmla="*/ 448269 h 448269"/>
                <a:gd name="connsiteX0" fmla="*/ 7485631 w 7485631"/>
                <a:gd name="connsiteY0" fmla="*/ 448269 h 448269"/>
                <a:gd name="connsiteX1" fmla="*/ 0 w 7485631"/>
                <a:gd name="connsiteY1" fmla="*/ 448269 h 448269"/>
                <a:gd name="connsiteX2" fmla="*/ 719772 w 7485631"/>
                <a:gd name="connsiteY2" fmla="*/ 304266 h 448269"/>
                <a:gd name="connsiteX3" fmla="*/ 1151636 w 7485631"/>
                <a:gd name="connsiteY3" fmla="*/ 160263 h 448269"/>
                <a:gd name="connsiteX4" fmla="*/ 1295590 w 7485631"/>
                <a:gd name="connsiteY4" fmla="*/ 160263 h 448269"/>
                <a:gd name="connsiteX5" fmla="*/ 1439544 w 7485631"/>
                <a:gd name="connsiteY5" fmla="*/ 88263 h 448269"/>
                <a:gd name="connsiteX6" fmla="*/ 1655476 w 7485631"/>
                <a:gd name="connsiteY6" fmla="*/ 160264 h 448269"/>
                <a:gd name="connsiteX7" fmla="*/ 3526884 w 7485631"/>
                <a:gd name="connsiteY7" fmla="*/ 16261 h 448269"/>
                <a:gd name="connsiteX8" fmla="*/ 5614223 w 7485631"/>
                <a:gd name="connsiteY8" fmla="*/ 160263 h 448269"/>
                <a:gd name="connsiteX9" fmla="*/ 7485631 w 7485631"/>
                <a:gd name="connsiteY9" fmla="*/ 304266 h 448269"/>
                <a:gd name="connsiteX10" fmla="*/ 7485631 w 7485631"/>
                <a:gd name="connsiteY10" fmla="*/ 448269 h 448269"/>
                <a:gd name="connsiteX0" fmla="*/ 7485631 w 7485631"/>
                <a:gd name="connsiteY0" fmla="*/ 448269 h 448269"/>
                <a:gd name="connsiteX1" fmla="*/ 0 w 7485631"/>
                <a:gd name="connsiteY1" fmla="*/ 448269 h 448269"/>
                <a:gd name="connsiteX2" fmla="*/ 719772 w 7485631"/>
                <a:gd name="connsiteY2" fmla="*/ 304266 h 448269"/>
                <a:gd name="connsiteX3" fmla="*/ 1151636 w 7485631"/>
                <a:gd name="connsiteY3" fmla="*/ 160263 h 448269"/>
                <a:gd name="connsiteX4" fmla="*/ 1295590 w 7485631"/>
                <a:gd name="connsiteY4" fmla="*/ 160263 h 448269"/>
                <a:gd name="connsiteX5" fmla="*/ 1439544 w 7485631"/>
                <a:gd name="connsiteY5" fmla="*/ 88262 h 448269"/>
                <a:gd name="connsiteX6" fmla="*/ 1655476 w 7485631"/>
                <a:gd name="connsiteY6" fmla="*/ 160264 h 448269"/>
                <a:gd name="connsiteX7" fmla="*/ 3526884 w 7485631"/>
                <a:gd name="connsiteY7" fmla="*/ 16261 h 448269"/>
                <a:gd name="connsiteX8" fmla="*/ 5614223 w 7485631"/>
                <a:gd name="connsiteY8" fmla="*/ 160263 h 448269"/>
                <a:gd name="connsiteX9" fmla="*/ 7485631 w 7485631"/>
                <a:gd name="connsiteY9" fmla="*/ 304266 h 448269"/>
                <a:gd name="connsiteX10" fmla="*/ 7485631 w 7485631"/>
                <a:gd name="connsiteY10" fmla="*/ 448269 h 448269"/>
                <a:gd name="connsiteX0" fmla="*/ 7485631 w 7485631"/>
                <a:gd name="connsiteY0" fmla="*/ 448269 h 448269"/>
                <a:gd name="connsiteX1" fmla="*/ 0 w 7485631"/>
                <a:gd name="connsiteY1" fmla="*/ 448269 h 448269"/>
                <a:gd name="connsiteX2" fmla="*/ 719772 w 7485631"/>
                <a:gd name="connsiteY2" fmla="*/ 304266 h 448269"/>
                <a:gd name="connsiteX3" fmla="*/ 1151636 w 7485631"/>
                <a:gd name="connsiteY3" fmla="*/ 160263 h 448269"/>
                <a:gd name="connsiteX4" fmla="*/ 1295590 w 7485631"/>
                <a:gd name="connsiteY4" fmla="*/ 160263 h 448269"/>
                <a:gd name="connsiteX5" fmla="*/ 1439544 w 7485631"/>
                <a:gd name="connsiteY5" fmla="*/ 88262 h 448269"/>
                <a:gd name="connsiteX6" fmla="*/ 1583499 w 7485631"/>
                <a:gd name="connsiteY6" fmla="*/ 160264 h 448269"/>
                <a:gd name="connsiteX7" fmla="*/ 3526884 w 7485631"/>
                <a:gd name="connsiteY7" fmla="*/ 16261 h 448269"/>
                <a:gd name="connsiteX8" fmla="*/ 5614223 w 7485631"/>
                <a:gd name="connsiteY8" fmla="*/ 160263 h 448269"/>
                <a:gd name="connsiteX9" fmla="*/ 7485631 w 7485631"/>
                <a:gd name="connsiteY9" fmla="*/ 304266 h 448269"/>
                <a:gd name="connsiteX10" fmla="*/ 7485631 w 7485631"/>
                <a:gd name="connsiteY10" fmla="*/ 448269 h 448269"/>
                <a:gd name="connsiteX0" fmla="*/ 7485631 w 7485631"/>
                <a:gd name="connsiteY0" fmla="*/ 448269 h 448269"/>
                <a:gd name="connsiteX1" fmla="*/ 0 w 7485631"/>
                <a:gd name="connsiteY1" fmla="*/ 448269 h 448269"/>
                <a:gd name="connsiteX2" fmla="*/ 719772 w 7485631"/>
                <a:gd name="connsiteY2" fmla="*/ 304266 h 448269"/>
                <a:gd name="connsiteX3" fmla="*/ 1151636 w 7485631"/>
                <a:gd name="connsiteY3" fmla="*/ 160263 h 448269"/>
                <a:gd name="connsiteX4" fmla="*/ 1295590 w 7485631"/>
                <a:gd name="connsiteY4" fmla="*/ 160263 h 448269"/>
                <a:gd name="connsiteX5" fmla="*/ 1439544 w 7485631"/>
                <a:gd name="connsiteY5" fmla="*/ 88262 h 448269"/>
                <a:gd name="connsiteX6" fmla="*/ 1583499 w 7485631"/>
                <a:gd name="connsiteY6" fmla="*/ 160264 h 448269"/>
                <a:gd name="connsiteX7" fmla="*/ 3454907 w 7485631"/>
                <a:gd name="connsiteY7" fmla="*/ 16261 h 448269"/>
                <a:gd name="connsiteX8" fmla="*/ 5614223 w 7485631"/>
                <a:gd name="connsiteY8" fmla="*/ 160263 h 448269"/>
                <a:gd name="connsiteX9" fmla="*/ 7485631 w 7485631"/>
                <a:gd name="connsiteY9" fmla="*/ 304266 h 448269"/>
                <a:gd name="connsiteX10" fmla="*/ 7485631 w 7485631"/>
                <a:gd name="connsiteY10" fmla="*/ 448269 h 448269"/>
                <a:gd name="connsiteX0" fmla="*/ 7485631 w 7485631"/>
                <a:gd name="connsiteY0" fmla="*/ 448269 h 448269"/>
                <a:gd name="connsiteX1" fmla="*/ 0 w 7485631"/>
                <a:gd name="connsiteY1" fmla="*/ 448269 h 448269"/>
                <a:gd name="connsiteX2" fmla="*/ 719772 w 7485631"/>
                <a:gd name="connsiteY2" fmla="*/ 304266 h 448269"/>
                <a:gd name="connsiteX3" fmla="*/ 1151636 w 7485631"/>
                <a:gd name="connsiteY3" fmla="*/ 160263 h 448269"/>
                <a:gd name="connsiteX4" fmla="*/ 1295590 w 7485631"/>
                <a:gd name="connsiteY4" fmla="*/ 160263 h 448269"/>
                <a:gd name="connsiteX5" fmla="*/ 1439544 w 7485631"/>
                <a:gd name="connsiteY5" fmla="*/ 88262 h 448269"/>
                <a:gd name="connsiteX6" fmla="*/ 1583499 w 7485631"/>
                <a:gd name="connsiteY6" fmla="*/ 160264 h 448269"/>
                <a:gd name="connsiteX7" fmla="*/ 3598861 w 7485631"/>
                <a:gd name="connsiteY7" fmla="*/ 16261 h 448269"/>
                <a:gd name="connsiteX8" fmla="*/ 5614223 w 7485631"/>
                <a:gd name="connsiteY8" fmla="*/ 160263 h 448269"/>
                <a:gd name="connsiteX9" fmla="*/ 7485631 w 7485631"/>
                <a:gd name="connsiteY9" fmla="*/ 304266 h 448269"/>
                <a:gd name="connsiteX10" fmla="*/ 7485631 w 7485631"/>
                <a:gd name="connsiteY10" fmla="*/ 448269 h 448269"/>
                <a:gd name="connsiteX0" fmla="*/ 7485631 w 7485631"/>
                <a:gd name="connsiteY0" fmla="*/ 448269 h 448269"/>
                <a:gd name="connsiteX1" fmla="*/ 0 w 7485631"/>
                <a:gd name="connsiteY1" fmla="*/ 448269 h 448269"/>
                <a:gd name="connsiteX2" fmla="*/ 719772 w 7485631"/>
                <a:gd name="connsiteY2" fmla="*/ 304266 h 448269"/>
                <a:gd name="connsiteX3" fmla="*/ 1151636 w 7485631"/>
                <a:gd name="connsiteY3" fmla="*/ 160263 h 448269"/>
                <a:gd name="connsiteX4" fmla="*/ 1295590 w 7485631"/>
                <a:gd name="connsiteY4" fmla="*/ 160263 h 448269"/>
                <a:gd name="connsiteX5" fmla="*/ 1439544 w 7485631"/>
                <a:gd name="connsiteY5" fmla="*/ 88262 h 448269"/>
                <a:gd name="connsiteX6" fmla="*/ 1583499 w 7485631"/>
                <a:gd name="connsiteY6" fmla="*/ 160264 h 448269"/>
                <a:gd name="connsiteX7" fmla="*/ 3454907 w 7485631"/>
                <a:gd name="connsiteY7" fmla="*/ 16261 h 448269"/>
                <a:gd name="connsiteX8" fmla="*/ 5614223 w 7485631"/>
                <a:gd name="connsiteY8" fmla="*/ 160263 h 448269"/>
                <a:gd name="connsiteX9" fmla="*/ 7485631 w 7485631"/>
                <a:gd name="connsiteY9" fmla="*/ 304266 h 448269"/>
                <a:gd name="connsiteX10" fmla="*/ 7485631 w 7485631"/>
                <a:gd name="connsiteY10" fmla="*/ 448269 h 448269"/>
                <a:gd name="connsiteX0" fmla="*/ 7485631 w 7485631"/>
                <a:gd name="connsiteY0" fmla="*/ 936020 h 936020"/>
                <a:gd name="connsiteX1" fmla="*/ 0 w 7485631"/>
                <a:gd name="connsiteY1" fmla="*/ 936020 h 936020"/>
                <a:gd name="connsiteX2" fmla="*/ 719772 w 7485631"/>
                <a:gd name="connsiteY2" fmla="*/ 792017 h 936020"/>
                <a:gd name="connsiteX3" fmla="*/ 1151636 w 7485631"/>
                <a:gd name="connsiteY3" fmla="*/ 648014 h 936020"/>
                <a:gd name="connsiteX4" fmla="*/ 1295590 w 7485631"/>
                <a:gd name="connsiteY4" fmla="*/ 648014 h 936020"/>
                <a:gd name="connsiteX5" fmla="*/ 1439544 w 7485631"/>
                <a:gd name="connsiteY5" fmla="*/ 576013 h 936020"/>
                <a:gd name="connsiteX6" fmla="*/ 1583499 w 7485631"/>
                <a:gd name="connsiteY6" fmla="*/ 648015 h 936020"/>
                <a:gd name="connsiteX7" fmla="*/ 3454907 w 7485631"/>
                <a:gd name="connsiteY7" fmla="*/ 504012 h 936020"/>
                <a:gd name="connsiteX8" fmla="*/ 5614223 w 7485631"/>
                <a:gd name="connsiteY8" fmla="*/ 648014 h 936020"/>
                <a:gd name="connsiteX9" fmla="*/ 7485631 w 7485631"/>
                <a:gd name="connsiteY9" fmla="*/ 0 h 936020"/>
                <a:gd name="connsiteX10" fmla="*/ 7485631 w 7485631"/>
                <a:gd name="connsiteY10" fmla="*/ 936020 h 936020"/>
                <a:gd name="connsiteX0" fmla="*/ 7485631 w 7485631"/>
                <a:gd name="connsiteY0" fmla="*/ 1152025 h 1152025"/>
                <a:gd name="connsiteX1" fmla="*/ 0 w 7485631"/>
                <a:gd name="connsiteY1" fmla="*/ 1152025 h 1152025"/>
                <a:gd name="connsiteX2" fmla="*/ 719772 w 7485631"/>
                <a:gd name="connsiteY2" fmla="*/ 1008022 h 1152025"/>
                <a:gd name="connsiteX3" fmla="*/ 1151636 w 7485631"/>
                <a:gd name="connsiteY3" fmla="*/ 864019 h 1152025"/>
                <a:gd name="connsiteX4" fmla="*/ 1295590 w 7485631"/>
                <a:gd name="connsiteY4" fmla="*/ 864019 h 1152025"/>
                <a:gd name="connsiteX5" fmla="*/ 1439544 w 7485631"/>
                <a:gd name="connsiteY5" fmla="*/ 792018 h 1152025"/>
                <a:gd name="connsiteX6" fmla="*/ 1583499 w 7485631"/>
                <a:gd name="connsiteY6" fmla="*/ 864020 h 1152025"/>
                <a:gd name="connsiteX7" fmla="*/ 3454907 w 7485631"/>
                <a:gd name="connsiteY7" fmla="*/ 720017 h 1152025"/>
                <a:gd name="connsiteX8" fmla="*/ 5470269 w 7485631"/>
                <a:gd name="connsiteY8" fmla="*/ 0 h 1152025"/>
                <a:gd name="connsiteX9" fmla="*/ 7485631 w 7485631"/>
                <a:gd name="connsiteY9" fmla="*/ 216005 h 1152025"/>
                <a:gd name="connsiteX10" fmla="*/ 7485631 w 7485631"/>
                <a:gd name="connsiteY10" fmla="*/ 1152025 h 1152025"/>
                <a:gd name="connsiteX0" fmla="*/ 7485631 w 7485631"/>
                <a:gd name="connsiteY0" fmla="*/ 1152025 h 1152025"/>
                <a:gd name="connsiteX1" fmla="*/ 0 w 7485631"/>
                <a:gd name="connsiteY1" fmla="*/ 1152025 h 1152025"/>
                <a:gd name="connsiteX2" fmla="*/ 719772 w 7485631"/>
                <a:gd name="connsiteY2" fmla="*/ 1008022 h 1152025"/>
                <a:gd name="connsiteX3" fmla="*/ 1151636 w 7485631"/>
                <a:gd name="connsiteY3" fmla="*/ 864019 h 1152025"/>
                <a:gd name="connsiteX4" fmla="*/ 1295590 w 7485631"/>
                <a:gd name="connsiteY4" fmla="*/ 864019 h 1152025"/>
                <a:gd name="connsiteX5" fmla="*/ 1439544 w 7485631"/>
                <a:gd name="connsiteY5" fmla="*/ 792018 h 1152025"/>
                <a:gd name="connsiteX6" fmla="*/ 1583499 w 7485631"/>
                <a:gd name="connsiteY6" fmla="*/ 864020 h 1152025"/>
                <a:gd name="connsiteX7" fmla="*/ 3454907 w 7485631"/>
                <a:gd name="connsiteY7" fmla="*/ 720017 h 1152025"/>
                <a:gd name="connsiteX8" fmla="*/ 5470269 w 7485631"/>
                <a:gd name="connsiteY8" fmla="*/ 0 h 1152025"/>
                <a:gd name="connsiteX9" fmla="*/ 7485631 w 7485631"/>
                <a:gd name="connsiteY9" fmla="*/ 0 h 1152025"/>
                <a:gd name="connsiteX10" fmla="*/ 7485631 w 7485631"/>
                <a:gd name="connsiteY10" fmla="*/ 1152025 h 1152025"/>
                <a:gd name="connsiteX0" fmla="*/ 7485631 w 7485631"/>
                <a:gd name="connsiteY0" fmla="*/ 1944042 h 1944042"/>
                <a:gd name="connsiteX1" fmla="*/ 0 w 7485631"/>
                <a:gd name="connsiteY1" fmla="*/ 1944042 h 1944042"/>
                <a:gd name="connsiteX2" fmla="*/ 719772 w 7485631"/>
                <a:gd name="connsiteY2" fmla="*/ 1800039 h 1944042"/>
                <a:gd name="connsiteX3" fmla="*/ 1151636 w 7485631"/>
                <a:gd name="connsiteY3" fmla="*/ 1656036 h 1944042"/>
                <a:gd name="connsiteX4" fmla="*/ 1295590 w 7485631"/>
                <a:gd name="connsiteY4" fmla="*/ 1656036 h 1944042"/>
                <a:gd name="connsiteX5" fmla="*/ 1439544 w 7485631"/>
                <a:gd name="connsiteY5" fmla="*/ 1584035 h 1944042"/>
                <a:gd name="connsiteX6" fmla="*/ 1583499 w 7485631"/>
                <a:gd name="connsiteY6" fmla="*/ 1656037 h 1944042"/>
                <a:gd name="connsiteX7" fmla="*/ 3454907 w 7485631"/>
                <a:gd name="connsiteY7" fmla="*/ 1512034 h 1944042"/>
                <a:gd name="connsiteX8" fmla="*/ 5542246 w 7485631"/>
                <a:gd name="connsiteY8" fmla="*/ 0 h 1944042"/>
                <a:gd name="connsiteX9" fmla="*/ 7485631 w 7485631"/>
                <a:gd name="connsiteY9" fmla="*/ 792017 h 1944042"/>
                <a:gd name="connsiteX10" fmla="*/ 7485631 w 7485631"/>
                <a:gd name="connsiteY10" fmla="*/ 1944042 h 1944042"/>
                <a:gd name="connsiteX0" fmla="*/ 7485631 w 7485631"/>
                <a:gd name="connsiteY0" fmla="*/ 1944042 h 1944042"/>
                <a:gd name="connsiteX1" fmla="*/ 0 w 7485631"/>
                <a:gd name="connsiteY1" fmla="*/ 1944042 h 1944042"/>
                <a:gd name="connsiteX2" fmla="*/ 719772 w 7485631"/>
                <a:gd name="connsiteY2" fmla="*/ 1800039 h 1944042"/>
                <a:gd name="connsiteX3" fmla="*/ 1151636 w 7485631"/>
                <a:gd name="connsiteY3" fmla="*/ 1656036 h 1944042"/>
                <a:gd name="connsiteX4" fmla="*/ 1295590 w 7485631"/>
                <a:gd name="connsiteY4" fmla="*/ 1656036 h 1944042"/>
                <a:gd name="connsiteX5" fmla="*/ 1439544 w 7485631"/>
                <a:gd name="connsiteY5" fmla="*/ 1584035 h 1944042"/>
                <a:gd name="connsiteX6" fmla="*/ 1583499 w 7485631"/>
                <a:gd name="connsiteY6" fmla="*/ 1656037 h 1944042"/>
                <a:gd name="connsiteX7" fmla="*/ 4606542 w 7485631"/>
                <a:gd name="connsiteY7" fmla="*/ 144003 h 1944042"/>
                <a:gd name="connsiteX8" fmla="*/ 5542246 w 7485631"/>
                <a:gd name="connsiteY8" fmla="*/ 0 h 1944042"/>
                <a:gd name="connsiteX9" fmla="*/ 7485631 w 7485631"/>
                <a:gd name="connsiteY9" fmla="*/ 792017 h 1944042"/>
                <a:gd name="connsiteX10" fmla="*/ 7485631 w 7485631"/>
                <a:gd name="connsiteY10" fmla="*/ 1944042 h 1944042"/>
                <a:gd name="connsiteX0" fmla="*/ 7485631 w 7485631"/>
                <a:gd name="connsiteY0" fmla="*/ 1944042 h 1944042"/>
                <a:gd name="connsiteX1" fmla="*/ 0 w 7485631"/>
                <a:gd name="connsiteY1" fmla="*/ 1944042 h 1944042"/>
                <a:gd name="connsiteX2" fmla="*/ 719772 w 7485631"/>
                <a:gd name="connsiteY2" fmla="*/ 1800039 h 1944042"/>
                <a:gd name="connsiteX3" fmla="*/ 1151636 w 7485631"/>
                <a:gd name="connsiteY3" fmla="*/ 1656036 h 1944042"/>
                <a:gd name="connsiteX4" fmla="*/ 1295590 w 7485631"/>
                <a:gd name="connsiteY4" fmla="*/ 1656036 h 1944042"/>
                <a:gd name="connsiteX5" fmla="*/ 1439544 w 7485631"/>
                <a:gd name="connsiteY5" fmla="*/ 1584035 h 1944042"/>
                <a:gd name="connsiteX6" fmla="*/ 1583499 w 7485631"/>
                <a:gd name="connsiteY6" fmla="*/ 1656037 h 1944042"/>
                <a:gd name="connsiteX7" fmla="*/ 2591180 w 7485631"/>
                <a:gd name="connsiteY7" fmla="*/ 1080023 h 1944042"/>
                <a:gd name="connsiteX8" fmla="*/ 4606542 w 7485631"/>
                <a:gd name="connsiteY8" fmla="*/ 144003 h 1944042"/>
                <a:gd name="connsiteX9" fmla="*/ 5542246 w 7485631"/>
                <a:gd name="connsiteY9" fmla="*/ 0 h 1944042"/>
                <a:gd name="connsiteX10" fmla="*/ 7485631 w 7485631"/>
                <a:gd name="connsiteY10" fmla="*/ 792017 h 1944042"/>
                <a:gd name="connsiteX11" fmla="*/ 7485631 w 7485631"/>
                <a:gd name="connsiteY11" fmla="*/ 1944042 h 1944042"/>
                <a:gd name="connsiteX0" fmla="*/ 7485631 w 7485631"/>
                <a:gd name="connsiteY0" fmla="*/ 1944042 h 1944042"/>
                <a:gd name="connsiteX1" fmla="*/ 0 w 7485631"/>
                <a:gd name="connsiteY1" fmla="*/ 1944042 h 1944042"/>
                <a:gd name="connsiteX2" fmla="*/ 719772 w 7485631"/>
                <a:gd name="connsiteY2" fmla="*/ 1800039 h 1944042"/>
                <a:gd name="connsiteX3" fmla="*/ 1151636 w 7485631"/>
                <a:gd name="connsiteY3" fmla="*/ 1656036 h 1944042"/>
                <a:gd name="connsiteX4" fmla="*/ 1295590 w 7485631"/>
                <a:gd name="connsiteY4" fmla="*/ 1656036 h 1944042"/>
                <a:gd name="connsiteX5" fmla="*/ 1439544 w 7485631"/>
                <a:gd name="connsiteY5" fmla="*/ 1584035 h 1944042"/>
                <a:gd name="connsiteX6" fmla="*/ 1583499 w 7485631"/>
                <a:gd name="connsiteY6" fmla="*/ 1296028 h 1944042"/>
                <a:gd name="connsiteX7" fmla="*/ 2591180 w 7485631"/>
                <a:gd name="connsiteY7" fmla="*/ 1080023 h 1944042"/>
                <a:gd name="connsiteX8" fmla="*/ 4606542 w 7485631"/>
                <a:gd name="connsiteY8" fmla="*/ 144003 h 1944042"/>
                <a:gd name="connsiteX9" fmla="*/ 5542246 w 7485631"/>
                <a:gd name="connsiteY9" fmla="*/ 0 h 1944042"/>
                <a:gd name="connsiteX10" fmla="*/ 7485631 w 7485631"/>
                <a:gd name="connsiteY10" fmla="*/ 792017 h 1944042"/>
                <a:gd name="connsiteX11" fmla="*/ 7485631 w 7485631"/>
                <a:gd name="connsiteY11" fmla="*/ 1944042 h 1944042"/>
                <a:gd name="connsiteX0" fmla="*/ 7485631 w 7485631"/>
                <a:gd name="connsiteY0" fmla="*/ 1944042 h 1944042"/>
                <a:gd name="connsiteX1" fmla="*/ 0 w 7485631"/>
                <a:gd name="connsiteY1" fmla="*/ 1944042 h 1944042"/>
                <a:gd name="connsiteX2" fmla="*/ 719772 w 7485631"/>
                <a:gd name="connsiteY2" fmla="*/ 1800039 h 1944042"/>
                <a:gd name="connsiteX3" fmla="*/ 1151636 w 7485631"/>
                <a:gd name="connsiteY3" fmla="*/ 1656036 h 1944042"/>
                <a:gd name="connsiteX4" fmla="*/ 1295590 w 7485631"/>
                <a:gd name="connsiteY4" fmla="*/ 1656036 h 1944042"/>
                <a:gd name="connsiteX5" fmla="*/ 1439544 w 7485631"/>
                <a:gd name="connsiteY5" fmla="*/ 1224026 h 1944042"/>
                <a:gd name="connsiteX6" fmla="*/ 1583499 w 7485631"/>
                <a:gd name="connsiteY6" fmla="*/ 1296028 h 1944042"/>
                <a:gd name="connsiteX7" fmla="*/ 2591180 w 7485631"/>
                <a:gd name="connsiteY7" fmla="*/ 1080023 h 1944042"/>
                <a:gd name="connsiteX8" fmla="*/ 4606542 w 7485631"/>
                <a:gd name="connsiteY8" fmla="*/ 144003 h 1944042"/>
                <a:gd name="connsiteX9" fmla="*/ 5542246 w 7485631"/>
                <a:gd name="connsiteY9" fmla="*/ 0 h 1944042"/>
                <a:gd name="connsiteX10" fmla="*/ 7485631 w 7485631"/>
                <a:gd name="connsiteY10" fmla="*/ 792017 h 1944042"/>
                <a:gd name="connsiteX11" fmla="*/ 7485631 w 7485631"/>
                <a:gd name="connsiteY11" fmla="*/ 1944042 h 1944042"/>
                <a:gd name="connsiteX0" fmla="*/ 7485631 w 7485631"/>
                <a:gd name="connsiteY0" fmla="*/ 1944042 h 1944042"/>
                <a:gd name="connsiteX1" fmla="*/ 0 w 7485631"/>
                <a:gd name="connsiteY1" fmla="*/ 1944042 h 1944042"/>
                <a:gd name="connsiteX2" fmla="*/ 719772 w 7485631"/>
                <a:gd name="connsiteY2" fmla="*/ 1800039 h 1944042"/>
                <a:gd name="connsiteX3" fmla="*/ 1151636 w 7485631"/>
                <a:gd name="connsiteY3" fmla="*/ 1656036 h 1944042"/>
                <a:gd name="connsiteX4" fmla="*/ 1295590 w 7485631"/>
                <a:gd name="connsiteY4" fmla="*/ 1296028 h 1944042"/>
                <a:gd name="connsiteX5" fmla="*/ 1439544 w 7485631"/>
                <a:gd name="connsiteY5" fmla="*/ 1224026 h 1944042"/>
                <a:gd name="connsiteX6" fmla="*/ 1583499 w 7485631"/>
                <a:gd name="connsiteY6" fmla="*/ 1296028 h 1944042"/>
                <a:gd name="connsiteX7" fmla="*/ 2591180 w 7485631"/>
                <a:gd name="connsiteY7" fmla="*/ 1080023 h 1944042"/>
                <a:gd name="connsiteX8" fmla="*/ 4606542 w 7485631"/>
                <a:gd name="connsiteY8" fmla="*/ 144003 h 1944042"/>
                <a:gd name="connsiteX9" fmla="*/ 5542246 w 7485631"/>
                <a:gd name="connsiteY9" fmla="*/ 0 h 1944042"/>
                <a:gd name="connsiteX10" fmla="*/ 7485631 w 7485631"/>
                <a:gd name="connsiteY10" fmla="*/ 792017 h 1944042"/>
                <a:gd name="connsiteX11" fmla="*/ 7485631 w 7485631"/>
                <a:gd name="connsiteY11" fmla="*/ 1944042 h 1944042"/>
                <a:gd name="connsiteX0" fmla="*/ 7485631 w 7485631"/>
                <a:gd name="connsiteY0" fmla="*/ 1944042 h 1944042"/>
                <a:gd name="connsiteX1" fmla="*/ 0 w 7485631"/>
                <a:gd name="connsiteY1" fmla="*/ 1944042 h 1944042"/>
                <a:gd name="connsiteX2" fmla="*/ 719772 w 7485631"/>
                <a:gd name="connsiteY2" fmla="*/ 1800039 h 1944042"/>
                <a:gd name="connsiteX3" fmla="*/ 1151636 w 7485631"/>
                <a:gd name="connsiteY3" fmla="*/ 1296028 h 1944042"/>
                <a:gd name="connsiteX4" fmla="*/ 1295590 w 7485631"/>
                <a:gd name="connsiteY4" fmla="*/ 1296028 h 1944042"/>
                <a:gd name="connsiteX5" fmla="*/ 1439544 w 7485631"/>
                <a:gd name="connsiteY5" fmla="*/ 1224026 h 1944042"/>
                <a:gd name="connsiteX6" fmla="*/ 1583499 w 7485631"/>
                <a:gd name="connsiteY6" fmla="*/ 1296028 h 1944042"/>
                <a:gd name="connsiteX7" fmla="*/ 2591180 w 7485631"/>
                <a:gd name="connsiteY7" fmla="*/ 1080023 h 1944042"/>
                <a:gd name="connsiteX8" fmla="*/ 4606542 w 7485631"/>
                <a:gd name="connsiteY8" fmla="*/ 144003 h 1944042"/>
                <a:gd name="connsiteX9" fmla="*/ 5542246 w 7485631"/>
                <a:gd name="connsiteY9" fmla="*/ 0 h 1944042"/>
                <a:gd name="connsiteX10" fmla="*/ 7485631 w 7485631"/>
                <a:gd name="connsiteY10" fmla="*/ 792017 h 1944042"/>
                <a:gd name="connsiteX11" fmla="*/ 7485631 w 7485631"/>
                <a:gd name="connsiteY11" fmla="*/ 1944042 h 1944042"/>
                <a:gd name="connsiteX0" fmla="*/ 7485631 w 7485631"/>
                <a:gd name="connsiteY0" fmla="*/ 1944042 h 1944042"/>
                <a:gd name="connsiteX1" fmla="*/ 0 w 7485631"/>
                <a:gd name="connsiteY1" fmla="*/ 1944042 h 1944042"/>
                <a:gd name="connsiteX2" fmla="*/ 719772 w 7485631"/>
                <a:gd name="connsiteY2" fmla="*/ 1512033 h 1944042"/>
                <a:gd name="connsiteX3" fmla="*/ 1151636 w 7485631"/>
                <a:gd name="connsiteY3" fmla="*/ 1296028 h 1944042"/>
                <a:gd name="connsiteX4" fmla="*/ 1295590 w 7485631"/>
                <a:gd name="connsiteY4" fmla="*/ 1296028 h 1944042"/>
                <a:gd name="connsiteX5" fmla="*/ 1439544 w 7485631"/>
                <a:gd name="connsiteY5" fmla="*/ 1224026 h 1944042"/>
                <a:gd name="connsiteX6" fmla="*/ 1583499 w 7485631"/>
                <a:gd name="connsiteY6" fmla="*/ 1296028 h 1944042"/>
                <a:gd name="connsiteX7" fmla="*/ 2591180 w 7485631"/>
                <a:gd name="connsiteY7" fmla="*/ 1080023 h 1944042"/>
                <a:gd name="connsiteX8" fmla="*/ 4606542 w 7485631"/>
                <a:gd name="connsiteY8" fmla="*/ 144003 h 1944042"/>
                <a:gd name="connsiteX9" fmla="*/ 5542246 w 7485631"/>
                <a:gd name="connsiteY9" fmla="*/ 0 h 1944042"/>
                <a:gd name="connsiteX10" fmla="*/ 7485631 w 7485631"/>
                <a:gd name="connsiteY10" fmla="*/ 792017 h 1944042"/>
                <a:gd name="connsiteX11" fmla="*/ 7485631 w 7485631"/>
                <a:gd name="connsiteY11" fmla="*/ 1944042 h 1944042"/>
                <a:gd name="connsiteX0" fmla="*/ 7485631 w 7485631"/>
                <a:gd name="connsiteY0" fmla="*/ 1944042 h 1944042"/>
                <a:gd name="connsiteX1" fmla="*/ 0 w 7485631"/>
                <a:gd name="connsiteY1" fmla="*/ 1944042 h 1944042"/>
                <a:gd name="connsiteX2" fmla="*/ 0 w 7485631"/>
                <a:gd name="connsiteY2" fmla="*/ 1800039 h 1944042"/>
                <a:gd name="connsiteX3" fmla="*/ 719772 w 7485631"/>
                <a:gd name="connsiteY3" fmla="*/ 1512033 h 1944042"/>
                <a:gd name="connsiteX4" fmla="*/ 1151636 w 7485631"/>
                <a:gd name="connsiteY4" fmla="*/ 1296028 h 1944042"/>
                <a:gd name="connsiteX5" fmla="*/ 1295590 w 7485631"/>
                <a:gd name="connsiteY5" fmla="*/ 1296028 h 1944042"/>
                <a:gd name="connsiteX6" fmla="*/ 1439544 w 7485631"/>
                <a:gd name="connsiteY6" fmla="*/ 1224026 h 1944042"/>
                <a:gd name="connsiteX7" fmla="*/ 1583499 w 7485631"/>
                <a:gd name="connsiteY7" fmla="*/ 1296028 h 1944042"/>
                <a:gd name="connsiteX8" fmla="*/ 2591180 w 7485631"/>
                <a:gd name="connsiteY8" fmla="*/ 1080023 h 1944042"/>
                <a:gd name="connsiteX9" fmla="*/ 4606542 w 7485631"/>
                <a:gd name="connsiteY9" fmla="*/ 144003 h 1944042"/>
                <a:gd name="connsiteX10" fmla="*/ 5542246 w 7485631"/>
                <a:gd name="connsiteY10" fmla="*/ 0 h 1944042"/>
                <a:gd name="connsiteX11" fmla="*/ 7485631 w 7485631"/>
                <a:gd name="connsiteY11" fmla="*/ 792017 h 1944042"/>
                <a:gd name="connsiteX12" fmla="*/ 7485631 w 7485631"/>
                <a:gd name="connsiteY12" fmla="*/ 1944042 h 1944042"/>
                <a:gd name="connsiteX0" fmla="*/ 7485631 w 7485631"/>
                <a:gd name="connsiteY0" fmla="*/ 1944042 h 1944042"/>
                <a:gd name="connsiteX1" fmla="*/ 0 w 7485631"/>
                <a:gd name="connsiteY1" fmla="*/ 1944042 h 1944042"/>
                <a:gd name="connsiteX2" fmla="*/ 0 w 7485631"/>
                <a:gd name="connsiteY2" fmla="*/ 1800039 h 1944042"/>
                <a:gd name="connsiteX3" fmla="*/ 719772 w 7485631"/>
                <a:gd name="connsiteY3" fmla="*/ 1584034 h 1944042"/>
                <a:gd name="connsiteX4" fmla="*/ 1151636 w 7485631"/>
                <a:gd name="connsiteY4" fmla="*/ 1296028 h 1944042"/>
                <a:gd name="connsiteX5" fmla="*/ 1295590 w 7485631"/>
                <a:gd name="connsiteY5" fmla="*/ 1296028 h 1944042"/>
                <a:gd name="connsiteX6" fmla="*/ 1439544 w 7485631"/>
                <a:gd name="connsiteY6" fmla="*/ 1224026 h 1944042"/>
                <a:gd name="connsiteX7" fmla="*/ 1583499 w 7485631"/>
                <a:gd name="connsiteY7" fmla="*/ 1296028 h 1944042"/>
                <a:gd name="connsiteX8" fmla="*/ 2591180 w 7485631"/>
                <a:gd name="connsiteY8" fmla="*/ 1080023 h 1944042"/>
                <a:gd name="connsiteX9" fmla="*/ 4606542 w 7485631"/>
                <a:gd name="connsiteY9" fmla="*/ 144003 h 1944042"/>
                <a:gd name="connsiteX10" fmla="*/ 5542246 w 7485631"/>
                <a:gd name="connsiteY10" fmla="*/ 0 h 1944042"/>
                <a:gd name="connsiteX11" fmla="*/ 7485631 w 7485631"/>
                <a:gd name="connsiteY11" fmla="*/ 792017 h 1944042"/>
                <a:gd name="connsiteX12" fmla="*/ 7485631 w 7485631"/>
                <a:gd name="connsiteY12" fmla="*/ 1944042 h 1944042"/>
                <a:gd name="connsiteX0" fmla="*/ 7485631 w 7485631"/>
                <a:gd name="connsiteY0" fmla="*/ 1944042 h 1944042"/>
                <a:gd name="connsiteX1" fmla="*/ 0 w 7485631"/>
                <a:gd name="connsiteY1" fmla="*/ 1944042 h 1944042"/>
                <a:gd name="connsiteX2" fmla="*/ 0 w 7485631"/>
                <a:gd name="connsiteY2" fmla="*/ 1800039 h 1944042"/>
                <a:gd name="connsiteX3" fmla="*/ 719772 w 7485631"/>
                <a:gd name="connsiteY3" fmla="*/ 1584034 h 1944042"/>
                <a:gd name="connsiteX4" fmla="*/ 1151636 w 7485631"/>
                <a:gd name="connsiteY4" fmla="*/ 1368030 h 1944042"/>
                <a:gd name="connsiteX5" fmla="*/ 1295590 w 7485631"/>
                <a:gd name="connsiteY5" fmla="*/ 1296028 h 1944042"/>
                <a:gd name="connsiteX6" fmla="*/ 1439544 w 7485631"/>
                <a:gd name="connsiteY6" fmla="*/ 1224026 h 1944042"/>
                <a:gd name="connsiteX7" fmla="*/ 1583499 w 7485631"/>
                <a:gd name="connsiteY7" fmla="*/ 1296028 h 1944042"/>
                <a:gd name="connsiteX8" fmla="*/ 2591180 w 7485631"/>
                <a:gd name="connsiteY8" fmla="*/ 1080023 h 1944042"/>
                <a:gd name="connsiteX9" fmla="*/ 4606542 w 7485631"/>
                <a:gd name="connsiteY9" fmla="*/ 144003 h 1944042"/>
                <a:gd name="connsiteX10" fmla="*/ 5542246 w 7485631"/>
                <a:gd name="connsiteY10" fmla="*/ 0 h 1944042"/>
                <a:gd name="connsiteX11" fmla="*/ 7485631 w 7485631"/>
                <a:gd name="connsiteY11" fmla="*/ 792017 h 1944042"/>
                <a:gd name="connsiteX12" fmla="*/ 7485631 w 7485631"/>
                <a:gd name="connsiteY12" fmla="*/ 1944042 h 1944042"/>
                <a:gd name="connsiteX0" fmla="*/ 7485631 w 7485631"/>
                <a:gd name="connsiteY0" fmla="*/ 1944042 h 1944042"/>
                <a:gd name="connsiteX1" fmla="*/ 0 w 7485631"/>
                <a:gd name="connsiteY1" fmla="*/ 1944042 h 1944042"/>
                <a:gd name="connsiteX2" fmla="*/ 0 w 7485631"/>
                <a:gd name="connsiteY2" fmla="*/ 1800039 h 1944042"/>
                <a:gd name="connsiteX3" fmla="*/ 719772 w 7485631"/>
                <a:gd name="connsiteY3" fmla="*/ 1584034 h 1944042"/>
                <a:gd name="connsiteX4" fmla="*/ 1151636 w 7485631"/>
                <a:gd name="connsiteY4" fmla="*/ 1368030 h 1944042"/>
                <a:gd name="connsiteX5" fmla="*/ 1295590 w 7485631"/>
                <a:gd name="connsiteY5" fmla="*/ 1368030 h 1944042"/>
                <a:gd name="connsiteX6" fmla="*/ 1439544 w 7485631"/>
                <a:gd name="connsiteY6" fmla="*/ 1224026 h 1944042"/>
                <a:gd name="connsiteX7" fmla="*/ 1583499 w 7485631"/>
                <a:gd name="connsiteY7" fmla="*/ 1296028 h 1944042"/>
                <a:gd name="connsiteX8" fmla="*/ 2591180 w 7485631"/>
                <a:gd name="connsiteY8" fmla="*/ 1080023 h 1944042"/>
                <a:gd name="connsiteX9" fmla="*/ 4606542 w 7485631"/>
                <a:gd name="connsiteY9" fmla="*/ 144003 h 1944042"/>
                <a:gd name="connsiteX10" fmla="*/ 5542246 w 7485631"/>
                <a:gd name="connsiteY10" fmla="*/ 0 h 1944042"/>
                <a:gd name="connsiteX11" fmla="*/ 7485631 w 7485631"/>
                <a:gd name="connsiteY11" fmla="*/ 792017 h 1944042"/>
                <a:gd name="connsiteX12" fmla="*/ 7485631 w 7485631"/>
                <a:gd name="connsiteY12" fmla="*/ 1944042 h 1944042"/>
                <a:gd name="connsiteX0" fmla="*/ 7485631 w 7485631"/>
                <a:gd name="connsiteY0" fmla="*/ 1944042 h 1944042"/>
                <a:gd name="connsiteX1" fmla="*/ 0 w 7485631"/>
                <a:gd name="connsiteY1" fmla="*/ 1944042 h 1944042"/>
                <a:gd name="connsiteX2" fmla="*/ 0 w 7485631"/>
                <a:gd name="connsiteY2" fmla="*/ 1800039 h 1944042"/>
                <a:gd name="connsiteX3" fmla="*/ 719772 w 7485631"/>
                <a:gd name="connsiteY3" fmla="*/ 1584034 h 1944042"/>
                <a:gd name="connsiteX4" fmla="*/ 1151636 w 7485631"/>
                <a:gd name="connsiteY4" fmla="*/ 1368030 h 1944042"/>
                <a:gd name="connsiteX5" fmla="*/ 1295590 w 7485631"/>
                <a:gd name="connsiteY5" fmla="*/ 1368030 h 1944042"/>
                <a:gd name="connsiteX6" fmla="*/ 1439544 w 7485631"/>
                <a:gd name="connsiteY6" fmla="*/ 1296028 h 1944042"/>
                <a:gd name="connsiteX7" fmla="*/ 1583499 w 7485631"/>
                <a:gd name="connsiteY7" fmla="*/ 1296028 h 1944042"/>
                <a:gd name="connsiteX8" fmla="*/ 2591180 w 7485631"/>
                <a:gd name="connsiteY8" fmla="*/ 1080023 h 1944042"/>
                <a:gd name="connsiteX9" fmla="*/ 4606542 w 7485631"/>
                <a:gd name="connsiteY9" fmla="*/ 144003 h 1944042"/>
                <a:gd name="connsiteX10" fmla="*/ 5542246 w 7485631"/>
                <a:gd name="connsiteY10" fmla="*/ 0 h 1944042"/>
                <a:gd name="connsiteX11" fmla="*/ 7485631 w 7485631"/>
                <a:gd name="connsiteY11" fmla="*/ 792017 h 1944042"/>
                <a:gd name="connsiteX12" fmla="*/ 7485631 w 7485631"/>
                <a:gd name="connsiteY12" fmla="*/ 1944042 h 1944042"/>
                <a:gd name="connsiteX0" fmla="*/ 7485631 w 7485631"/>
                <a:gd name="connsiteY0" fmla="*/ 1944042 h 1944042"/>
                <a:gd name="connsiteX1" fmla="*/ 0 w 7485631"/>
                <a:gd name="connsiteY1" fmla="*/ 1944042 h 1944042"/>
                <a:gd name="connsiteX2" fmla="*/ 0 w 7485631"/>
                <a:gd name="connsiteY2" fmla="*/ 1800039 h 1944042"/>
                <a:gd name="connsiteX3" fmla="*/ 719772 w 7485631"/>
                <a:gd name="connsiteY3" fmla="*/ 1584034 h 1944042"/>
                <a:gd name="connsiteX4" fmla="*/ 1151636 w 7485631"/>
                <a:gd name="connsiteY4" fmla="*/ 1368030 h 1944042"/>
                <a:gd name="connsiteX5" fmla="*/ 1295590 w 7485631"/>
                <a:gd name="connsiteY5" fmla="*/ 1368030 h 1944042"/>
                <a:gd name="connsiteX6" fmla="*/ 1439544 w 7485631"/>
                <a:gd name="connsiteY6" fmla="*/ 1296028 h 1944042"/>
                <a:gd name="connsiteX7" fmla="*/ 1583499 w 7485631"/>
                <a:gd name="connsiteY7" fmla="*/ 1368030 h 1944042"/>
                <a:gd name="connsiteX8" fmla="*/ 2591180 w 7485631"/>
                <a:gd name="connsiteY8" fmla="*/ 1080023 h 1944042"/>
                <a:gd name="connsiteX9" fmla="*/ 4606542 w 7485631"/>
                <a:gd name="connsiteY9" fmla="*/ 144003 h 1944042"/>
                <a:gd name="connsiteX10" fmla="*/ 5542246 w 7485631"/>
                <a:gd name="connsiteY10" fmla="*/ 0 h 1944042"/>
                <a:gd name="connsiteX11" fmla="*/ 7485631 w 7485631"/>
                <a:gd name="connsiteY11" fmla="*/ 792017 h 1944042"/>
                <a:gd name="connsiteX12" fmla="*/ 7485631 w 7485631"/>
                <a:gd name="connsiteY12" fmla="*/ 1944042 h 1944042"/>
                <a:gd name="connsiteX0" fmla="*/ 7485631 w 7485631"/>
                <a:gd name="connsiteY0" fmla="*/ 1944042 h 1944042"/>
                <a:gd name="connsiteX1" fmla="*/ 0 w 7485631"/>
                <a:gd name="connsiteY1" fmla="*/ 1944042 h 1944042"/>
                <a:gd name="connsiteX2" fmla="*/ 0 w 7485631"/>
                <a:gd name="connsiteY2" fmla="*/ 1800039 h 1944042"/>
                <a:gd name="connsiteX3" fmla="*/ 719772 w 7485631"/>
                <a:gd name="connsiteY3" fmla="*/ 1656036 h 1944042"/>
                <a:gd name="connsiteX4" fmla="*/ 1151636 w 7485631"/>
                <a:gd name="connsiteY4" fmla="*/ 1368030 h 1944042"/>
                <a:gd name="connsiteX5" fmla="*/ 1295590 w 7485631"/>
                <a:gd name="connsiteY5" fmla="*/ 1368030 h 1944042"/>
                <a:gd name="connsiteX6" fmla="*/ 1439544 w 7485631"/>
                <a:gd name="connsiteY6" fmla="*/ 1296028 h 1944042"/>
                <a:gd name="connsiteX7" fmla="*/ 1583499 w 7485631"/>
                <a:gd name="connsiteY7" fmla="*/ 1368030 h 1944042"/>
                <a:gd name="connsiteX8" fmla="*/ 2591180 w 7485631"/>
                <a:gd name="connsiteY8" fmla="*/ 1080023 h 1944042"/>
                <a:gd name="connsiteX9" fmla="*/ 4606542 w 7485631"/>
                <a:gd name="connsiteY9" fmla="*/ 144003 h 1944042"/>
                <a:gd name="connsiteX10" fmla="*/ 5542246 w 7485631"/>
                <a:gd name="connsiteY10" fmla="*/ 0 h 1944042"/>
                <a:gd name="connsiteX11" fmla="*/ 7485631 w 7485631"/>
                <a:gd name="connsiteY11" fmla="*/ 792017 h 1944042"/>
                <a:gd name="connsiteX12" fmla="*/ 7485631 w 7485631"/>
                <a:gd name="connsiteY12" fmla="*/ 1944042 h 1944042"/>
                <a:gd name="connsiteX0" fmla="*/ 7485631 w 7485631"/>
                <a:gd name="connsiteY0" fmla="*/ 1944042 h 1944042"/>
                <a:gd name="connsiteX1" fmla="*/ 0 w 7485631"/>
                <a:gd name="connsiteY1" fmla="*/ 1944042 h 1944042"/>
                <a:gd name="connsiteX2" fmla="*/ 0 w 7485631"/>
                <a:gd name="connsiteY2" fmla="*/ 1872040 h 1944042"/>
                <a:gd name="connsiteX3" fmla="*/ 719772 w 7485631"/>
                <a:gd name="connsiteY3" fmla="*/ 1656036 h 1944042"/>
                <a:gd name="connsiteX4" fmla="*/ 1151636 w 7485631"/>
                <a:gd name="connsiteY4" fmla="*/ 1368030 h 1944042"/>
                <a:gd name="connsiteX5" fmla="*/ 1295590 w 7485631"/>
                <a:gd name="connsiteY5" fmla="*/ 1368030 h 1944042"/>
                <a:gd name="connsiteX6" fmla="*/ 1439544 w 7485631"/>
                <a:gd name="connsiteY6" fmla="*/ 1296028 h 1944042"/>
                <a:gd name="connsiteX7" fmla="*/ 1583499 w 7485631"/>
                <a:gd name="connsiteY7" fmla="*/ 1368030 h 1944042"/>
                <a:gd name="connsiteX8" fmla="*/ 2591180 w 7485631"/>
                <a:gd name="connsiteY8" fmla="*/ 1080023 h 1944042"/>
                <a:gd name="connsiteX9" fmla="*/ 4606542 w 7485631"/>
                <a:gd name="connsiteY9" fmla="*/ 144003 h 1944042"/>
                <a:gd name="connsiteX10" fmla="*/ 5542246 w 7485631"/>
                <a:gd name="connsiteY10" fmla="*/ 0 h 1944042"/>
                <a:gd name="connsiteX11" fmla="*/ 7485631 w 7485631"/>
                <a:gd name="connsiteY11" fmla="*/ 792017 h 1944042"/>
                <a:gd name="connsiteX12" fmla="*/ 7485631 w 7485631"/>
                <a:gd name="connsiteY12" fmla="*/ 1944042 h 1944042"/>
                <a:gd name="connsiteX0" fmla="*/ 7485631 w 7485631"/>
                <a:gd name="connsiteY0" fmla="*/ 1944042 h 1944042"/>
                <a:gd name="connsiteX1" fmla="*/ 0 w 7485631"/>
                <a:gd name="connsiteY1" fmla="*/ 1944042 h 1944042"/>
                <a:gd name="connsiteX2" fmla="*/ 0 w 7485631"/>
                <a:gd name="connsiteY2" fmla="*/ 1872040 h 1944042"/>
                <a:gd name="connsiteX3" fmla="*/ 719772 w 7485631"/>
                <a:gd name="connsiteY3" fmla="*/ 1656036 h 1944042"/>
                <a:gd name="connsiteX4" fmla="*/ 1151636 w 7485631"/>
                <a:gd name="connsiteY4" fmla="*/ 1368030 h 1944042"/>
                <a:gd name="connsiteX5" fmla="*/ 1295590 w 7485631"/>
                <a:gd name="connsiteY5" fmla="*/ 1368030 h 1944042"/>
                <a:gd name="connsiteX6" fmla="*/ 1439544 w 7485631"/>
                <a:gd name="connsiteY6" fmla="*/ 1296028 h 1944042"/>
                <a:gd name="connsiteX7" fmla="*/ 1583499 w 7485631"/>
                <a:gd name="connsiteY7" fmla="*/ 1368030 h 1944042"/>
                <a:gd name="connsiteX8" fmla="*/ 2375248 w 7485631"/>
                <a:gd name="connsiteY8" fmla="*/ 1080023 h 1944042"/>
                <a:gd name="connsiteX9" fmla="*/ 2591180 w 7485631"/>
                <a:gd name="connsiteY9" fmla="*/ 1080023 h 1944042"/>
                <a:gd name="connsiteX10" fmla="*/ 4606542 w 7485631"/>
                <a:gd name="connsiteY10" fmla="*/ 144003 h 1944042"/>
                <a:gd name="connsiteX11" fmla="*/ 5542246 w 7485631"/>
                <a:gd name="connsiteY11" fmla="*/ 0 h 1944042"/>
                <a:gd name="connsiteX12" fmla="*/ 7485631 w 7485631"/>
                <a:gd name="connsiteY12" fmla="*/ 792017 h 1944042"/>
                <a:gd name="connsiteX13" fmla="*/ 7485631 w 7485631"/>
                <a:gd name="connsiteY13" fmla="*/ 1944042 h 1944042"/>
                <a:gd name="connsiteX0" fmla="*/ 7485631 w 7485631"/>
                <a:gd name="connsiteY0" fmla="*/ 1944042 h 1944042"/>
                <a:gd name="connsiteX1" fmla="*/ 0 w 7485631"/>
                <a:gd name="connsiteY1" fmla="*/ 1944042 h 1944042"/>
                <a:gd name="connsiteX2" fmla="*/ 0 w 7485631"/>
                <a:gd name="connsiteY2" fmla="*/ 1872040 h 1944042"/>
                <a:gd name="connsiteX3" fmla="*/ 719772 w 7485631"/>
                <a:gd name="connsiteY3" fmla="*/ 1656036 h 1944042"/>
                <a:gd name="connsiteX4" fmla="*/ 1151636 w 7485631"/>
                <a:gd name="connsiteY4" fmla="*/ 1368030 h 1944042"/>
                <a:gd name="connsiteX5" fmla="*/ 1295590 w 7485631"/>
                <a:gd name="connsiteY5" fmla="*/ 1368030 h 1944042"/>
                <a:gd name="connsiteX6" fmla="*/ 1439544 w 7485631"/>
                <a:gd name="connsiteY6" fmla="*/ 1296028 h 1944042"/>
                <a:gd name="connsiteX7" fmla="*/ 1583499 w 7485631"/>
                <a:gd name="connsiteY7" fmla="*/ 1368030 h 1944042"/>
                <a:gd name="connsiteX8" fmla="*/ 2375248 w 7485631"/>
                <a:gd name="connsiteY8" fmla="*/ 1080023 h 1944042"/>
                <a:gd name="connsiteX9" fmla="*/ 2591180 w 7485631"/>
                <a:gd name="connsiteY9" fmla="*/ 1080023 h 1944042"/>
                <a:gd name="connsiteX10" fmla="*/ 4606542 w 7485631"/>
                <a:gd name="connsiteY10" fmla="*/ 144003 h 1944042"/>
                <a:gd name="connsiteX11" fmla="*/ 5542246 w 7485631"/>
                <a:gd name="connsiteY11" fmla="*/ 0 h 1944042"/>
                <a:gd name="connsiteX12" fmla="*/ 7485631 w 7485631"/>
                <a:gd name="connsiteY12" fmla="*/ 792017 h 1944042"/>
                <a:gd name="connsiteX13" fmla="*/ 7485631 w 7485631"/>
                <a:gd name="connsiteY13" fmla="*/ 1944042 h 1944042"/>
                <a:gd name="connsiteX0" fmla="*/ 7485631 w 7485631"/>
                <a:gd name="connsiteY0" fmla="*/ 1944042 h 1944042"/>
                <a:gd name="connsiteX1" fmla="*/ 0 w 7485631"/>
                <a:gd name="connsiteY1" fmla="*/ 1944042 h 1944042"/>
                <a:gd name="connsiteX2" fmla="*/ 0 w 7485631"/>
                <a:gd name="connsiteY2" fmla="*/ 1872040 h 1944042"/>
                <a:gd name="connsiteX3" fmla="*/ 719772 w 7485631"/>
                <a:gd name="connsiteY3" fmla="*/ 1656036 h 1944042"/>
                <a:gd name="connsiteX4" fmla="*/ 1151636 w 7485631"/>
                <a:gd name="connsiteY4" fmla="*/ 1368030 h 1944042"/>
                <a:gd name="connsiteX5" fmla="*/ 1295590 w 7485631"/>
                <a:gd name="connsiteY5" fmla="*/ 1368030 h 1944042"/>
                <a:gd name="connsiteX6" fmla="*/ 1439544 w 7485631"/>
                <a:gd name="connsiteY6" fmla="*/ 1296028 h 1944042"/>
                <a:gd name="connsiteX7" fmla="*/ 1583499 w 7485631"/>
                <a:gd name="connsiteY7" fmla="*/ 1368030 h 1944042"/>
                <a:gd name="connsiteX8" fmla="*/ 2231294 w 7485631"/>
                <a:gd name="connsiteY8" fmla="*/ 1224026 h 1944042"/>
                <a:gd name="connsiteX9" fmla="*/ 2375248 w 7485631"/>
                <a:gd name="connsiteY9" fmla="*/ 1080023 h 1944042"/>
                <a:gd name="connsiteX10" fmla="*/ 2591180 w 7485631"/>
                <a:gd name="connsiteY10" fmla="*/ 1080023 h 1944042"/>
                <a:gd name="connsiteX11" fmla="*/ 4606542 w 7485631"/>
                <a:gd name="connsiteY11" fmla="*/ 144003 h 1944042"/>
                <a:gd name="connsiteX12" fmla="*/ 5542246 w 7485631"/>
                <a:gd name="connsiteY12" fmla="*/ 0 h 1944042"/>
                <a:gd name="connsiteX13" fmla="*/ 7485631 w 7485631"/>
                <a:gd name="connsiteY13" fmla="*/ 792017 h 1944042"/>
                <a:gd name="connsiteX14" fmla="*/ 7485631 w 7485631"/>
                <a:gd name="connsiteY14" fmla="*/ 1944042 h 1944042"/>
                <a:gd name="connsiteX0" fmla="*/ 7485631 w 7485631"/>
                <a:gd name="connsiteY0" fmla="*/ 1944042 h 1944042"/>
                <a:gd name="connsiteX1" fmla="*/ 0 w 7485631"/>
                <a:gd name="connsiteY1" fmla="*/ 1944042 h 1944042"/>
                <a:gd name="connsiteX2" fmla="*/ 0 w 7485631"/>
                <a:gd name="connsiteY2" fmla="*/ 1872040 h 1944042"/>
                <a:gd name="connsiteX3" fmla="*/ 719772 w 7485631"/>
                <a:gd name="connsiteY3" fmla="*/ 1656036 h 1944042"/>
                <a:gd name="connsiteX4" fmla="*/ 1151636 w 7485631"/>
                <a:gd name="connsiteY4" fmla="*/ 1368030 h 1944042"/>
                <a:gd name="connsiteX5" fmla="*/ 1295590 w 7485631"/>
                <a:gd name="connsiteY5" fmla="*/ 1368030 h 1944042"/>
                <a:gd name="connsiteX6" fmla="*/ 1439544 w 7485631"/>
                <a:gd name="connsiteY6" fmla="*/ 1296028 h 1944042"/>
                <a:gd name="connsiteX7" fmla="*/ 1583499 w 7485631"/>
                <a:gd name="connsiteY7" fmla="*/ 1368030 h 1944042"/>
                <a:gd name="connsiteX8" fmla="*/ 2159317 w 7485631"/>
                <a:gd name="connsiteY8" fmla="*/ 1152025 h 1944042"/>
                <a:gd name="connsiteX9" fmla="*/ 2375248 w 7485631"/>
                <a:gd name="connsiteY9" fmla="*/ 1080023 h 1944042"/>
                <a:gd name="connsiteX10" fmla="*/ 2591180 w 7485631"/>
                <a:gd name="connsiteY10" fmla="*/ 1080023 h 1944042"/>
                <a:gd name="connsiteX11" fmla="*/ 4606542 w 7485631"/>
                <a:gd name="connsiteY11" fmla="*/ 144003 h 1944042"/>
                <a:gd name="connsiteX12" fmla="*/ 5542246 w 7485631"/>
                <a:gd name="connsiteY12" fmla="*/ 0 h 1944042"/>
                <a:gd name="connsiteX13" fmla="*/ 7485631 w 7485631"/>
                <a:gd name="connsiteY13" fmla="*/ 792017 h 1944042"/>
                <a:gd name="connsiteX14" fmla="*/ 7485631 w 7485631"/>
                <a:gd name="connsiteY14" fmla="*/ 1944042 h 1944042"/>
                <a:gd name="connsiteX0" fmla="*/ 7485631 w 7485631"/>
                <a:gd name="connsiteY0" fmla="*/ 1944042 h 1944042"/>
                <a:gd name="connsiteX1" fmla="*/ 0 w 7485631"/>
                <a:gd name="connsiteY1" fmla="*/ 1944042 h 1944042"/>
                <a:gd name="connsiteX2" fmla="*/ 0 w 7485631"/>
                <a:gd name="connsiteY2" fmla="*/ 1872040 h 1944042"/>
                <a:gd name="connsiteX3" fmla="*/ 719772 w 7485631"/>
                <a:gd name="connsiteY3" fmla="*/ 1656036 h 1944042"/>
                <a:gd name="connsiteX4" fmla="*/ 1151636 w 7485631"/>
                <a:gd name="connsiteY4" fmla="*/ 1368030 h 1944042"/>
                <a:gd name="connsiteX5" fmla="*/ 1295590 w 7485631"/>
                <a:gd name="connsiteY5" fmla="*/ 1368030 h 1944042"/>
                <a:gd name="connsiteX6" fmla="*/ 1439544 w 7485631"/>
                <a:gd name="connsiteY6" fmla="*/ 1296028 h 1944042"/>
                <a:gd name="connsiteX7" fmla="*/ 1583499 w 7485631"/>
                <a:gd name="connsiteY7" fmla="*/ 1368030 h 1944042"/>
                <a:gd name="connsiteX8" fmla="*/ 2015362 w 7485631"/>
                <a:gd name="connsiteY8" fmla="*/ 1152025 h 1944042"/>
                <a:gd name="connsiteX9" fmla="*/ 2159317 w 7485631"/>
                <a:gd name="connsiteY9" fmla="*/ 1152025 h 1944042"/>
                <a:gd name="connsiteX10" fmla="*/ 2375248 w 7485631"/>
                <a:gd name="connsiteY10" fmla="*/ 1080023 h 1944042"/>
                <a:gd name="connsiteX11" fmla="*/ 2591180 w 7485631"/>
                <a:gd name="connsiteY11" fmla="*/ 1080023 h 1944042"/>
                <a:gd name="connsiteX12" fmla="*/ 4606542 w 7485631"/>
                <a:gd name="connsiteY12" fmla="*/ 144003 h 1944042"/>
                <a:gd name="connsiteX13" fmla="*/ 5542246 w 7485631"/>
                <a:gd name="connsiteY13" fmla="*/ 0 h 1944042"/>
                <a:gd name="connsiteX14" fmla="*/ 7485631 w 7485631"/>
                <a:gd name="connsiteY14" fmla="*/ 792017 h 1944042"/>
                <a:gd name="connsiteX15" fmla="*/ 7485631 w 7485631"/>
                <a:gd name="connsiteY15" fmla="*/ 1944042 h 1944042"/>
                <a:gd name="connsiteX0" fmla="*/ 7485631 w 7485631"/>
                <a:gd name="connsiteY0" fmla="*/ 1944042 h 1944042"/>
                <a:gd name="connsiteX1" fmla="*/ 0 w 7485631"/>
                <a:gd name="connsiteY1" fmla="*/ 1944042 h 1944042"/>
                <a:gd name="connsiteX2" fmla="*/ 0 w 7485631"/>
                <a:gd name="connsiteY2" fmla="*/ 1872040 h 1944042"/>
                <a:gd name="connsiteX3" fmla="*/ 719772 w 7485631"/>
                <a:gd name="connsiteY3" fmla="*/ 1656036 h 1944042"/>
                <a:gd name="connsiteX4" fmla="*/ 1151636 w 7485631"/>
                <a:gd name="connsiteY4" fmla="*/ 1368030 h 1944042"/>
                <a:gd name="connsiteX5" fmla="*/ 1295590 w 7485631"/>
                <a:gd name="connsiteY5" fmla="*/ 1368030 h 1944042"/>
                <a:gd name="connsiteX6" fmla="*/ 1439544 w 7485631"/>
                <a:gd name="connsiteY6" fmla="*/ 1296028 h 1944042"/>
                <a:gd name="connsiteX7" fmla="*/ 1583499 w 7485631"/>
                <a:gd name="connsiteY7" fmla="*/ 1368030 h 1944042"/>
                <a:gd name="connsiteX8" fmla="*/ 2015362 w 7485631"/>
                <a:gd name="connsiteY8" fmla="*/ 1152025 h 1944042"/>
                <a:gd name="connsiteX9" fmla="*/ 2159317 w 7485631"/>
                <a:gd name="connsiteY9" fmla="*/ 1152025 h 1944042"/>
                <a:gd name="connsiteX10" fmla="*/ 2375248 w 7485631"/>
                <a:gd name="connsiteY10" fmla="*/ 1080023 h 1944042"/>
                <a:gd name="connsiteX11" fmla="*/ 2591180 w 7485631"/>
                <a:gd name="connsiteY11" fmla="*/ 1080023 h 1944042"/>
                <a:gd name="connsiteX12" fmla="*/ 4606542 w 7485631"/>
                <a:gd name="connsiteY12" fmla="*/ 144003 h 1944042"/>
                <a:gd name="connsiteX13" fmla="*/ 5542246 w 7485631"/>
                <a:gd name="connsiteY13" fmla="*/ 0 h 1944042"/>
                <a:gd name="connsiteX14" fmla="*/ 7485631 w 7485631"/>
                <a:gd name="connsiteY14" fmla="*/ 792017 h 1944042"/>
                <a:gd name="connsiteX15" fmla="*/ 7485631 w 7485631"/>
                <a:gd name="connsiteY15" fmla="*/ 1944042 h 1944042"/>
                <a:gd name="connsiteX0" fmla="*/ 7485631 w 7485631"/>
                <a:gd name="connsiteY0" fmla="*/ 1944042 h 1944042"/>
                <a:gd name="connsiteX1" fmla="*/ 0 w 7485631"/>
                <a:gd name="connsiteY1" fmla="*/ 1944042 h 1944042"/>
                <a:gd name="connsiteX2" fmla="*/ 0 w 7485631"/>
                <a:gd name="connsiteY2" fmla="*/ 1872040 h 1944042"/>
                <a:gd name="connsiteX3" fmla="*/ 719772 w 7485631"/>
                <a:gd name="connsiteY3" fmla="*/ 1656036 h 1944042"/>
                <a:gd name="connsiteX4" fmla="*/ 1151636 w 7485631"/>
                <a:gd name="connsiteY4" fmla="*/ 1368030 h 1944042"/>
                <a:gd name="connsiteX5" fmla="*/ 1295590 w 7485631"/>
                <a:gd name="connsiteY5" fmla="*/ 1368030 h 1944042"/>
                <a:gd name="connsiteX6" fmla="*/ 1439544 w 7485631"/>
                <a:gd name="connsiteY6" fmla="*/ 1296028 h 1944042"/>
                <a:gd name="connsiteX7" fmla="*/ 1583499 w 7485631"/>
                <a:gd name="connsiteY7" fmla="*/ 1368030 h 1944042"/>
                <a:gd name="connsiteX8" fmla="*/ 2015362 w 7485631"/>
                <a:gd name="connsiteY8" fmla="*/ 1152025 h 1944042"/>
                <a:gd name="connsiteX9" fmla="*/ 2159317 w 7485631"/>
                <a:gd name="connsiteY9" fmla="*/ 1152025 h 1944042"/>
                <a:gd name="connsiteX10" fmla="*/ 2375248 w 7485631"/>
                <a:gd name="connsiteY10" fmla="*/ 1080023 h 1944042"/>
                <a:gd name="connsiteX11" fmla="*/ 2591180 w 7485631"/>
                <a:gd name="connsiteY11" fmla="*/ 1080023 h 1944042"/>
                <a:gd name="connsiteX12" fmla="*/ 4606542 w 7485631"/>
                <a:gd name="connsiteY12" fmla="*/ 144003 h 1944042"/>
                <a:gd name="connsiteX13" fmla="*/ 5542246 w 7485631"/>
                <a:gd name="connsiteY13" fmla="*/ 0 h 1944042"/>
                <a:gd name="connsiteX14" fmla="*/ 7485631 w 7485631"/>
                <a:gd name="connsiteY14" fmla="*/ 792017 h 1944042"/>
                <a:gd name="connsiteX15" fmla="*/ 7485631 w 7485631"/>
                <a:gd name="connsiteY15" fmla="*/ 1944042 h 1944042"/>
                <a:gd name="connsiteX0" fmla="*/ 7485631 w 7485631"/>
                <a:gd name="connsiteY0" fmla="*/ 1944042 h 1944042"/>
                <a:gd name="connsiteX1" fmla="*/ 0 w 7485631"/>
                <a:gd name="connsiteY1" fmla="*/ 1944042 h 1944042"/>
                <a:gd name="connsiteX2" fmla="*/ 0 w 7485631"/>
                <a:gd name="connsiteY2" fmla="*/ 1872040 h 1944042"/>
                <a:gd name="connsiteX3" fmla="*/ 719772 w 7485631"/>
                <a:gd name="connsiteY3" fmla="*/ 1656036 h 1944042"/>
                <a:gd name="connsiteX4" fmla="*/ 1151636 w 7485631"/>
                <a:gd name="connsiteY4" fmla="*/ 1368030 h 1944042"/>
                <a:gd name="connsiteX5" fmla="*/ 1295590 w 7485631"/>
                <a:gd name="connsiteY5" fmla="*/ 1368030 h 1944042"/>
                <a:gd name="connsiteX6" fmla="*/ 1439544 w 7485631"/>
                <a:gd name="connsiteY6" fmla="*/ 1296028 h 1944042"/>
                <a:gd name="connsiteX7" fmla="*/ 1583499 w 7485631"/>
                <a:gd name="connsiteY7" fmla="*/ 1368030 h 1944042"/>
                <a:gd name="connsiteX8" fmla="*/ 2015362 w 7485631"/>
                <a:gd name="connsiteY8" fmla="*/ 1152025 h 1944042"/>
                <a:gd name="connsiteX9" fmla="*/ 2159317 w 7485631"/>
                <a:gd name="connsiteY9" fmla="*/ 1152025 h 1944042"/>
                <a:gd name="connsiteX10" fmla="*/ 2375248 w 7485631"/>
                <a:gd name="connsiteY10" fmla="*/ 1080023 h 1944042"/>
                <a:gd name="connsiteX11" fmla="*/ 2591180 w 7485631"/>
                <a:gd name="connsiteY11" fmla="*/ 1080023 h 1944042"/>
                <a:gd name="connsiteX12" fmla="*/ 4606542 w 7485631"/>
                <a:gd name="connsiteY12" fmla="*/ 144003 h 1944042"/>
                <a:gd name="connsiteX13" fmla="*/ 5542246 w 7485631"/>
                <a:gd name="connsiteY13" fmla="*/ 0 h 1944042"/>
                <a:gd name="connsiteX14" fmla="*/ 7485631 w 7485631"/>
                <a:gd name="connsiteY14" fmla="*/ 792017 h 1944042"/>
                <a:gd name="connsiteX15" fmla="*/ 7485631 w 7485631"/>
                <a:gd name="connsiteY15" fmla="*/ 1944042 h 1944042"/>
                <a:gd name="connsiteX0" fmla="*/ 7485631 w 7485631"/>
                <a:gd name="connsiteY0" fmla="*/ 1944042 h 1944042"/>
                <a:gd name="connsiteX1" fmla="*/ 0 w 7485631"/>
                <a:gd name="connsiteY1" fmla="*/ 1944042 h 1944042"/>
                <a:gd name="connsiteX2" fmla="*/ 0 w 7485631"/>
                <a:gd name="connsiteY2" fmla="*/ 1872040 h 1944042"/>
                <a:gd name="connsiteX3" fmla="*/ 719772 w 7485631"/>
                <a:gd name="connsiteY3" fmla="*/ 1656036 h 1944042"/>
                <a:gd name="connsiteX4" fmla="*/ 1151636 w 7485631"/>
                <a:gd name="connsiteY4" fmla="*/ 1368030 h 1944042"/>
                <a:gd name="connsiteX5" fmla="*/ 1295590 w 7485631"/>
                <a:gd name="connsiteY5" fmla="*/ 1512033 h 1944042"/>
                <a:gd name="connsiteX6" fmla="*/ 1439544 w 7485631"/>
                <a:gd name="connsiteY6" fmla="*/ 1296028 h 1944042"/>
                <a:gd name="connsiteX7" fmla="*/ 1583499 w 7485631"/>
                <a:gd name="connsiteY7" fmla="*/ 1368030 h 1944042"/>
                <a:gd name="connsiteX8" fmla="*/ 2015362 w 7485631"/>
                <a:gd name="connsiteY8" fmla="*/ 1152025 h 1944042"/>
                <a:gd name="connsiteX9" fmla="*/ 2159317 w 7485631"/>
                <a:gd name="connsiteY9" fmla="*/ 1152025 h 1944042"/>
                <a:gd name="connsiteX10" fmla="*/ 2375248 w 7485631"/>
                <a:gd name="connsiteY10" fmla="*/ 1080023 h 1944042"/>
                <a:gd name="connsiteX11" fmla="*/ 2591180 w 7485631"/>
                <a:gd name="connsiteY11" fmla="*/ 1080023 h 1944042"/>
                <a:gd name="connsiteX12" fmla="*/ 4606542 w 7485631"/>
                <a:gd name="connsiteY12" fmla="*/ 144003 h 1944042"/>
                <a:gd name="connsiteX13" fmla="*/ 5542246 w 7485631"/>
                <a:gd name="connsiteY13" fmla="*/ 0 h 1944042"/>
                <a:gd name="connsiteX14" fmla="*/ 7485631 w 7485631"/>
                <a:gd name="connsiteY14" fmla="*/ 792017 h 1944042"/>
                <a:gd name="connsiteX15" fmla="*/ 7485631 w 7485631"/>
                <a:gd name="connsiteY15" fmla="*/ 1944042 h 1944042"/>
                <a:gd name="connsiteX0" fmla="*/ 7485631 w 7485631"/>
                <a:gd name="connsiteY0" fmla="*/ 1944042 h 1944042"/>
                <a:gd name="connsiteX1" fmla="*/ 0 w 7485631"/>
                <a:gd name="connsiteY1" fmla="*/ 1944042 h 1944042"/>
                <a:gd name="connsiteX2" fmla="*/ 0 w 7485631"/>
                <a:gd name="connsiteY2" fmla="*/ 1872040 h 1944042"/>
                <a:gd name="connsiteX3" fmla="*/ 719772 w 7485631"/>
                <a:gd name="connsiteY3" fmla="*/ 1656036 h 1944042"/>
                <a:gd name="connsiteX4" fmla="*/ 1151636 w 7485631"/>
                <a:gd name="connsiteY4" fmla="*/ 1368030 h 1944042"/>
                <a:gd name="connsiteX5" fmla="*/ 1295590 w 7485631"/>
                <a:gd name="connsiteY5" fmla="*/ 1440031 h 1944042"/>
                <a:gd name="connsiteX6" fmla="*/ 1439544 w 7485631"/>
                <a:gd name="connsiteY6" fmla="*/ 1296028 h 1944042"/>
                <a:gd name="connsiteX7" fmla="*/ 1583499 w 7485631"/>
                <a:gd name="connsiteY7" fmla="*/ 1368030 h 1944042"/>
                <a:gd name="connsiteX8" fmla="*/ 2015362 w 7485631"/>
                <a:gd name="connsiteY8" fmla="*/ 1152025 h 1944042"/>
                <a:gd name="connsiteX9" fmla="*/ 2159317 w 7485631"/>
                <a:gd name="connsiteY9" fmla="*/ 1152025 h 1944042"/>
                <a:gd name="connsiteX10" fmla="*/ 2375248 w 7485631"/>
                <a:gd name="connsiteY10" fmla="*/ 1080023 h 1944042"/>
                <a:gd name="connsiteX11" fmla="*/ 2591180 w 7485631"/>
                <a:gd name="connsiteY11" fmla="*/ 1080023 h 1944042"/>
                <a:gd name="connsiteX12" fmla="*/ 4606542 w 7485631"/>
                <a:gd name="connsiteY12" fmla="*/ 144003 h 1944042"/>
                <a:gd name="connsiteX13" fmla="*/ 5542246 w 7485631"/>
                <a:gd name="connsiteY13" fmla="*/ 0 h 1944042"/>
                <a:gd name="connsiteX14" fmla="*/ 7485631 w 7485631"/>
                <a:gd name="connsiteY14" fmla="*/ 792017 h 1944042"/>
                <a:gd name="connsiteX15" fmla="*/ 7485631 w 7485631"/>
                <a:gd name="connsiteY15" fmla="*/ 1944042 h 1944042"/>
                <a:gd name="connsiteX0" fmla="*/ 7485631 w 7485631"/>
                <a:gd name="connsiteY0" fmla="*/ 1944042 h 1944042"/>
                <a:gd name="connsiteX1" fmla="*/ 0 w 7485631"/>
                <a:gd name="connsiteY1" fmla="*/ 1944042 h 1944042"/>
                <a:gd name="connsiteX2" fmla="*/ 0 w 7485631"/>
                <a:gd name="connsiteY2" fmla="*/ 1872040 h 1944042"/>
                <a:gd name="connsiteX3" fmla="*/ 719772 w 7485631"/>
                <a:gd name="connsiteY3" fmla="*/ 1656036 h 1944042"/>
                <a:gd name="connsiteX4" fmla="*/ 1151636 w 7485631"/>
                <a:gd name="connsiteY4" fmla="*/ 1368030 h 1944042"/>
                <a:gd name="connsiteX5" fmla="*/ 1295590 w 7485631"/>
                <a:gd name="connsiteY5" fmla="*/ 1440031 h 1944042"/>
                <a:gd name="connsiteX6" fmla="*/ 1439544 w 7485631"/>
                <a:gd name="connsiteY6" fmla="*/ 1296028 h 1944042"/>
                <a:gd name="connsiteX7" fmla="*/ 1583499 w 7485631"/>
                <a:gd name="connsiteY7" fmla="*/ 1368030 h 1944042"/>
                <a:gd name="connsiteX8" fmla="*/ 2015362 w 7485631"/>
                <a:gd name="connsiteY8" fmla="*/ 1152025 h 1944042"/>
                <a:gd name="connsiteX9" fmla="*/ 2159317 w 7485631"/>
                <a:gd name="connsiteY9" fmla="*/ 1152025 h 1944042"/>
                <a:gd name="connsiteX10" fmla="*/ 2375248 w 7485631"/>
                <a:gd name="connsiteY10" fmla="*/ 1080023 h 1944042"/>
                <a:gd name="connsiteX11" fmla="*/ 2591180 w 7485631"/>
                <a:gd name="connsiteY11" fmla="*/ 1080023 h 1944042"/>
                <a:gd name="connsiteX12" fmla="*/ 2951066 w 7485631"/>
                <a:gd name="connsiteY12" fmla="*/ 785804 h 1944042"/>
                <a:gd name="connsiteX13" fmla="*/ 4606542 w 7485631"/>
                <a:gd name="connsiteY13" fmla="*/ 144003 h 1944042"/>
                <a:gd name="connsiteX14" fmla="*/ 5542246 w 7485631"/>
                <a:gd name="connsiteY14" fmla="*/ 0 h 1944042"/>
                <a:gd name="connsiteX15" fmla="*/ 7485631 w 7485631"/>
                <a:gd name="connsiteY15" fmla="*/ 792017 h 1944042"/>
                <a:gd name="connsiteX16" fmla="*/ 7485631 w 7485631"/>
                <a:gd name="connsiteY16" fmla="*/ 1944042 h 1944042"/>
                <a:gd name="connsiteX0" fmla="*/ 7485631 w 7485631"/>
                <a:gd name="connsiteY0" fmla="*/ 1944042 h 1944042"/>
                <a:gd name="connsiteX1" fmla="*/ 0 w 7485631"/>
                <a:gd name="connsiteY1" fmla="*/ 1944042 h 1944042"/>
                <a:gd name="connsiteX2" fmla="*/ 0 w 7485631"/>
                <a:gd name="connsiteY2" fmla="*/ 1872040 h 1944042"/>
                <a:gd name="connsiteX3" fmla="*/ 719772 w 7485631"/>
                <a:gd name="connsiteY3" fmla="*/ 1656036 h 1944042"/>
                <a:gd name="connsiteX4" fmla="*/ 1151636 w 7485631"/>
                <a:gd name="connsiteY4" fmla="*/ 1368030 h 1944042"/>
                <a:gd name="connsiteX5" fmla="*/ 1295590 w 7485631"/>
                <a:gd name="connsiteY5" fmla="*/ 1440031 h 1944042"/>
                <a:gd name="connsiteX6" fmla="*/ 1439544 w 7485631"/>
                <a:gd name="connsiteY6" fmla="*/ 1296028 h 1944042"/>
                <a:gd name="connsiteX7" fmla="*/ 1583499 w 7485631"/>
                <a:gd name="connsiteY7" fmla="*/ 1368030 h 1944042"/>
                <a:gd name="connsiteX8" fmla="*/ 2015362 w 7485631"/>
                <a:gd name="connsiteY8" fmla="*/ 1152025 h 1944042"/>
                <a:gd name="connsiteX9" fmla="*/ 2159317 w 7485631"/>
                <a:gd name="connsiteY9" fmla="*/ 1152025 h 1944042"/>
                <a:gd name="connsiteX10" fmla="*/ 2375248 w 7485631"/>
                <a:gd name="connsiteY10" fmla="*/ 1080023 h 1944042"/>
                <a:gd name="connsiteX11" fmla="*/ 2591180 w 7485631"/>
                <a:gd name="connsiteY11" fmla="*/ 1080023 h 1944042"/>
                <a:gd name="connsiteX12" fmla="*/ 2951066 w 7485631"/>
                <a:gd name="connsiteY12" fmla="*/ 785804 h 1944042"/>
                <a:gd name="connsiteX13" fmla="*/ 4606542 w 7485631"/>
                <a:gd name="connsiteY13" fmla="*/ 144003 h 1944042"/>
                <a:gd name="connsiteX14" fmla="*/ 5542246 w 7485631"/>
                <a:gd name="connsiteY14" fmla="*/ 0 h 1944042"/>
                <a:gd name="connsiteX15" fmla="*/ 7485631 w 7485631"/>
                <a:gd name="connsiteY15" fmla="*/ 792017 h 1944042"/>
                <a:gd name="connsiteX16" fmla="*/ 7485631 w 7485631"/>
                <a:gd name="connsiteY16" fmla="*/ 1944042 h 1944042"/>
                <a:gd name="connsiteX0" fmla="*/ 7485631 w 7485631"/>
                <a:gd name="connsiteY0" fmla="*/ 1944042 h 1944042"/>
                <a:gd name="connsiteX1" fmla="*/ 0 w 7485631"/>
                <a:gd name="connsiteY1" fmla="*/ 1944042 h 1944042"/>
                <a:gd name="connsiteX2" fmla="*/ 0 w 7485631"/>
                <a:gd name="connsiteY2" fmla="*/ 1872040 h 1944042"/>
                <a:gd name="connsiteX3" fmla="*/ 719772 w 7485631"/>
                <a:gd name="connsiteY3" fmla="*/ 1656036 h 1944042"/>
                <a:gd name="connsiteX4" fmla="*/ 1151636 w 7485631"/>
                <a:gd name="connsiteY4" fmla="*/ 1368030 h 1944042"/>
                <a:gd name="connsiteX5" fmla="*/ 1295590 w 7485631"/>
                <a:gd name="connsiteY5" fmla="*/ 1440031 h 1944042"/>
                <a:gd name="connsiteX6" fmla="*/ 1439544 w 7485631"/>
                <a:gd name="connsiteY6" fmla="*/ 1296028 h 1944042"/>
                <a:gd name="connsiteX7" fmla="*/ 1583499 w 7485631"/>
                <a:gd name="connsiteY7" fmla="*/ 1368030 h 1944042"/>
                <a:gd name="connsiteX8" fmla="*/ 2015362 w 7485631"/>
                <a:gd name="connsiteY8" fmla="*/ 1152025 h 1944042"/>
                <a:gd name="connsiteX9" fmla="*/ 2159317 w 7485631"/>
                <a:gd name="connsiteY9" fmla="*/ 1152025 h 1944042"/>
                <a:gd name="connsiteX10" fmla="*/ 2375248 w 7485631"/>
                <a:gd name="connsiteY10" fmla="*/ 1080023 h 1944042"/>
                <a:gd name="connsiteX11" fmla="*/ 2591180 w 7485631"/>
                <a:gd name="connsiteY11" fmla="*/ 1080023 h 1944042"/>
                <a:gd name="connsiteX12" fmla="*/ 2951066 w 7485631"/>
                <a:gd name="connsiteY12" fmla="*/ 857805 h 1944042"/>
                <a:gd name="connsiteX13" fmla="*/ 4606542 w 7485631"/>
                <a:gd name="connsiteY13" fmla="*/ 144003 h 1944042"/>
                <a:gd name="connsiteX14" fmla="*/ 5542246 w 7485631"/>
                <a:gd name="connsiteY14" fmla="*/ 0 h 1944042"/>
                <a:gd name="connsiteX15" fmla="*/ 7485631 w 7485631"/>
                <a:gd name="connsiteY15" fmla="*/ 792017 h 1944042"/>
                <a:gd name="connsiteX16" fmla="*/ 7485631 w 7485631"/>
                <a:gd name="connsiteY16" fmla="*/ 1944042 h 1944042"/>
                <a:gd name="connsiteX0" fmla="*/ 7485631 w 7485631"/>
                <a:gd name="connsiteY0" fmla="*/ 1944042 h 1944042"/>
                <a:gd name="connsiteX1" fmla="*/ 0 w 7485631"/>
                <a:gd name="connsiteY1" fmla="*/ 1944042 h 1944042"/>
                <a:gd name="connsiteX2" fmla="*/ 0 w 7485631"/>
                <a:gd name="connsiteY2" fmla="*/ 1872040 h 1944042"/>
                <a:gd name="connsiteX3" fmla="*/ 719772 w 7485631"/>
                <a:gd name="connsiteY3" fmla="*/ 1656036 h 1944042"/>
                <a:gd name="connsiteX4" fmla="*/ 1151636 w 7485631"/>
                <a:gd name="connsiteY4" fmla="*/ 1368030 h 1944042"/>
                <a:gd name="connsiteX5" fmla="*/ 1295590 w 7485631"/>
                <a:gd name="connsiteY5" fmla="*/ 1440031 h 1944042"/>
                <a:gd name="connsiteX6" fmla="*/ 1439544 w 7485631"/>
                <a:gd name="connsiteY6" fmla="*/ 1296028 h 1944042"/>
                <a:gd name="connsiteX7" fmla="*/ 1583499 w 7485631"/>
                <a:gd name="connsiteY7" fmla="*/ 1368030 h 1944042"/>
                <a:gd name="connsiteX8" fmla="*/ 2015362 w 7485631"/>
                <a:gd name="connsiteY8" fmla="*/ 1152025 h 1944042"/>
                <a:gd name="connsiteX9" fmla="*/ 2159317 w 7485631"/>
                <a:gd name="connsiteY9" fmla="*/ 1152025 h 1944042"/>
                <a:gd name="connsiteX10" fmla="*/ 2375248 w 7485631"/>
                <a:gd name="connsiteY10" fmla="*/ 1080023 h 1944042"/>
                <a:gd name="connsiteX11" fmla="*/ 2591180 w 7485631"/>
                <a:gd name="connsiteY11" fmla="*/ 1080023 h 1944042"/>
                <a:gd name="connsiteX12" fmla="*/ 2951066 w 7485631"/>
                <a:gd name="connsiteY12" fmla="*/ 785804 h 1944042"/>
                <a:gd name="connsiteX13" fmla="*/ 4606542 w 7485631"/>
                <a:gd name="connsiteY13" fmla="*/ 144003 h 1944042"/>
                <a:gd name="connsiteX14" fmla="*/ 5542246 w 7485631"/>
                <a:gd name="connsiteY14" fmla="*/ 0 h 1944042"/>
                <a:gd name="connsiteX15" fmla="*/ 7485631 w 7485631"/>
                <a:gd name="connsiteY15" fmla="*/ 792017 h 1944042"/>
                <a:gd name="connsiteX16" fmla="*/ 7485631 w 7485631"/>
                <a:gd name="connsiteY16" fmla="*/ 1944042 h 1944042"/>
                <a:gd name="connsiteX0" fmla="*/ 7485631 w 7485631"/>
                <a:gd name="connsiteY0" fmla="*/ 1944042 h 1944042"/>
                <a:gd name="connsiteX1" fmla="*/ 0 w 7485631"/>
                <a:gd name="connsiteY1" fmla="*/ 1944042 h 1944042"/>
                <a:gd name="connsiteX2" fmla="*/ 0 w 7485631"/>
                <a:gd name="connsiteY2" fmla="*/ 1872040 h 1944042"/>
                <a:gd name="connsiteX3" fmla="*/ 719772 w 7485631"/>
                <a:gd name="connsiteY3" fmla="*/ 1656036 h 1944042"/>
                <a:gd name="connsiteX4" fmla="*/ 1151636 w 7485631"/>
                <a:gd name="connsiteY4" fmla="*/ 1368030 h 1944042"/>
                <a:gd name="connsiteX5" fmla="*/ 1295590 w 7485631"/>
                <a:gd name="connsiteY5" fmla="*/ 1440031 h 1944042"/>
                <a:gd name="connsiteX6" fmla="*/ 1439544 w 7485631"/>
                <a:gd name="connsiteY6" fmla="*/ 1296028 h 1944042"/>
                <a:gd name="connsiteX7" fmla="*/ 1583499 w 7485631"/>
                <a:gd name="connsiteY7" fmla="*/ 1368030 h 1944042"/>
                <a:gd name="connsiteX8" fmla="*/ 2015362 w 7485631"/>
                <a:gd name="connsiteY8" fmla="*/ 1152025 h 1944042"/>
                <a:gd name="connsiteX9" fmla="*/ 2159317 w 7485631"/>
                <a:gd name="connsiteY9" fmla="*/ 1152025 h 1944042"/>
                <a:gd name="connsiteX10" fmla="*/ 2375248 w 7485631"/>
                <a:gd name="connsiteY10" fmla="*/ 1080023 h 1944042"/>
                <a:gd name="connsiteX11" fmla="*/ 2591180 w 7485631"/>
                <a:gd name="connsiteY11" fmla="*/ 1080023 h 1944042"/>
                <a:gd name="connsiteX12" fmla="*/ 3095021 w 7485631"/>
                <a:gd name="connsiteY12" fmla="*/ 785804 h 1944042"/>
                <a:gd name="connsiteX13" fmla="*/ 4606542 w 7485631"/>
                <a:gd name="connsiteY13" fmla="*/ 144003 h 1944042"/>
                <a:gd name="connsiteX14" fmla="*/ 5542246 w 7485631"/>
                <a:gd name="connsiteY14" fmla="*/ 0 h 1944042"/>
                <a:gd name="connsiteX15" fmla="*/ 7485631 w 7485631"/>
                <a:gd name="connsiteY15" fmla="*/ 792017 h 1944042"/>
                <a:gd name="connsiteX16" fmla="*/ 7485631 w 7485631"/>
                <a:gd name="connsiteY16" fmla="*/ 1944042 h 1944042"/>
                <a:gd name="connsiteX0" fmla="*/ 7485631 w 7485631"/>
                <a:gd name="connsiteY0" fmla="*/ 1944042 h 1944042"/>
                <a:gd name="connsiteX1" fmla="*/ 0 w 7485631"/>
                <a:gd name="connsiteY1" fmla="*/ 1944042 h 1944042"/>
                <a:gd name="connsiteX2" fmla="*/ 0 w 7485631"/>
                <a:gd name="connsiteY2" fmla="*/ 1872040 h 1944042"/>
                <a:gd name="connsiteX3" fmla="*/ 719772 w 7485631"/>
                <a:gd name="connsiteY3" fmla="*/ 1656036 h 1944042"/>
                <a:gd name="connsiteX4" fmla="*/ 1151636 w 7485631"/>
                <a:gd name="connsiteY4" fmla="*/ 1368030 h 1944042"/>
                <a:gd name="connsiteX5" fmla="*/ 1295590 w 7485631"/>
                <a:gd name="connsiteY5" fmla="*/ 1440031 h 1944042"/>
                <a:gd name="connsiteX6" fmla="*/ 1439544 w 7485631"/>
                <a:gd name="connsiteY6" fmla="*/ 1296028 h 1944042"/>
                <a:gd name="connsiteX7" fmla="*/ 1583499 w 7485631"/>
                <a:gd name="connsiteY7" fmla="*/ 1368030 h 1944042"/>
                <a:gd name="connsiteX8" fmla="*/ 2015362 w 7485631"/>
                <a:gd name="connsiteY8" fmla="*/ 1152025 h 1944042"/>
                <a:gd name="connsiteX9" fmla="*/ 2159317 w 7485631"/>
                <a:gd name="connsiteY9" fmla="*/ 1152025 h 1944042"/>
                <a:gd name="connsiteX10" fmla="*/ 2375248 w 7485631"/>
                <a:gd name="connsiteY10" fmla="*/ 1080023 h 1944042"/>
                <a:gd name="connsiteX11" fmla="*/ 2591180 w 7485631"/>
                <a:gd name="connsiteY11" fmla="*/ 1080023 h 1944042"/>
                <a:gd name="connsiteX12" fmla="*/ 3023043 w 7485631"/>
                <a:gd name="connsiteY12" fmla="*/ 785804 h 1944042"/>
                <a:gd name="connsiteX13" fmla="*/ 4606542 w 7485631"/>
                <a:gd name="connsiteY13" fmla="*/ 144003 h 1944042"/>
                <a:gd name="connsiteX14" fmla="*/ 5542246 w 7485631"/>
                <a:gd name="connsiteY14" fmla="*/ 0 h 1944042"/>
                <a:gd name="connsiteX15" fmla="*/ 7485631 w 7485631"/>
                <a:gd name="connsiteY15" fmla="*/ 792017 h 1944042"/>
                <a:gd name="connsiteX16" fmla="*/ 7485631 w 7485631"/>
                <a:gd name="connsiteY16" fmla="*/ 1944042 h 1944042"/>
                <a:gd name="connsiteX0" fmla="*/ 7485631 w 10867739"/>
                <a:gd name="connsiteY0" fmla="*/ 1944042 h 1950394"/>
                <a:gd name="connsiteX1" fmla="*/ 0 w 10867739"/>
                <a:gd name="connsiteY1" fmla="*/ 1944042 h 1950394"/>
                <a:gd name="connsiteX2" fmla="*/ 0 w 10867739"/>
                <a:gd name="connsiteY2" fmla="*/ 1872040 h 1950394"/>
                <a:gd name="connsiteX3" fmla="*/ 719772 w 10867739"/>
                <a:gd name="connsiteY3" fmla="*/ 1656036 h 1950394"/>
                <a:gd name="connsiteX4" fmla="*/ 1151636 w 10867739"/>
                <a:gd name="connsiteY4" fmla="*/ 1368030 h 1950394"/>
                <a:gd name="connsiteX5" fmla="*/ 1295590 w 10867739"/>
                <a:gd name="connsiteY5" fmla="*/ 1440031 h 1950394"/>
                <a:gd name="connsiteX6" fmla="*/ 1439544 w 10867739"/>
                <a:gd name="connsiteY6" fmla="*/ 1296028 h 1950394"/>
                <a:gd name="connsiteX7" fmla="*/ 1583499 w 10867739"/>
                <a:gd name="connsiteY7" fmla="*/ 1368030 h 1950394"/>
                <a:gd name="connsiteX8" fmla="*/ 2015362 w 10867739"/>
                <a:gd name="connsiteY8" fmla="*/ 1152025 h 1950394"/>
                <a:gd name="connsiteX9" fmla="*/ 2159317 w 10867739"/>
                <a:gd name="connsiteY9" fmla="*/ 1152025 h 1950394"/>
                <a:gd name="connsiteX10" fmla="*/ 2375248 w 10867739"/>
                <a:gd name="connsiteY10" fmla="*/ 1080023 h 1950394"/>
                <a:gd name="connsiteX11" fmla="*/ 2591180 w 10867739"/>
                <a:gd name="connsiteY11" fmla="*/ 1080023 h 1950394"/>
                <a:gd name="connsiteX12" fmla="*/ 3023043 w 10867739"/>
                <a:gd name="connsiteY12" fmla="*/ 785804 h 1950394"/>
                <a:gd name="connsiteX13" fmla="*/ 4606542 w 10867739"/>
                <a:gd name="connsiteY13" fmla="*/ 144003 h 1950394"/>
                <a:gd name="connsiteX14" fmla="*/ 5542246 w 10867739"/>
                <a:gd name="connsiteY14" fmla="*/ 0 h 1950394"/>
                <a:gd name="connsiteX15" fmla="*/ 7485631 w 10867739"/>
                <a:gd name="connsiteY15" fmla="*/ 792017 h 1950394"/>
                <a:gd name="connsiteX16" fmla="*/ 10867739 w 10867739"/>
                <a:gd name="connsiteY16" fmla="*/ 1950394 h 1950394"/>
                <a:gd name="connsiteX17" fmla="*/ 7485631 w 10867739"/>
                <a:gd name="connsiteY17" fmla="*/ 1944042 h 1950394"/>
                <a:gd name="connsiteX0" fmla="*/ 7485631 w 9932158"/>
                <a:gd name="connsiteY0" fmla="*/ 1944042 h 1950394"/>
                <a:gd name="connsiteX1" fmla="*/ 0 w 9932158"/>
                <a:gd name="connsiteY1" fmla="*/ 1944042 h 1950394"/>
                <a:gd name="connsiteX2" fmla="*/ 0 w 9932158"/>
                <a:gd name="connsiteY2" fmla="*/ 1872040 h 1950394"/>
                <a:gd name="connsiteX3" fmla="*/ 719772 w 9932158"/>
                <a:gd name="connsiteY3" fmla="*/ 1656036 h 1950394"/>
                <a:gd name="connsiteX4" fmla="*/ 1151636 w 9932158"/>
                <a:gd name="connsiteY4" fmla="*/ 1368030 h 1950394"/>
                <a:gd name="connsiteX5" fmla="*/ 1295590 w 9932158"/>
                <a:gd name="connsiteY5" fmla="*/ 1440031 h 1950394"/>
                <a:gd name="connsiteX6" fmla="*/ 1439544 w 9932158"/>
                <a:gd name="connsiteY6" fmla="*/ 1296028 h 1950394"/>
                <a:gd name="connsiteX7" fmla="*/ 1583499 w 9932158"/>
                <a:gd name="connsiteY7" fmla="*/ 1368030 h 1950394"/>
                <a:gd name="connsiteX8" fmla="*/ 2015362 w 9932158"/>
                <a:gd name="connsiteY8" fmla="*/ 1152025 h 1950394"/>
                <a:gd name="connsiteX9" fmla="*/ 2159317 w 9932158"/>
                <a:gd name="connsiteY9" fmla="*/ 1152025 h 1950394"/>
                <a:gd name="connsiteX10" fmla="*/ 2375248 w 9932158"/>
                <a:gd name="connsiteY10" fmla="*/ 1080023 h 1950394"/>
                <a:gd name="connsiteX11" fmla="*/ 2591180 w 9932158"/>
                <a:gd name="connsiteY11" fmla="*/ 1080023 h 1950394"/>
                <a:gd name="connsiteX12" fmla="*/ 3023043 w 9932158"/>
                <a:gd name="connsiteY12" fmla="*/ 785804 h 1950394"/>
                <a:gd name="connsiteX13" fmla="*/ 4606542 w 9932158"/>
                <a:gd name="connsiteY13" fmla="*/ 144003 h 1950394"/>
                <a:gd name="connsiteX14" fmla="*/ 5542246 w 9932158"/>
                <a:gd name="connsiteY14" fmla="*/ 0 h 1950394"/>
                <a:gd name="connsiteX15" fmla="*/ 7485631 w 9932158"/>
                <a:gd name="connsiteY15" fmla="*/ 792017 h 1950394"/>
                <a:gd name="connsiteX16" fmla="*/ 9932158 w 9932158"/>
                <a:gd name="connsiteY16" fmla="*/ 1950394 h 1950394"/>
                <a:gd name="connsiteX17" fmla="*/ 7485631 w 9932158"/>
                <a:gd name="connsiteY17" fmla="*/ 1944042 h 1950394"/>
                <a:gd name="connsiteX0" fmla="*/ 7485631 w 13530543"/>
                <a:gd name="connsiteY0" fmla="*/ 1944042 h 1950394"/>
                <a:gd name="connsiteX1" fmla="*/ 0 w 13530543"/>
                <a:gd name="connsiteY1" fmla="*/ 1944042 h 1950394"/>
                <a:gd name="connsiteX2" fmla="*/ 0 w 13530543"/>
                <a:gd name="connsiteY2" fmla="*/ 1872040 h 1950394"/>
                <a:gd name="connsiteX3" fmla="*/ 719772 w 13530543"/>
                <a:gd name="connsiteY3" fmla="*/ 1656036 h 1950394"/>
                <a:gd name="connsiteX4" fmla="*/ 1151636 w 13530543"/>
                <a:gd name="connsiteY4" fmla="*/ 1368030 h 1950394"/>
                <a:gd name="connsiteX5" fmla="*/ 1295590 w 13530543"/>
                <a:gd name="connsiteY5" fmla="*/ 1440031 h 1950394"/>
                <a:gd name="connsiteX6" fmla="*/ 1439544 w 13530543"/>
                <a:gd name="connsiteY6" fmla="*/ 1296028 h 1950394"/>
                <a:gd name="connsiteX7" fmla="*/ 1583499 w 13530543"/>
                <a:gd name="connsiteY7" fmla="*/ 1368030 h 1950394"/>
                <a:gd name="connsiteX8" fmla="*/ 2015362 w 13530543"/>
                <a:gd name="connsiteY8" fmla="*/ 1152025 h 1950394"/>
                <a:gd name="connsiteX9" fmla="*/ 2159317 w 13530543"/>
                <a:gd name="connsiteY9" fmla="*/ 1152025 h 1950394"/>
                <a:gd name="connsiteX10" fmla="*/ 2375248 w 13530543"/>
                <a:gd name="connsiteY10" fmla="*/ 1080023 h 1950394"/>
                <a:gd name="connsiteX11" fmla="*/ 2591180 w 13530543"/>
                <a:gd name="connsiteY11" fmla="*/ 1080023 h 1950394"/>
                <a:gd name="connsiteX12" fmla="*/ 3023043 w 13530543"/>
                <a:gd name="connsiteY12" fmla="*/ 785804 h 1950394"/>
                <a:gd name="connsiteX13" fmla="*/ 4606542 w 13530543"/>
                <a:gd name="connsiteY13" fmla="*/ 144003 h 1950394"/>
                <a:gd name="connsiteX14" fmla="*/ 5542246 w 13530543"/>
                <a:gd name="connsiteY14" fmla="*/ 0 h 1950394"/>
                <a:gd name="connsiteX15" fmla="*/ 7485631 w 13530543"/>
                <a:gd name="connsiteY15" fmla="*/ 792017 h 1950394"/>
                <a:gd name="connsiteX16" fmla="*/ 13530543 w 13530543"/>
                <a:gd name="connsiteY16" fmla="*/ 1950394 h 1950394"/>
                <a:gd name="connsiteX17" fmla="*/ 7485631 w 13530543"/>
                <a:gd name="connsiteY17" fmla="*/ 1944042 h 1950394"/>
                <a:gd name="connsiteX0" fmla="*/ 7485631 w 15329734"/>
                <a:gd name="connsiteY0" fmla="*/ 1944042 h 1950394"/>
                <a:gd name="connsiteX1" fmla="*/ 0 w 15329734"/>
                <a:gd name="connsiteY1" fmla="*/ 1944042 h 1950394"/>
                <a:gd name="connsiteX2" fmla="*/ 0 w 15329734"/>
                <a:gd name="connsiteY2" fmla="*/ 1872040 h 1950394"/>
                <a:gd name="connsiteX3" fmla="*/ 719772 w 15329734"/>
                <a:gd name="connsiteY3" fmla="*/ 1656036 h 1950394"/>
                <a:gd name="connsiteX4" fmla="*/ 1151636 w 15329734"/>
                <a:gd name="connsiteY4" fmla="*/ 1368030 h 1950394"/>
                <a:gd name="connsiteX5" fmla="*/ 1295590 w 15329734"/>
                <a:gd name="connsiteY5" fmla="*/ 1440031 h 1950394"/>
                <a:gd name="connsiteX6" fmla="*/ 1439544 w 15329734"/>
                <a:gd name="connsiteY6" fmla="*/ 1296028 h 1950394"/>
                <a:gd name="connsiteX7" fmla="*/ 1583499 w 15329734"/>
                <a:gd name="connsiteY7" fmla="*/ 1368030 h 1950394"/>
                <a:gd name="connsiteX8" fmla="*/ 2015362 w 15329734"/>
                <a:gd name="connsiteY8" fmla="*/ 1152025 h 1950394"/>
                <a:gd name="connsiteX9" fmla="*/ 2159317 w 15329734"/>
                <a:gd name="connsiteY9" fmla="*/ 1152025 h 1950394"/>
                <a:gd name="connsiteX10" fmla="*/ 2375248 w 15329734"/>
                <a:gd name="connsiteY10" fmla="*/ 1080023 h 1950394"/>
                <a:gd name="connsiteX11" fmla="*/ 2591180 w 15329734"/>
                <a:gd name="connsiteY11" fmla="*/ 1080023 h 1950394"/>
                <a:gd name="connsiteX12" fmla="*/ 3023043 w 15329734"/>
                <a:gd name="connsiteY12" fmla="*/ 785804 h 1950394"/>
                <a:gd name="connsiteX13" fmla="*/ 4606542 w 15329734"/>
                <a:gd name="connsiteY13" fmla="*/ 144003 h 1950394"/>
                <a:gd name="connsiteX14" fmla="*/ 5542246 w 15329734"/>
                <a:gd name="connsiteY14" fmla="*/ 0 h 1950394"/>
                <a:gd name="connsiteX15" fmla="*/ 7485631 w 15329734"/>
                <a:gd name="connsiteY15" fmla="*/ 792017 h 1950394"/>
                <a:gd name="connsiteX16" fmla="*/ 15329734 w 15329734"/>
                <a:gd name="connsiteY16" fmla="*/ 1950394 h 1950394"/>
                <a:gd name="connsiteX17" fmla="*/ 7485631 w 15329734"/>
                <a:gd name="connsiteY17" fmla="*/ 1944042 h 1950394"/>
                <a:gd name="connsiteX0" fmla="*/ 7485631 w 12738898"/>
                <a:gd name="connsiteY0" fmla="*/ 1944042 h 1950394"/>
                <a:gd name="connsiteX1" fmla="*/ 0 w 12738898"/>
                <a:gd name="connsiteY1" fmla="*/ 1944042 h 1950394"/>
                <a:gd name="connsiteX2" fmla="*/ 0 w 12738898"/>
                <a:gd name="connsiteY2" fmla="*/ 1872040 h 1950394"/>
                <a:gd name="connsiteX3" fmla="*/ 719772 w 12738898"/>
                <a:gd name="connsiteY3" fmla="*/ 1656036 h 1950394"/>
                <a:gd name="connsiteX4" fmla="*/ 1151636 w 12738898"/>
                <a:gd name="connsiteY4" fmla="*/ 1368030 h 1950394"/>
                <a:gd name="connsiteX5" fmla="*/ 1295590 w 12738898"/>
                <a:gd name="connsiteY5" fmla="*/ 1440031 h 1950394"/>
                <a:gd name="connsiteX6" fmla="*/ 1439544 w 12738898"/>
                <a:gd name="connsiteY6" fmla="*/ 1296028 h 1950394"/>
                <a:gd name="connsiteX7" fmla="*/ 1583499 w 12738898"/>
                <a:gd name="connsiteY7" fmla="*/ 1368030 h 1950394"/>
                <a:gd name="connsiteX8" fmla="*/ 2015362 w 12738898"/>
                <a:gd name="connsiteY8" fmla="*/ 1152025 h 1950394"/>
                <a:gd name="connsiteX9" fmla="*/ 2159317 w 12738898"/>
                <a:gd name="connsiteY9" fmla="*/ 1152025 h 1950394"/>
                <a:gd name="connsiteX10" fmla="*/ 2375248 w 12738898"/>
                <a:gd name="connsiteY10" fmla="*/ 1080023 h 1950394"/>
                <a:gd name="connsiteX11" fmla="*/ 2591180 w 12738898"/>
                <a:gd name="connsiteY11" fmla="*/ 1080023 h 1950394"/>
                <a:gd name="connsiteX12" fmla="*/ 3023043 w 12738898"/>
                <a:gd name="connsiteY12" fmla="*/ 785804 h 1950394"/>
                <a:gd name="connsiteX13" fmla="*/ 4606542 w 12738898"/>
                <a:gd name="connsiteY13" fmla="*/ 144003 h 1950394"/>
                <a:gd name="connsiteX14" fmla="*/ 5542246 w 12738898"/>
                <a:gd name="connsiteY14" fmla="*/ 0 h 1950394"/>
                <a:gd name="connsiteX15" fmla="*/ 7485631 w 12738898"/>
                <a:gd name="connsiteY15" fmla="*/ 792017 h 1950394"/>
                <a:gd name="connsiteX16" fmla="*/ 12738898 w 12738898"/>
                <a:gd name="connsiteY16" fmla="*/ 1950394 h 1950394"/>
                <a:gd name="connsiteX17" fmla="*/ 7485631 w 12738898"/>
                <a:gd name="connsiteY17" fmla="*/ 1944042 h 1950394"/>
                <a:gd name="connsiteX0" fmla="*/ 7485631 w 12738898"/>
                <a:gd name="connsiteY0" fmla="*/ 1944042 h 1950394"/>
                <a:gd name="connsiteX1" fmla="*/ 0 w 12738898"/>
                <a:gd name="connsiteY1" fmla="*/ 1944042 h 1950394"/>
                <a:gd name="connsiteX2" fmla="*/ 0 w 12738898"/>
                <a:gd name="connsiteY2" fmla="*/ 1872040 h 1950394"/>
                <a:gd name="connsiteX3" fmla="*/ 719772 w 12738898"/>
                <a:gd name="connsiteY3" fmla="*/ 1656036 h 1950394"/>
                <a:gd name="connsiteX4" fmla="*/ 1151636 w 12738898"/>
                <a:gd name="connsiteY4" fmla="*/ 1368030 h 1950394"/>
                <a:gd name="connsiteX5" fmla="*/ 1295590 w 12738898"/>
                <a:gd name="connsiteY5" fmla="*/ 1440031 h 1950394"/>
                <a:gd name="connsiteX6" fmla="*/ 1439544 w 12738898"/>
                <a:gd name="connsiteY6" fmla="*/ 1296028 h 1950394"/>
                <a:gd name="connsiteX7" fmla="*/ 1583499 w 12738898"/>
                <a:gd name="connsiteY7" fmla="*/ 1368030 h 1950394"/>
                <a:gd name="connsiteX8" fmla="*/ 2015362 w 12738898"/>
                <a:gd name="connsiteY8" fmla="*/ 1152025 h 1950394"/>
                <a:gd name="connsiteX9" fmla="*/ 2159317 w 12738898"/>
                <a:gd name="connsiteY9" fmla="*/ 1152025 h 1950394"/>
                <a:gd name="connsiteX10" fmla="*/ 2375248 w 12738898"/>
                <a:gd name="connsiteY10" fmla="*/ 1080023 h 1950394"/>
                <a:gd name="connsiteX11" fmla="*/ 2591180 w 12738898"/>
                <a:gd name="connsiteY11" fmla="*/ 1080023 h 1950394"/>
                <a:gd name="connsiteX12" fmla="*/ 3023043 w 12738898"/>
                <a:gd name="connsiteY12" fmla="*/ 785804 h 1950394"/>
                <a:gd name="connsiteX13" fmla="*/ 4606542 w 12738898"/>
                <a:gd name="connsiteY13" fmla="*/ 144003 h 1950394"/>
                <a:gd name="connsiteX14" fmla="*/ 5542246 w 12738898"/>
                <a:gd name="connsiteY14" fmla="*/ 0 h 1950394"/>
                <a:gd name="connsiteX15" fmla="*/ 7485631 w 12738898"/>
                <a:gd name="connsiteY15" fmla="*/ 792017 h 1950394"/>
                <a:gd name="connsiteX16" fmla="*/ 9932158 w 12738898"/>
                <a:gd name="connsiteY16" fmla="*/ 1887561 h 1950394"/>
                <a:gd name="connsiteX17" fmla="*/ 12738898 w 12738898"/>
                <a:gd name="connsiteY17" fmla="*/ 1950394 h 1950394"/>
                <a:gd name="connsiteX18" fmla="*/ 7485631 w 12738898"/>
                <a:gd name="connsiteY18" fmla="*/ 1944042 h 1950394"/>
                <a:gd name="connsiteX0" fmla="*/ 7485631 w 12738898"/>
                <a:gd name="connsiteY0" fmla="*/ 1944042 h 1950394"/>
                <a:gd name="connsiteX1" fmla="*/ 0 w 12738898"/>
                <a:gd name="connsiteY1" fmla="*/ 1944042 h 1950394"/>
                <a:gd name="connsiteX2" fmla="*/ 0 w 12738898"/>
                <a:gd name="connsiteY2" fmla="*/ 1872040 h 1950394"/>
                <a:gd name="connsiteX3" fmla="*/ 719772 w 12738898"/>
                <a:gd name="connsiteY3" fmla="*/ 1656036 h 1950394"/>
                <a:gd name="connsiteX4" fmla="*/ 1151636 w 12738898"/>
                <a:gd name="connsiteY4" fmla="*/ 1368030 h 1950394"/>
                <a:gd name="connsiteX5" fmla="*/ 1295590 w 12738898"/>
                <a:gd name="connsiteY5" fmla="*/ 1440031 h 1950394"/>
                <a:gd name="connsiteX6" fmla="*/ 1439544 w 12738898"/>
                <a:gd name="connsiteY6" fmla="*/ 1296028 h 1950394"/>
                <a:gd name="connsiteX7" fmla="*/ 1583499 w 12738898"/>
                <a:gd name="connsiteY7" fmla="*/ 1368030 h 1950394"/>
                <a:gd name="connsiteX8" fmla="*/ 2015362 w 12738898"/>
                <a:gd name="connsiteY8" fmla="*/ 1152025 h 1950394"/>
                <a:gd name="connsiteX9" fmla="*/ 2159317 w 12738898"/>
                <a:gd name="connsiteY9" fmla="*/ 1152025 h 1950394"/>
                <a:gd name="connsiteX10" fmla="*/ 2375248 w 12738898"/>
                <a:gd name="connsiteY10" fmla="*/ 1080023 h 1950394"/>
                <a:gd name="connsiteX11" fmla="*/ 2591180 w 12738898"/>
                <a:gd name="connsiteY11" fmla="*/ 1080023 h 1950394"/>
                <a:gd name="connsiteX12" fmla="*/ 3023043 w 12738898"/>
                <a:gd name="connsiteY12" fmla="*/ 785804 h 1950394"/>
                <a:gd name="connsiteX13" fmla="*/ 4606542 w 12738898"/>
                <a:gd name="connsiteY13" fmla="*/ 144003 h 1950394"/>
                <a:gd name="connsiteX14" fmla="*/ 5542246 w 12738898"/>
                <a:gd name="connsiteY14" fmla="*/ 0 h 1950394"/>
                <a:gd name="connsiteX15" fmla="*/ 7485631 w 12738898"/>
                <a:gd name="connsiteY15" fmla="*/ 792017 h 1950394"/>
                <a:gd name="connsiteX16" fmla="*/ 10148062 w 12738898"/>
                <a:gd name="connsiteY16" fmla="*/ 1887561 h 1950394"/>
                <a:gd name="connsiteX17" fmla="*/ 12738898 w 12738898"/>
                <a:gd name="connsiteY17" fmla="*/ 1950394 h 1950394"/>
                <a:gd name="connsiteX18" fmla="*/ 7485631 w 12738898"/>
                <a:gd name="connsiteY18" fmla="*/ 1944042 h 1950394"/>
                <a:gd name="connsiteX0" fmla="*/ 7485631 w 12738898"/>
                <a:gd name="connsiteY0" fmla="*/ 1944042 h 1950394"/>
                <a:gd name="connsiteX1" fmla="*/ 0 w 12738898"/>
                <a:gd name="connsiteY1" fmla="*/ 1944042 h 1950394"/>
                <a:gd name="connsiteX2" fmla="*/ 0 w 12738898"/>
                <a:gd name="connsiteY2" fmla="*/ 1872040 h 1950394"/>
                <a:gd name="connsiteX3" fmla="*/ 719772 w 12738898"/>
                <a:gd name="connsiteY3" fmla="*/ 1656036 h 1950394"/>
                <a:gd name="connsiteX4" fmla="*/ 1151636 w 12738898"/>
                <a:gd name="connsiteY4" fmla="*/ 1368030 h 1950394"/>
                <a:gd name="connsiteX5" fmla="*/ 1295590 w 12738898"/>
                <a:gd name="connsiteY5" fmla="*/ 1440031 h 1950394"/>
                <a:gd name="connsiteX6" fmla="*/ 1439544 w 12738898"/>
                <a:gd name="connsiteY6" fmla="*/ 1296028 h 1950394"/>
                <a:gd name="connsiteX7" fmla="*/ 1583499 w 12738898"/>
                <a:gd name="connsiteY7" fmla="*/ 1368030 h 1950394"/>
                <a:gd name="connsiteX8" fmla="*/ 2015362 w 12738898"/>
                <a:gd name="connsiteY8" fmla="*/ 1152025 h 1950394"/>
                <a:gd name="connsiteX9" fmla="*/ 2159317 w 12738898"/>
                <a:gd name="connsiteY9" fmla="*/ 1152025 h 1950394"/>
                <a:gd name="connsiteX10" fmla="*/ 2375248 w 12738898"/>
                <a:gd name="connsiteY10" fmla="*/ 1080023 h 1950394"/>
                <a:gd name="connsiteX11" fmla="*/ 2591180 w 12738898"/>
                <a:gd name="connsiteY11" fmla="*/ 1080023 h 1950394"/>
                <a:gd name="connsiteX12" fmla="*/ 3023043 w 12738898"/>
                <a:gd name="connsiteY12" fmla="*/ 785804 h 1950394"/>
                <a:gd name="connsiteX13" fmla="*/ 4606542 w 12738898"/>
                <a:gd name="connsiteY13" fmla="*/ 144003 h 1950394"/>
                <a:gd name="connsiteX14" fmla="*/ 5542246 w 12738898"/>
                <a:gd name="connsiteY14" fmla="*/ 0 h 1950394"/>
                <a:gd name="connsiteX15" fmla="*/ 7485631 w 12738898"/>
                <a:gd name="connsiteY15" fmla="*/ 792017 h 1950394"/>
                <a:gd name="connsiteX16" fmla="*/ 10004126 w 12738898"/>
                <a:gd name="connsiteY16" fmla="*/ 1887561 h 1950394"/>
                <a:gd name="connsiteX17" fmla="*/ 12738898 w 12738898"/>
                <a:gd name="connsiteY17" fmla="*/ 1950394 h 1950394"/>
                <a:gd name="connsiteX18" fmla="*/ 7485631 w 12738898"/>
                <a:gd name="connsiteY18" fmla="*/ 1944042 h 1950394"/>
                <a:gd name="connsiteX0" fmla="*/ 7485631 w 12738898"/>
                <a:gd name="connsiteY0" fmla="*/ 1944042 h 1950394"/>
                <a:gd name="connsiteX1" fmla="*/ 0 w 12738898"/>
                <a:gd name="connsiteY1" fmla="*/ 1944042 h 1950394"/>
                <a:gd name="connsiteX2" fmla="*/ 0 w 12738898"/>
                <a:gd name="connsiteY2" fmla="*/ 1872040 h 1950394"/>
                <a:gd name="connsiteX3" fmla="*/ 719772 w 12738898"/>
                <a:gd name="connsiteY3" fmla="*/ 1656036 h 1950394"/>
                <a:gd name="connsiteX4" fmla="*/ 1151636 w 12738898"/>
                <a:gd name="connsiteY4" fmla="*/ 1368030 h 1950394"/>
                <a:gd name="connsiteX5" fmla="*/ 1295590 w 12738898"/>
                <a:gd name="connsiteY5" fmla="*/ 1440031 h 1950394"/>
                <a:gd name="connsiteX6" fmla="*/ 1439544 w 12738898"/>
                <a:gd name="connsiteY6" fmla="*/ 1296028 h 1950394"/>
                <a:gd name="connsiteX7" fmla="*/ 1583499 w 12738898"/>
                <a:gd name="connsiteY7" fmla="*/ 1368030 h 1950394"/>
                <a:gd name="connsiteX8" fmla="*/ 2015362 w 12738898"/>
                <a:gd name="connsiteY8" fmla="*/ 1152025 h 1950394"/>
                <a:gd name="connsiteX9" fmla="*/ 2159317 w 12738898"/>
                <a:gd name="connsiteY9" fmla="*/ 1152025 h 1950394"/>
                <a:gd name="connsiteX10" fmla="*/ 2375248 w 12738898"/>
                <a:gd name="connsiteY10" fmla="*/ 1080023 h 1950394"/>
                <a:gd name="connsiteX11" fmla="*/ 2591180 w 12738898"/>
                <a:gd name="connsiteY11" fmla="*/ 1080023 h 1950394"/>
                <a:gd name="connsiteX12" fmla="*/ 3023043 w 12738898"/>
                <a:gd name="connsiteY12" fmla="*/ 785804 h 1950394"/>
                <a:gd name="connsiteX13" fmla="*/ 4606542 w 12738898"/>
                <a:gd name="connsiteY13" fmla="*/ 144003 h 1950394"/>
                <a:gd name="connsiteX14" fmla="*/ 5542246 w 12738898"/>
                <a:gd name="connsiteY14" fmla="*/ 0 h 1950394"/>
                <a:gd name="connsiteX15" fmla="*/ 7485631 w 12738898"/>
                <a:gd name="connsiteY15" fmla="*/ 792017 h 1950394"/>
                <a:gd name="connsiteX16" fmla="*/ 10076094 w 12738898"/>
                <a:gd name="connsiteY16" fmla="*/ 1887561 h 1950394"/>
                <a:gd name="connsiteX17" fmla="*/ 12738898 w 12738898"/>
                <a:gd name="connsiteY17" fmla="*/ 1950394 h 1950394"/>
                <a:gd name="connsiteX18" fmla="*/ 7485631 w 12738898"/>
                <a:gd name="connsiteY18" fmla="*/ 1944042 h 1950394"/>
                <a:gd name="connsiteX0" fmla="*/ 7485631 w 12738898"/>
                <a:gd name="connsiteY0" fmla="*/ 1944042 h 1950394"/>
                <a:gd name="connsiteX1" fmla="*/ 0 w 12738898"/>
                <a:gd name="connsiteY1" fmla="*/ 1944042 h 1950394"/>
                <a:gd name="connsiteX2" fmla="*/ 0 w 12738898"/>
                <a:gd name="connsiteY2" fmla="*/ 1872040 h 1950394"/>
                <a:gd name="connsiteX3" fmla="*/ 719772 w 12738898"/>
                <a:gd name="connsiteY3" fmla="*/ 1656036 h 1950394"/>
                <a:gd name="connsiteX4" fmla="*/ 1151636 w 12738898"/>
                <a:gd name="connsiteY4" fmla="*/ 1368030 h 1950394"/>
                <a:gd name="connsiteX5" fmla="*/ 1295590 w 12738898"/>
                <a:gd name="connsiteY5" fmla="*/ 1440031 h 1950394"/>
                <a:gd name="connsiteX6" fmla="*/ 1439544 w 12738898"/>
                <a:gd name="connsiteY6" fmla="*/ 1296028 h 1950394"/>
                <a:gd name="connsiteX7" fmla="*/ 1583499 w 12738898"/>
                <a:gd name="connsiteY7" fmla="*/ 1368030 h 1950394"/>
                <a:gd name="connsiteX8" fmla="*/ 2015362 w 12738898"/>
                <a:gd name="connsiteY8" fmla="*/ 1152025 h 1950394"/>
                <a:gd name="connsiteX9" fmla="*/ 2159317 w 12738898"/>
                <a:gd name="connsiteY9" fmla="*/ 1152025 h 1950394"/>
                <a:gd name="connsiteX10" fmla="*/ 2375248 w 12738898"/>
                <a:gd name="connsiteY10" fmla="*/ 1080023 h 1950394"/>
                <a:gd name="connsiteX11" fmla="*/ 2591180 w 12738898"/>
                <a:gd name="connsiteY11" fmla="*/ 1080023 h 1950394"/>
                <a:gd name="connsiteX12" fmla="*/ 3023043 w 12738898"/>
                <a:gd name="connsiteY12" fmla="*/ 785804 h 1950394"/>
                <a:gd name="connsiteX13" fmla="*/ 4606542 w 12738898"/>
                <a:gd name="connsiteY13" fmla="*/ 144003 h 1950394"/>
                <a:gd name="connsiteX14" fmla="*/ 5542246 w 12738898"/>
                <a:gd name="connsiteY14" fmla="*/ 0 h 1950394"/>
                <a:gd name="connsiteX15" fmla="*/ 7485631 w 12738898"/>
                <a:gd name="connsiteY15" fmla="*/ 792017 h 1950394"/>
                <a:gd name="connsiteX16" fmla="*/ 10148062 w 12738898"/>
                <a:gd name="connsiteY16" fmla="*/ 1887561 h 1950394"/>
                <a:gd name="connsiteX17" fmla="*/ 12738898 w 12738898"/>
                <a:gd name="connsiteY17" fmla="*/ 1950394 h 1950394"/>
                <a:gd name="connsiteX18" fmla="*/ 7485631 w 12738898"/>
                <a:gd name="connsiteY18" fmla="*/ 1944042 h 1950394"/>
                <a:gd name="connsiteX0" fmla="*/ 7485631 w 12738898"/>
                <a:gd name="connsiteY0" fmla="*/ 1944042 h 1950394"/>
                <a:gd name="connsiteX1" fmla="*/ 0 w 12738898"/>
                <a:gd name="connsiteY1" fmla="*/ 1944042 h 1950394"/>
                <a:gd name="connsiteX2" fmla="*/ 0 w 12738898"/>
                <a:gd name="connsiteY2" fmla="*/ 1872040 h 1950394"/>
                <a:gd name="connsiteX3" fmla="*/ 719772 w 12738898"/>
                <a:gd name="connsiteY3" fmla="*/ 1656036 h 1950394"/>
                <a:gd name="connsiteX4" fmla="*/ 1151636 w 12738898"/>
                <a:gd name="connsiteY4" fmla="*/ 1368030 h 1950394"/>
                <a:gd name="connsiteX5" fmla="*/ 1295590 w 12738898"/>
                <a:gd name="connsiteY5" fmla="*/ 1440031 h 1950394"/>
                <a:gd name="connsiteX6" fmla="*/ 1439544 w 12738898"/>
                <a:gd name="connsiteY6" fmla="*/ 1296028 h 1950394"/>
                <a:gd name="connsiteX7" fmla="*/ 1583499 w 12738898"/>
                <a:gd name="connsiteY7" fmla="*/ 1368030 h 1950394"/>
                <a:gd name="connsiteX8" fmla="*/ 2015362 w 12738898"/>
                <a:gd name="connsiteY8" fmla="*/ 1152025 h 1950394"/>
                <a:gd name="connsiteX9" fmla="*/ 2159317 w 12738898"/>
                <a:gd name="connsiteY9" fmla="*/ 1152025 h 1950394"/>
                <a:gd name="connsiteX10" fmla="*/ 2375248 w 12738898"/>
                <a:gd name="connsiteY10" fmla="*/ 1080023 h 1950394"/>
                <a:gd name="connsiteX11" fmla="*/ 2591180 w 12738898"/>
                <a:gd name="connsiteY11" fmla="*/ 1080023 h 1950394"/>
                <a:gd name="connsiteX12" fmla="*/ 3023043 w 12738898"/>
                <a:gd name="connsiteY12" fmla="*/ 785804 h 1950394"/>
                <a:gd name="connsiteX13" fmla="*/ 4606542 w 12738898"/>
                <a:gd name="connsiteY13" fmla="*/ 144003 h 1950394"/>
                <a:gd name="connsiteX14" fmla="*/ 5542246 w 12738898"/>
                <a:gd name="connsiteY14" fmla="*/ 0 h 1950394"/>
                <a:gd name="connsiteX15" fmla="*/ 10148062 w 12738898"/>
                <a:gd name="connsiteY15" fmla="*/ 1887561 h 1950394"/>
                <a:gd name="connsiteX16" fmla="*/ 12738898 w 12738898"/>
                <a:gd name="connsiteY16" fmla="*/ 1950394 h 1950394"/>
                <a:gd name="connsiteX17" fmla="*/ 7485631 w 12738898"/>
                <a:gd name="connsiteY17" fmla="*/ 1944042 h 1950394"/>
                <a:gd name="connsiteX0" fmla="*/ 7485631 w 12379060"/>
                <a:gd name="connsiteY0" fmla="*/ 1944042 h 1950394"/>
                <a:gd name="connsiteX1" fmla="*/ 0 w 12379060"/>
                <a:gd name="connsiteY1" fmla="*/ 1944042 h 1950394"/>
                <a:gd name="connsiteX2" fmla="*/ 0 w 12379060"/>
                <a:gd name="connsiteY2" fmla="*/ 1872040 h 1950394"/>
                <a:gd name="connsiteX3" fmla="*/ 719772 w 12379060"/>
                <a:gd name="connsiteY3" fmla="*/ 1656036 h 1950394"/>
                <a:gd name="connsiteX4" fmla="*/ 1151636 w 12379060"/>
                <a:gd name="connsiteY4" fmla="*/ 1368030 h 1950394"/>
                <a:gd name="connsiteX5" fmla="*/ 1295590 w 12379060"/>
                <a:gd name="connsiteY5" fmla="*/ 1440031 h 1950394"/>
                <a:gd name="connsiteX6" fmla="*/ 1439544 w 12379060"/>
                <a:gd name="connsiteY6" fmla="*/ 1296028 h 1950394"/>
                <a:gd name="connsiteX7" fmla="*/ 1583499 w 12379060"/>
                <a:gd name="connsiteY7" fmla="*/ 1368030 h 1950394"/>
                <a:gd name="connsiteX8" fmla="*/ 2015362 w 12379060"/>
                <a:gd name="connsiteY8" fmla="*/ 1152025 h 1950394"/>
                <a:gd name="connsiteX9" fmla="*/ 2159317 w 12379060"/>
                <a:gd name="connsiteY9" fmla="*/ 1152025 h 1950394"/>
                <a:gd name="connsiteX10" fmla="*/ 2375248 w 12379060"/>
                <a:gd name="connsiteY10" fmla="*/ 1080023 h 1950394"/>
                <a:gd name="connsiteX11" fmla="*/ 2591180 w 12379060"/>
                <a:gd name="connsiteY11" fmla="*/ 1080023 h 1950394"/>
                <a:gd name="connsiteX12" fmla="*/ 3023043 w 12379060"/>
                <a:gd name="connsiteY12" fmla="*/ 785804 h 1950394"/>
                <a:gd name="connsiteX13" fmla="*/ 4606542 w 12379060"/>
                <a:gd name="connsiteY13" fmla="*/ 144003 h 1950394"/>
                <a:gd name="connsiteX14" fmla="*/ 5542246 w 12379060"/>
                <a:gd name="connsiteY14" fmla="*/ 0 h 1950394"/>
                <a:gd name="connsiteX15" fmla="*/ 10148062 w 12379060"/>
                <a:gd name="connsiteY15" fmla="*/ 1887561 h 1950394"/>
                <a:gd name="connsiteX16" fmla="*/ 12379060 w 12379060"/>
                <a:gd name="connsiteY16" fmla="*/ 1950394 h 1950394"/>
                <a:gd name="connsiteX17" fmla="*/ 7485631 w 12379060"/>
                <a:gd name="connsiteY17" fmla="*/ 1944042 h 1950394"/>
                <a:gd name="connsiteX0" fmla="*/ 7485631 w 12451028"/>
                <a:gd name="connsiteY0" fmla="*/ 1944042 h 1950394"/>
                <a:gd name="connsiteX1" fmla="*/ 0 w 12451028"/>
                <a:gd name="connsiteY1" fmla="*/ 1944042 h 1950394"/>
                <a:gd name="connsiteX2" fmla="*/ 0 w 12451028"/>
                <a:gd name="connsiteY2" fmla="*/ 1872040 h 1950394"/>
                <a:gd name="connsiteX3" fmla="*/ 719772 w 12451028"/>
                <a:gd name="connsiteY3" fmla="*/ 1656036 h 1950394"/>
                <a:gd name="connsiteX4" fmla="*/ 1151636 w 12451028"/>
                <a:gd name="connsiteY4" fmla="*/ 1368030 h 1950394"/>
                <a:gd name="connsiteX5" fmla="*/ 1295590 w 12451028"/>
                <a:gd name="connsiteY5" fmla="*/ 1440031 h 1950394"/>
                <a:gd name="connsiteX6" fmla="*/ 1439544 w 12451028"/>
                <a:gd name="connsiteY6" fmla="*/ 1296028 h 1950394"/>
                <a:gd name="connsiteX7" fmla="*/ 1583499 w 12451028"/>
                <a:gd name="connsiteY7" fmla="*/ 1368030 h 1950394"/>
                <a:gd name="connsiteX8" fmla="*/ 2015362 w 12451028"/>
                <a:gd name="connsiteY8" fmla="*/ 1152025 h 1950394"/>
                <a:gd name="connsiteX9" fmla="*/ 2159317 w 12451028"/>
                <a:gd name="connsiteY9" fmla="*/ 1152025 h 1950394"/>
                <a:gd name="connsiteX10" fmla="*/ 2375248 w 12451028"/>
                <a:gd name="connsiteY10" fmla="*/ 1080023 h 1950394"/>
                <a:gd name="connsiteX11" fmla="*/ 2591180 w 12451028"/>
                <a:gd name="connsiteY11" fmla="*/ 1080023 h 1950394"/>
                <a:gd name="connsiteX12" fmla="*/ 3023043 w 12451028"/>
                <a:gd name="connsiteY12" fmla="*/ 785804 h 1950394"/>
                <a:gd name="connsiteX13" fmla="*/ 4606542 w 12451028"/>
                <a:gd name="connsiteY13" fmla="*/ 144003 h 1950394"/>
                <a:gd name="connsiteX14" fmla="*/ 5542246 w 12451028"/>
                <a:gd name="connsiteY14" fmla="*/ 0 h 1950394"/>
                <a:gd name="connsiteX15" fmla="*/ 10148062 w 12451028"/>
                <a:gd name="connsiteY15" fmla="*/ 1887561 h 1950394"/>
                <a:gd name="connsiteX16" fmla="*/ 12451028 w 12451028"/>
                <a:gd name="connsiteY16" fmla="*/ 1950394 h 1950394"/>
                <a:gd name="connsiteX17" fmla="*/ 7485631 w 12451028"/>
                <a:gd name="connsiteY17" fmla="*/ 1944042 h 1950394"/>
                <a:gd name="connsiteX0" fmla="*/ 7485631 w 12594963"/>
                <a:gd name="connsiteY0" fmla="*/ 1944042 h 1950394"/>
                <a:gd name="connsiteX1" fmla="*/ 0 w 12594963"/>
                <a:gd name="connsiteY1" fmla="*/ 1944042 h 1950394"/>
                <a:gd name="connsiteX2" fmla="*/ 0 w 12594963"/>
                <a:gd name="connsiteY2" fmla="*/ 1872040 h 1950394"/>
                <a:gd name="connsiteX3" fmla="*/ 719772 w 12594963"/>
                <a:gd name="connsiteY3" fmla="*/ 1656036 h 1950394"/>
                <a:gd name="connsiteX4" fmla="*/ 1151636 w 12594963"/>
                <a:gd name="connsiteY4" fmla="*/ 1368030 h 1950394"/>
                <a:gd name="connsiteX5" fmla="*/ 1295590 w 12594963"/>
                <a:gd name="connsiteY5" fmla="*/ 1440031 h 1950394"/>
                <a:gd name="connsiteX6" fmla="*/ 1439544 w 12594963"/>
                <a:gd name="connsiteY6" fmla="*/ 1296028 h 1950394"/>
                <a:gd name="connsiteX7" fmla="*/ 1583499 w 12594963"/>
                <a:gd name="connsiteY7" fmla="*/ 1368030 h 1950394"/>
                <a:gd name="connsiteX8" fmla="*/ 2015362 w 12594963"/>
                <a:gd name="connsiteY8" fmla="*/ 1152025 h 1950394"/>
                <a:gd name="connsiteX9" fmla="*/ 2159317 w 12594963"/>
                <a:gd name="connsiteY9" fmla="*/ 1152025 h 1950394"/>
                <a:gd name="connsiteX10" fmla="*/ 2375248 w 12594963"/>
                <a:gd name="connsiteY10" fmla="*/ 1080023 h 1950394"/>
                <a:gd name="connsiteX11" fmla="*/ 2591180 w 12594963"/>
                <a:gd name="connsiteY11" fmla="*/ 1080023 h 1950394"/>
                <a:gd name="connsiteX12" fmla="*/ 3023043 w 12594963"/>
                <a:gd name="connsiteY12" fmla="*/ 785804 h 1950394"/>
                <a:gd name="connsiteX13" fmla="*/ 4606542 w 12594963"/>
                <a:gd name="connsiteY13" fmla="*/ 144003 h 1950394"/>
                <a:gd name="connsiteX14" fmla="*/ 5542246 w 12594963"/>
                <a:gd name="connsiteY14" fmla="*/ 0 h 1950394"/>
                <a:gd name="connsiteX15" fmla="*/ 10148062 w 12594963"/>
                <a:gd name="connsiteY15" fmla="*/ 1887561 h 1950394"/>
                <a:gd name="connsiteX16" fmla="*/ 12594963 w 12594963"/>
                <a:gd name="connsiteY16" fmla="*/ 1950394 h 1950394"/>
                <a:gd name="connsiteX17" fmla="*/ 7485631 w 12594963"/>
                <a:gd name="connsiteY17" fmla="*/ 1944042 h 1950394"/>
                <a:gd name="connsiteX0" fmla="*/ 7485631 w 12522995"/>
                <a:gd name="connsiteY0" fmla="*/ 1944042 h 1950394"/>
                <a:gd name="connsiteX1" fmla="*/ 0 w 12522995"/>
                <a:gd name="connsiteY1" fmla="*/ 1944042 h 1950394"/>
                <a:gd name="connsiteX2" fmla="*/ 0 w 12522995"/>
                <a:gd name="connsiteY2" fmla="*/ 1872040 h 1950394"/>
                <a:gd name="connsiteX3" fmla="*/ 719772 w 12522995"/>
                <a:gd name="connsiteY3" fmla="*/ 1656036 h 1950394"/>
                <a:gd name="connsiteX4" fmla="*/ 1151636 w 12522995"/>
                <a:gd name="connsiteY4" fmla="*/ 1368030 h 1950394"/>
                <a:gd name="connsiteX5" fmla="*/ 1295590 w 12522995"/>
                <a:gd name="connsiteY5" fmla="*/ 1440031 h 1950394"/>
                <a:gd name="connsiteX6" fmla="*/ 1439544 w 12522995"/>
                <a:gd name="connsiteY6" fmla="*/ 1296028 h 1950394"/>
                <a:gd name="connsiteX7" fmla="*/ 1583499 w 12522995"/>
                <a:gd name="connsiteY7" fmla="*/ 1368030 h 1950394"/>
                <a:gd name="connsiteX8" fmla="*/ 2015362 w 12522995"/>
                <a:gd name="connsiteY8" fmla="*/ 1152025 h 1950394"/>
                <a:gd name="connsiteX9" fmla="*/ 2159317 w 12522995"/>
                <a:gd name="connsiteY9" fmla="*/ 1152025 h 1950394"/>
                <a:gd name="connsiteX10" fmla="*/ 2375248 w 12522995"/>
                <a:gd name="connsiteY10" fmla="*/ 1080023 h 1950394"/>
                <a:gd name="connsiteX11" fmla="*/ 2591180 w 12522995"/>
                <a:gd name="connsiteY11" fmla="*/ 1080023 h 1950394"/>
                <a:gd name="connsiteX12" fmla="*/ 3023043 w 12522995"/>
                <a:gd name="connsiteY12" fmla="*/ 785804 h 1950394"/>
                <a:gd name="connsiteX13" fmla="*/ 4606542 w 12522995"/>
                <a:gd name="connsiteY13" fmla="*/ 144003 h 1950394"/>
                <a:gd name="connsiteX14" fmla="*/ 5542246 w 12522995"/>
                <a:gd name="connsiteY14" fmla="*/ 0 h 1950394"/>
                <a:gd name="connsiteX15" fmla="*/ 10148062 w 12522995"/>
                <a:gd name="connsiteY15" fmla="*/ 1887561 h 1950394"/>
                <a:gd name="connsiteX16" fmla="*/ 12522995 w 12522995"/>
                <a:gd name="connsiteY16" fmla="*/ 1950394 h 1950394"/>
                <a:gd name="connsiteX17" fmla="*/ 7485631 w 12522995"/>
                <a:gd name="connsiteY17" fmla="*/ 1944042 h 1950394"/>
                <a:gd name="connsiteX0" fmla="*/ 7485631 w 10512307"/>
                <a:gd name="connsiteY0" fmla="*/ 1944042 h 1944042"/>
                <a:gd name="connsiteX1" fmla="*/ 0 w 10512307"/>
                <a:gd name="connsiteY1" fmla="*/ 1944042 h 1944042"/>
                <a:gd name="connsiteX2" fmla="*/ 0 w 10512307"/>
                <a:gd name="connsiteY2" fmla="*/ 1872040 h 1944042"/>
                <a:gd name="connsiteX3" fmla="*/ 719772 w 10512307"/>
                <a:gd name="connsiteY3" fmla="*/ 1656036 h 1944042"/>
                <a:gd name="connsiteX4" fmla="*/ 1151636 w 10512307"/>
                <a:gd name="connsiteY4" fmla="*/ 1368030 h 1944042"/>
                <a:gd name="connsiteX5" fmla="*/ 1295590 w 10512307"/>
                <a:gd name="connsiteY5" fmla="*/ 1440031 h 1944042"/>
                <a:gd name="connsiteX6" fmla="*/ 1439544 w 10512307"/>
                <a:gd name="connsiteY6" fmla="*/ 1296028 h 1944042"/>
                <a:gd name="connsiteX7" fmla="*/ 1583499 w 10512307"/>
                <a:gd name="connsiteY7" fmla="*/ 1368030 h 1944042"/>
                <a:gd name="connsiteX8" fmla="*/ 2015362 w 10512307"/>
                <a:gd name="connsiteY8" fmla="*/ 1152025 h 1944042"/>
                <a:gd name="connsiteX9" fmla="*/ 2159317 w 10512307"/>
                <a:gd name="connsiteY9" fmla="*/ 1152025 h 1944042"/>
                <a:gd name="connsiteX10" fmla="*/ 2375248 w 10512307"/>
                <a:gd name="connsiteY10" fmla="*/ 1080023 h 1944042"/>
                <a:gd name="connsiteX11" fmla="*/ 2591180 w 10512307"/>
                <a:gd name="connsiteY11" fmla="*/ 1080023 h 1944042"/>
                <a:gd name="connsiteX12" fmla="*/ 3023043 w 10512307"/>
                <a:gd name="connsiteY12" fmla="*/ 785804 h 1944042"/>
                <a:gd name="connsiteX13" fmla="*/ 4606542 w 10512307"/>
                <a:gd name="connsiteY13" fmla="*/ 144003 h 1944042"/>
                <a:gd name="connsiteX14" fmla="*/ 5542246 w 10512307"/>
                <a:gd name="connsiteY14" fmla="*/ 0 h 1944042"/>
                <a:gd name="connsiteX15" fmla="*/ 10148062 w 10512307"/>
                <a:gd name="connsiteY15" fmla="*/ 1887561 h 1944042"/>
                <a:gd name="connsiteX16" fmla="*/ 10512307 w 10512307"/>
                <a:gd name="connsiteY16" fmla="*/ 1933993 h 1944042"/>
                <a:gd name="connsiteX17" fmla="*/ 7485631 w 10512307"/>
                <a:gd name="connsiteY17" fmla="*/ 1944042 h 1944042"/>
                <a:gd name="connsiteX0" fmla="*/ 7485631 w 10541596"/>
                <a:gd name="connsiteY0" fmla="*/ 1944042 h 1948774"/>
                <a:gd name="connsiteX1" fmla="*/ 0 w 10541596"/>
                <a:gd name="connsiteY1" fmla="*/ 1944042 h 1948774"/>
                <a:gd name="connsiteX2" fmla="*/ 0 w 10541596"/>
                <a:gd name="connsiteY2" fmla="*/ 1872040 h 1948774"/>
                <a:gd name="connsiteX3" fmla="*/ 719772 w 10541596"/>
                <a:gd name="connsiteY3" fmla="*/ 1656036 h 1948774"/>
                <a:gd name="connsiteX4" fmla="*/ 1151636 w 10541596"/>
                <a:gd name="connsiteY4" fmla="*/ 1368030 h 1948774"/>
                <a:gd name="connsiteX5" fmla="*/ 1295590 w 10541596"/>
                <a:gd name="connsiteY5" fmla="*/ 1440031 h 1948774"/>
                <a:gd name="connsiteX6" fmla="*/ 1439544 w 10541596"/>
                <a:gd name="connsiteY6" fmla="*/ 1296028 h 1948774"/>
                <a:gd name="connsiteX7" fmla="*/ 1583499 w 10541596"/>
                <a:gd name="connsiteY7" fmla="*/ 1368030 h 1948774"/>
                <a:gd name="connsiteX8" fmla="*/ 2015362 w 10541596"/>
                <a:gd name="connsiteY8" fmla="*/ 1152025 h 1948774"/>
                <a:gd name="connsiteX9" fmla="*/ 2159317 w 10541596"/>
                <a:gd name="connsiteY9" fmla="*/ 1152025 h 1948774"/>
                <a:gd name="connsiteX10" fmla="*/ 2375248 w 10541596"/>
                <a:gd name="connsiteY10" fmla="*/ 1080023 h 1948774"/>
                <a:gd name="connsiteX11" fmla="*/ 2591180 w 10541596"/>
                <a:gd name="connsiteY11" fmla="*/ 1080023 h 1948774"/>
                <a:gd name="connsiteX12" fmla="*/ 3023043 w 10541596"/>
                <a:gd name="connsiteY12" fmla="*/ 785804 h 1948774"/>
                <a:gd name="connsiteX13" fmla="*/ 4606542 w 10541596"/>
                <a:gd name="connsiteY13" fmla="*/ 144003 h 1948774"/>
                <a:gd name="connsiteX14" fmla="*/ 5542246 w 10541596"/>
                <a:gd name="connsiteY14" fmla="*/ 0 h 1948774"/>
                <a:gd name="connsiteX15" fmla="*/ 10148062 w 10541596"/>
                <a:gd name="connsiteY15" fmla="*/ 1887561 h 1948774"/>
                <a:gd name="connsiteX16" fmla="*/ 10541596 w 10541596"/>
                <a:gd name="connsiteY16" fmla="*/ 1948774 h 1948774"/>
                <a:gd name="connsiteX17" fmla="*/ 7485631 w 10541596"/>
                <a:gd name="connsiteY17" fmla="*/ 1944042 h 1948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541596" h="1948774">
                  <a:moveTo>
                    <a:pt x="7485631" y="1944042"/>
                  </a:moveTo>
                  <a:lnTo>
                    <a:pt x="0" y="1944042"/>
                  </a:lnTo>
                  <a:lnTo>
                    <a:pt x="0" y="1872040"/>
                  </a:lnTo>
                  <a:lnTo>
                    <a:pt x="719772" y="1656036"/>
                  </a:lnTo>
                  <a:lnTo>
                    <a:pt x="1151636" y="1368030"/>
                  </a:lnTo>
                  <a:lnTo>
                    <a:pt x="1295590" y="1440031"/>
                  </a:lnTo>
                  <a:lnTo>
                    <a:pt x="1439544" y="1296028"/>
                  </a:lnTo>
                  <a:lnTo>
                    <a:pt x="1583499" y="1368030"/>
                  </a:lnTo>
                  <a:lnTo>
                    <a:pt x="2015362" y="1152025"/>
                  </a:lnTo>
                  <a:lnTo>
                    <a:pt x="2159317" y="1152025"/>
                  </a:lnTo>
                  <a:lnTo>
                    <a:pt x="2375248" y="1080023"/>
                  </a:lnTo>
                  <a:lnTo>
                    <a:pt x="2591180" y="1080023"/>
                  </a:lnTo>
                  <a:lnTo>
                    <a:pt x="3023043" y="785804"/>
                  </a:lnTo>
                  <a:cubicBezTo>
                    <a:pt x="3358937" y="629801"/>
                    <a:pt x="4165918" y="299959"/>
                    <a:pt x="4606542" y="144003"/>
                  </a:cubicBezTo>
                  <a:lnTo>
                    <a:pt x="5542246" y="0"/>
                  </a:lnTo>
                  <a:lnTo>
                    <a:pt x="10148062" y="1887561"/>
                  </a:lnTo>
                  <a:lnTo>
                    <a:pt x="10541596" y="1948774"/>
                  </a:lnTo>
                  <a:lnTo>
                    <a:pt x="7485631" y="1944042"/>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a:defRPr/>
              </a:pPr>
              <a:endParaRPr lang="fr-FR">
                <a:solidFill>
                  <a:prstClr val="white"/>
                </a:solidFill>
                <a:latin typeface="Century Gothic" panose="020B0502020202020204" pitchFamily="34" charset="0"/>
              </a:endParaRPr>
            </a:p>
          </p:txBody>
        </p:sp>
      </p:grpSp>
      <p:grpSp>
        <p:nvGrpSpPr>
          <p:cNvPr id="15" name="Groupe 81">
            <a:extLst>
              <a:ext uri="{FF2B5EF4-FFF2-40B4-BE49-F238E27FC236}">
                <a16:creationId xmlns:a16="http://schemas.microsoft.com/office/drawing/2014/main" id="{B1CE21D2-6937-4C4E-BFF3-7CE90F0806D7}"/>
              </a:ext>
            </a:extLst>
          </p:cNvPr>
          <p:cNvGrpSpPr>
            <a:grpSpLocks/>
          </p:cNvGrpSpPr>
          <p:nvPr/>
        </p:nvGrpSpPr>
        <p:grpSpPr bwMode="auto">
          <a:xfrm>
            <a:off x="2046288" y="4438022"/>
            <a:ext cx="9866312" cy="1878013"/>
            <a:chOff x="1042988" y="4214848"/>
            <a:chExt cx="9865716" cy="1878448"/>
          </a:xfrm>
        </p:grpSpPr>
        <p:sp>
          <p:nvSpPr>
            <p:cNvPr id="16" name="Forme libre 10">
              <a:extLst>
                <a:ext uri="{FF2B5EF4-FFF2-40B4-BE49-F238E27FC236}">
                  <a16:creationId xmlns:a16="http://schemas.microsoft.com/office/drawing/2014/main" id="{CA73ABE4-35A8-4ED0-BCF0-968D4BB85E84}"/>
                </a:ext>
              </a:extLst>
            </p:cNvPr>
            <p:cNvSpPr/>
            <p:nvPr/>
          </p:nvSpPr>
          <p:spPr bwMode="auto">
            <a:xfrm>
              <a:off x="1042988" y="4214848"/>
              <a:ext cx="9865716" cy="1878448"/>
            </a:xfrm>
            <a:custGeom>
              <a:avLst/>
              <a:gdLst>
                <a:gd name="connsiteX0" fmla="*/ 173832 w 2331244"/>
                <a:gd name="connsiteY0" fmla="*/ 5938837 h 5967412"/>
                <a:gd name="connsiteX1" fmla="*/ 216694 w 2331244"/>
                <a:gd name="connsiteY1" fmla="*/ 2738437 h 5967412"/>
                <a:gd name="connsiteX2" fmla="*/ 2316957 w 2331244"/>
                <a:gd name="connsiteY2" fmla="*/ 538162 h 5967412"/>
                <a:gd name="connsiteX3" fmla="*/ 2331244 w 2331244"/>
                <a:gd name="connsiteY3" fmla="*/ 5967412 h 5967412"/>
                <a:gd name="connsiteX4" fmla="*/ 173832 w 2331244"/>
                <a:gd name="connsiteY4" fmla="*/ 5938837 h 5967412"/>
                <a:gd name="connsiteX0" fmla="*/ 198281 w 2355693"/>
                <a:gd name="connsiteY0" fmla="*/ 5938837 h 5967412"/>
                <a:gd name="connsiteX1" fmla="*/ 216694 w 2355693"/>
                <a:gd name="connsiteY1" fmla="*/ 1365721 h 5967412"/>
                <a:gd name="connsiteX2" fmla="*/ 2341406 w 2355693"/>
                <a:gd name="connsiteY2" fmla="*/ 538162 h 5967412"/>
                <a:gd name="connsiteX3" fmla="*/ 2355693 w 2355693"/>
                <a:gd name="connsiteY3" fmla="*/ 5967412 h 5967412"/>
                <a:gd name="connsiteX4" fmla="*/ 198281 w 2355693"/>
                <a:gd name="connsiteY4" fmla="*/ 5938837 h 5967412"/>
                <a:gd name="connsiteX0" fmla="*/ 0 w 2157412"/>
                <a:gd name="connsiteY0" fmla="*/ 5938837 h 5967412"/>
                <a:gd name="connsiteX1" fmla="*/ 18413 w 2157412"/>
                <a:gd name="connsiteY1" fmla="*/ 1365721 h 5967412"/>
                <a:gd name="connsiteX2" fmla="*/ 2143125 w 2157412"/>
                <a:gd name="connsiteY2" fmla="*/ 538162 h 5967412"/>
                <a:gd name="connsiteX3" fmla="*/ 2157412 w 2157412"/>
                <a:gd name="connsiteY3" fmla="*/ 5967412 h 5967412"/>
                <a:gd name="connsiteX4" fmla="*/ 0 w 2157412"/>
                <a:gd name="connsiteY4" fmla="*/ 5938837 h 5967412"/>
                <a:gd name="connsiteX0" fmla="*/ 0 w 2157412"/>
                <a:gd name="connsiteY0" fmla="*/ 5400675 h 5429250"/>
                <a:gd name="connsiteX1" fmla="*/ 18413 w 2157412"/>
                <a:gd name="connsiteY1" fmla="*/ 827559 h 5429250"/>
                <a:gd name="connsiteX2" fmla="*/ 2143125 w 2157412"/>
                <a:gd name="connsiteY2" fmla="*/ 0 h 5429250"/>
                <a:gd name="connsiteX3" fmla="*/ 2157412 w 2157412"/>
                <a:gd name="connsiteY3" fmla="*/ 5429250 h 5429250"/>
                <a:gd name="connsiteX4" fmla="*/ 0 w 2157412"/>
                <a:gd name="connsiteY4" fmla="*/ 5400675 h 5429250"/>
                <a:gd name="connsiteX0" fmla="*/ 366055 w 2145137"/>
                <a:gd name="connsiteY0" fmla="*/ 5076031 h 5429250"/>
                <a:gd name="connsiteX1" fmla="*/ 6138 w 2145137"/>
                <a:gd name="connsiteY1" fmla="*/ 827559 h 5429250"/>
                <a:gd name="connsiteX2" fmla="*/ 2130850 w 2145137"/>
                <a:gd name="connsiteY2" fmla="*/ 0 h 5429250"/>
                <a:gd name="connsiteX3" fmla="*/ 2145137 w 2145137"/>
                <a:gd name="connsiteY3" fmla="*/ 5429250 h 5429250"/>
                <a:gd name="connsiteX4" fmla="*/ 366055 w 2145137"/>
                <a:gd name="connsiteY4" fmla="*/ 5076031 h 5429250"/>
                <a:gd name="connsiteX0" fmla="*/ 6138 w 2145137"/>
                <a:gd name="connsiteY0" fmla="*/ 5436071 h 5436071"/>
                <a:gd name="connsiteX1" fmla="*/ 6138 w 2145137"/>
                <a:gd name="connsiteY1" fmla="*/ 827559 h 5436071"/>
                <a:gd name="connsiteX2" fmla="*/ 2130850 w 2145137"/>
                <a:gd name="connsiteY2" fmla="*/ 0 h 5436071"/>
                <a:gd name="connsiteX3" fmla="*/ 2145137 w 2145137"/>
                <a:gd name="connsiteY3" fmla="*/ 5429250 h 5436071"/>
                <a:gd name="connsiteX4" fmla="*/ 6138 w 2145137"/>
                <a:gd name="connsiteY4" fmla="*/ 5436071 h 5436071"/>
                <a:gd name="connsiteX0" fmla="*/ 6138 w 2130850"/>
                <a:gd name="connsiteY0" fmla="*/ 5436071 h 5436071"/>
                <a:gd name="connsiteX1" fmla="*/ 6138 w 2130850"/>
                <a:gd name="connsiteY1" fmla="*/ 827559 h 5436071"/>
                <a:gd name="connsiteX2" fmla="*/ 2130850 w 2130850"/>
                <a:gd name="connsiteY2" fmla="*/ 0 h 5436071"/>
                <a:gd name="connsiteX3" fmla="*/ 2021676 w 2130850"/>
                <a:gd name="connsiteY3" fmla="*/ 4932015 h 5436071"/>
                <a:gd name="connsiteX4" fmla="*/ 6138 w 2130850"/>
                <a:gd name="connsiteY4" fmla="*/ 5436071 h 5436071"/>
                <a:gd name="connsiteX0" fmla="*/ 6138 w 2165643"/>
                <a:gd name="connsiteY0" fmla="*/ 5436071 h 5436071"/>
                <a:gd name="connsiteX1" fmla="*/ 6138 w 2165643"/>
                <a:gd name="connsiteY1" fmla="*/ 827559 h 5436071"/>
                <a:gd name="connsiteX2" fmla="*/ 2130850 w 2165643"/>
                <a:gd name="connsiteY2" fmla="*/ 0 h 5436071"/>
                <a:gd name="connsiteX3" fmla="*/ 2165643 w 2165643"/>
                <a:gd name="connsiteY3" fmla="*/ 5436071 h 5436071"/>
                <a:gd name="connsiteX4" fmla="*/ 6138 w 2165643"/>
                <a:gd name="connsiteY4" fmla="*/ 5436071 h 5436071"/>
                <a:gd name="connsiteX0" fmla="*/ 6138 w 2165643"/>
                <a:gd name="connsiteY0" fmla="*/ 5184576 h 5184576"/>
                <a:gd name="connsiteX1" fmla="*/ 6138 w 2165643"/>
                <a:gd name="connsiteY1" fmla="*/ 576064 h 5184576"/>
                <a:gd name="connsiteX2" fmla="*/ 2165642 w 2165643"/>
                <a:gd name="connsiteY2" fmla="*/ 0 h 5184576"/>
                <a:gd name="connsiteX3" fmla="*/ 2165643 w 2165643"/>
                <a:gd name="connsiteY3" fmla="*/ 5184576 h 5184576"/>
                <a:gd name="connsiteX4" fmla="*/ 6138 w 2165643"/>
                <a:gd name="connsiteY4" fmla="*/ 5184576 h 5184576"/>
                <a:gd name="connsiteX0" fmla="*/ 6139 w 2165644"/>
                <a:gd name="connsiteY0" fmla="*/ 5184576 h 5184576"/>
                <a:gd name="connsiteX1" fmla="*/ 6138 w 2165644"/>
                <a:gd name="connsiteY1" fmla="*/ 648071 h 5184576"/>
                <a:gd name="connsiteX2" fmla="*/ 2165643 w 2165644"/>
                <a:gd name="connsiteY2" fmla="*/ 0 h 5184576"/>
                <a:gd name="connsiteX3" fmla="*/ 2165644 w 2165644"/>
                <a:gd name="connsiteY3" fmla="*/ 5184576 h 5184576"/>
                <a:gd name="connsiteX4" fmla="*/ 6139 w 2165644"/>
                <a:gd name="connsiteY4" fmla="*/ 5184576 h 5184576"/>
                <a:gd name="connsiteX0" fmla="*/ 6139 w 2165644"/>
                <a:gd name="connsiteY0" fmla="*/ 5256585 h 5256585"/>
                <a:gd name="connsiteX1" fmla="*/ 6138 w 2165644"/>
                <a:gd name="connsiteY1" fmla="*/ 720080 h 5256585"/>
                <a:gd name="connsiteX2" fmla="*/ 2165644 w 2165644"/>
                <a:gd name="connsiteY2" fmla="*/ 0 h 5256585"/>
                <a:gd name="connsiteX3" fmla="*/ 2165644 w 2165644"/>
                <a:gd name="connsiteY3" fmla="*/ 5256585 h 5256585"/>
                <a:gd name="connsiteX4" fmla="*/ 6139 w 2165644"/>
                <a:gd name="connsiteY4" fmla="*/ 5256585 h 5256585"/>
                <a:gd name="connsiteX0" fmla="*/ 78122 w 2237627"/>
                <a:gd name="connsiteY0" fmla="*/ 5256585 h 5256585"/>
                <a:gd name="connsiteX1" fmla="*/ 6138 w 2237627"/>
                <a:gd name="connsiteY1" fmla="*/ 720081 h 5256585"/>
                <a:gd name="connsiteX2" fmla="*/ 2237627 w 2237627"/>
                <a:gd name="connsiteY2" fmla="*/ 0 h 5256585"/>
                <a:gd name="connsiteX3" fmla="*/ 2237627 w 2237627"/>
                <a:gd name="connsiteY3" fmla="*/ 5256585 h 5256585"/>
                <a:gd name="connsiteX4" fmla="*/ 78122 w 2237627"/>
                <a:gd name="connsiteY4" fmla="*/ 5256585 h 5256585"/>
                <a:gd name="connsiteX0" fmla="*/ 6138 w 2237627"/>
                <a:gd name="connsiteY0" fmla="*/ 5256585 h 5256585"/>
                <a:gd name="connsiteX1" fmla="*/ 6138 w 2237627"/>
                <a:gd name="connsiteY1" fmla="*/ 720081 h 5256585"/>
                <a:gd name="connsiteX2" fmla="*/ 2237627 w 2237627"/>
                <a:gd name="connsiteY2" fmla="*/ 0 h 5256585"/>
                <a:gd name="connsiteX3" fmla="*/ 2237627 w 2237627"/>
                <a:gd name="connsiteY3" fmla="*/ 5256585 h 5256585"/>
                <a:gd name="connsiteX4" fmla="*/ 6138 w 2237627"/>
                <a:gd name="connsiteY4" fmla="*/ 5256585 h 5256585"/>
                <a:gd name="connsiteX0" fmla="*/ 12276 w 2243765"/>
                <a:gd name="connsiteY0" fmla="*/ 5256585 h 5256585"/>
                <a:gd name="connsiteX1" fmla="*/ 6138 w 2243765"/>
                <a:gd name="connsiteY1" fmla="*/ 2088232 h 5256585"/>
                <a:gd name="connsiteX2" fmla="*/ 2243765 w 2243765"/>
                <a:gd name="connsiteY2" fmla="*/ 0 h 5256585"/>
                <a:gd name="connsiteX3" fmla="*/ 2243765 w 2243765"/>
                <a:gd name="connsiteY3" fmla="*/ 5256585 h 5256585"/>
                <a:gd name="connsiteX4" fmla="*/ 12276 w 2243765"/>
                <a:gd name="connsiteY4" fmla="*/ 5256585 h 5256585"/>
                <a:gd name="connsiteX0" fmla="*/ 12276 w 2243765"/>
                <a:gd name="connsiteY0" fmla="*/ 3168353 h 3168353"/>
                <a:gd name="connsiteX1" fmla="*/ 6138 w 2243765"/>
                <a:gd name="connsiteY1" fmla="*/ 0 h 3168353"/>
                <a:gd name="connsiteX2" fmla="*/ 2021677 w 2243765"/>
                <a:gd name="connsiteY2" fmla="*/ 2160240 h 3168353"/>
                <a:gd name="connsiteX3" fmla="*/ 2243765 w 2243765"/>
                <a:gd name="connsiteY3" fmla="*/ 3168353 h 3168353"/>
                <a:gd name="connsiteX4" fmla="*/ 12276 w 2243765"/>
                <a:gd name="connsiteY4" fmla="*/ 3168353 h 3168353"/>
                <a:gd name="connsiteX0" fmla="*/ 12276 w 2243765"/>
                <a:gd name="connsiteY0" fmla="*/ 3168353 h 3168353"/>
                <a:gd name="connsiteX1" fmla="*/ 6138 w 2243765"/>
                <a:gd name="connsiteY1" fmla="*/ 0 h 3168353"/>
                <a:gd name="connsiteX2" fmla="*/ 2021677 w 2243765"/>
                <a:gd name="connsiteY2" fmla="*/ 2160240 h 3168353"/>
                <a:gd name="connsiteX3" fmla="*/ 2243765 w 2243765"/>
                <a:gd name="connsiteY3" fmla="*/ 3168353 h 3168353"/>
                <a:gd name="connsiteX4" fmla="*/ 12276 w 2243765"/>
                <a:gd name="connsiteY4" fmla="*/ 3168353 h 3168353"/>
                <a:gd name="connsiteX0" fmla="*/ 12276 w 2243765"/>
                <a:gd name="connsiteY0" fmla="*/ 3168353 h 3168353"/>
                <a:gd name="connsiteX1" fmla="*/ 6138 w 2243765"/>
                <a:gd name="connsiteY1" fmla="*/ 0 h 3168353"/>
                <a:gd name="connsiteX2" fmla="*/ 2237627 w 2243765"/>
                <a:gd name="connsiteY2" fmla="*/ 2232248 h 3168353"/>
                <a:gd name="connsiteX3" fmla="*/ 2243765 w 2243765"/>
                <a:gd name="connsiteY3" fmla="*/ 3168353 h 3168353"/>
                <a:gd name="connsiteX4" fmla="*/ 12276 w 2243765"/>
                <a:gd name="connsiteY4" fmla="*/ 3168353 h 3168353"/>
                <a:gd name="connsiteX0" fmla="*/ 12276 w 2243765"/>
                <a:gd name="connsiteY0" fmla="*/ 3168353 h 3168353"/>
                <a:gd name="connsiteX1" fmla="*/ 6138 w 2243765"/>
                <a:gd name="connsiteY1" fmla="*/ 0 h 3168353"/>
                <a:gd name="connsiteX2" fmla="*/ 2237627 w 2243765"/>
                <a:gd name="connsiteY2" fmla="*/ 3096344 h 3168353"/>
                <a:gd name="connsiteX3" fmla="*/ 2243765 w 2243765"/>
                <a:gd name="connsiteY3" fmla="*/ 3168353 h 3168353"/>
                <a:gd name="connsiteX4" fmla="*/ 12276 w 2243765"/>
                <a:gd name="connsiteY4" fmla="*/ 3168353 h 3168353"/>
                <a:gd name="connsiteX0" fmla="*/ 12276 w 2243765"/>
                <a:gd name="connsiteY0" fmla="*/ 3168353 h 3168353"/>
                <a:gd name="connsiteX1" fmla="*/ 6138 w 2243765"/>
                <a:gd name="connsiteY1" fmla="*/ 0 h 3168353"/>
                <a:gd name="connsiteX2" fmla="*/ 2165644 w 2243765"/>
                <a:gd name="connsiteY2" fmla="*/ 2448272 h 3168353"/>
                <a:gd name="connsiteX3" fmla="*/ 2237627 w 2243765"/>
                <a:gd name="connsiteY3" fmla="*/ 3096344 h 3168353"/>
                <a:gd name="connsiteX4" fmla="*/ 2243765 w 2243765"/>
                <a:gd name="connsiteY4" fmla="*/ 3168353 h 3168353"/>
                <a:gd name="connsiteX5" fmla="*/ 12276 w 2243765"/>
                <a:gd name="connsiteY5" fmla="*/ 3168353 h 3168353"/>
                <a:gd name="connsiteX0" fmla="*/ 12276 w 2243765"/>
                <a:gd name="connsiteY0" fmla="*/ 3168353 h 3168353"/>
                <a:gd name="connsiteX1" fmla="*/ 6138 w 2243765"/>
                <a:gd name="connsiteY1" fmla="*/ 0 h 3168353"/>
                <a:gd name="connsiteX2" fmla="*/ 1085891 w 2243765"/>
                <a:gd name="connsiteY2" fmla="*/ 2160240 h 3168353"/>
                <a:gd name="connsiteX3" fmla="*/ 2165644 w 2243765"/>
                <a:gd name="connsiteY3" fmla="*/ 2448272 h 3168353"/>
                <a:gd name="connsiteX4" fmla="*/ 2237627 w 2243765"/>
                <a:gd name="connsiteY4" fmla="*/ 3096344 h 3168353"/>
                <a:gd name="connsiteX5" fmla="*/ 2243765 w 2243765"/>
                <a:gd name="connsiteY5" fmla="*/ 3168353 h 3168353"/>
                <a:gd name="connsiteX6" fmla="*/ 12276 w 2243765"/>
                <a:gd name="connsiteY6" fmla="*/ 3168353 h 3168353"/>
                <a:gd name="connsiteX0" fmla="*/ 12276 w 2243765"/>
                <a:gd name="connsiteY0" fmla="*/ 3168353 h 3168353"/>
                <a:gd name="connsiteX1" fmla="*/ 6138 w 2243765"/>
                <a:gd name="connsiteY1" fmla="*/ 0 h 3168353"/>
                <a:gd name="connsiteX2" fmla="*/ 1373825 w 2243765"/>
                <a:gd name="connsiteY2" fmla="*/ 2088232 h 3168353"/>
                <a:gd name="connsiteX3" fmla="*/ 2165644 w 2243765"/>
                <a:gd name="connsiteY3" fmla="*/ 2448272 h 3168353"/>
                <a:gd name="connsiteX4" fmla="*/ 2237627 w 2243765"/>
                <a:gd name="connsiteY4" fmla="*/ 3096344 h 3168353"/>
                <a:gd name="connsiteX5" fmla="*/ 2243765 w 2243765"/>
                <a:gd name="connsiteY5" fmla="*/ 3168353 h 3168353"/>
                <a:gd name="connsiteX6" fmla="*/ 12276 w 2243765"/>
                <a:gd name="connsiteY6" fmla="*/ 3168353 h 3168353"/>
                <a:gd name="connsiteX0" fmla="*/ 12276 w 2243765"/>
                <a:gd name="connsiteY0" fmla="*/ 3348373 h 3348373"/>
                <a:gd name="connsiteX1" fmla="*/ 6138 w 2243765"/>
                <a:gd name="connsiteY1" fmla="*/ 180020 h 3348373"/>
                <a:gd name="connsiteX2" fmla="*/ 1373825 w 2243765"/>
                <a:gd name="connsiteY2" fmla="*/ 2268252 h 3348373"/>
                <a:gd name="connsiteX3" fmla="*/ 2165644 w 2243765"/>
                <a:gd name="connsiteY3" fmla="*/ 2628292 h 3348373"/>
                <a:gd name="connsiteX4" fmla="*/ 2237627 w 2243765"/>
                <a:gd name="connsiteY4" fmla="*/ 3276364 h 3348373"/>
                <a:gd name="connsiteX5" fmla="*/ 2243765 w 2243765"/>
                <a:gd name="connsiteY5" fmla="*/ 3348373 h 3348373"/>
                <a:gd name="connsiteX6" fmla="*/ 12276 w 2243765"/>
                <a:gd name="connsiteY6" fmla="*/ 3348373 h 3348373"/>
                <a:gd name="connsiteX0" fmla="*/ 12276 w 2243765"/>
                <a:gd name="connsiteY0" fmla="*/ 3348373 h 3348373"/>
                <a:gd name="connsiteX1" fmla="*/ 6138 w 2243765"/>
                <a:gd name="connsiteY1" fmla="*/ 180020 h 3348373"/>
                <a:gd name="connsiteX2" fmla="*/ 1373825 w 2243765"/>
                <a:gd name="connsiteY2" fmla="*/ 2268252 h 3348373"/>
                <a:gd name="connsiteX3" fmla="*/ 2165644 w 2243765"/>
                <a:gd name="connsiteY3" fmla="*/ 2628292 h 3348373"/>
                <a:gd name="connsiteX4" fmla="*/ 2237627 w 2243765"/>
                <a:gd name="connsiteY4" fmla="*/ 3276364 h 3348373"/>
                <a:gd name="connsiteX5" fmla="*/ 2243765 w 2243765"/>
                <a:gd name="connsiteY5" fmla="*/ 3348373 h 3348373"/>
                <a:gd name="connsiteX6" fmla="*/ 12276 w 2243765"/>
                <a:gd name="connsiteY6" fmla="*/ 3348373 h 3348373"/>
                <a:gd name="connsiteX0" fmla="*/ 12276 w 2243765"/>
                <a:gd name="connsiteY0" fmla="*/ 3348373 h 3348373"/>
                <a:gd name="connsiteX1" fmla="*/ 6138 w 2243765"/>
                <a:gd name="connsiteY1" fmla="*/ 180020 h 3348373"/>
                <a:gd name="connsiteX2" fmla="*/ 1373825 w 2243765"/>
                <a:gd name="connsiteY2" fmla="*/ 2268252 h 3348373"/>
                <a:gd name="connsiteX3" fmla="*/ 2237627 w 2243765"/>
                <a:gd name="connsiteY3" fmla="*/ 2916324 h 3348373"/>
                <a:gd name="connsiteX4" fmla="*/ 2237627 w 2243765"/>
                <a:gd name="connsiteY4" fmla="*/ 3276364 h 3348373"/>
                <a:gd name="connsiteX5" fmla="*/ 2243765 w 2243765"/>
                <a:gd name="connsiteY5" fmla="*/ 3348373 h 3348373"/>
                <a:gd name="connsiteX6" fmla="*/ 12276 w 2243765"/>
                <a:gd name="connsiteY6" fmla="*/ 3348373 h 3348373"/>
                <a:gd name="connsiteX0" fmla="*/ 12276 w 2243765"/>
                <a:gd name="connsiteY0" fmla="*/ 3168353 h 3168353"/>
                <a:gd name="connsiteX1" fmla="*/ 6138 w 2243765"/>
                <a:gd name="connsiteY1" fmla="*/ 0 h 3168353"/>
                <a:gd name="connsiteX2" fmla="*/ 1373825 w 2243765"/>
                <a:gd name="connsiteY2" fmla="*/ 2088232 h 3168353"/>
                <a:gd name="connsiteX3" fmla="*/ 2237627 w 2243765"/>
                <a:gd name="connsiteY3" fmla="*/ 2736304 h 3168353"/>
                <a:gd name="connsiteX4" fmla="*/ 2237627 w 2243765"/>
                <a:gd name="connsiteY4" fmla="*/ 3096344 h 3168353"/>
                <a:gd name="connsiteX5" fmla="*/ 2243765 w 2243765"/>
                <a:gd name="connsiteY5" fmla="*/ 3168353 h 3168353"/>
                <a:gd name="connsiteX6" fmla="*/ 12276 w 2243765"/>
                <a:gd name="connsiteY6" fmla="*/ 3168353 h 3168353"/>
                <a:gd name="connsiteX0" fmla="*/ 12276 w 2243765"/>
                <a:gd name="connsiteY0" fmla="*/ 3168353 h 3168353"/>
                <a:gd name="connsiteX1" fmla="*/ 6138 w 2243765"/>
                <a:gd name="connsiteY1" fmla="*/ 0 h 3168353"/>
                <a:gd name="connsiteX2" fmla="*/ 1373825 w 2243765"/>
                <a:gd name="connsiteY2" fmla="*/ 2088232 h 3168353"/>
                <a:gd name="connsiteX3" fmla="*/ 2237627 w 2243765"/>
                <a:gd name="connsiteY3" fmla="*/ 2736304 h 3168353"/>
                <a:gd name="connsiteX4" fmla="*/ 2243765 w 2243765"/>
                <a:gd name="connsiteY4" fmla="*/ 3168353 h 3168353"/>
                <a:gd name="connsiteX5" fmla="*/ 12276 w 2243765"/>
                <a:gd name="connsiteY5" fmla="*/ 3168353 h 3168353"/>
                <a:gd name="connsiteX0" fmla="*/ 2237627 w 2237627"/>
                <a:gd name="connsiteY0" fmla="*/ 3168353 h 3168353"/>
                <a:gd name="connsiteX1" fmla="*/ 0 w 2237627"/>
                <a:gd name="connsiteY1" fmla="*/ 0 h 3168353"/>
                <a:gd name="connsiteX2" fmla="*/ 1367687 w 2237627"/>
                <a:gd name="connsiteY2" fmla="*/ 2088232 h 3168353"/>
                <a:gd name="connsiteX3" fmla="*/ 2231489 w 2237627"/>
                <a:gd name="connsiteY3" fmla="*/ 2736304 h 3168353"/>
                <a:gd name="connsiteX4" fmla="*/ 2237627 w 2237627"/>
                <a:gd name="connsiteY4" fmla="*/ 3168353 h 3168353"/>
                <a:gd name="connsiteX0" fmla="*/ 7426126 w 7792851"/>
                <a:gd name="connsiteY0" fmla="*/ 1152079 h 1634691"/>
                <a:gd name="connsiteX1" fmla="*/ 0 w 7792851"/>
                <a:gd name="connsiteY1" fmla="*/ 1151781 h 1634691"/>
                <a:gd name="connsiteX2" fmla="*/ 6556186 w 7792851"/>
                <a:gd name="connsiteY2" fmla="*/ 71958 h 1634691"/>
                <a:gd name="connsiteX3" fmla="*/ 7419988 w 7792851"/>
                <a:gd name="connsiteY3" fmla="*/ 720030 h 1634691"/>
                <a:gd name="connsiteX4" fmla="*/ 7426126 w 7792851"/>
                <a:gd name="connsiteY4" fmla="*/ 1152079 h 1634691"/>
                <a:gd name="connsiteX0" fmla="*/ 8324008 w 8486797"/>
                <a:gd name="connsiteY0" fmla="*/ 1104078 h 1104079"/>
                <a:gd name="connsiteX1" fmla="*/ 897882 w 8486797"/>
                <a:gd name="connsiteY1" fmla="*/ 1103780 h 1104079"/>
                <a:gd name="connsiteX2" fmla="*/ 2121495 w 8486797"/>
                <a:gd name="connsiteY2" fmla="*/ 815774 h 1104079"/>
                <a:gd name="connsiteX3" fmla="*/ 7454068 w 8486797"/>
                <a:gd name="connsiteY3" fmla="*/ 23957 h 1104079"/>
                <a:gd name="connsiteX4" fmla="*/ 8317870 w 8486797"/>
                <a:gd name="connsiteY4" fmla="*/ 672029 h 1104079"/>
                <a:gd name="connsiteX5" fmla="*/ 8324008 w 8486797"/>
                <a:gd name="connsiteY5" fmla="*/ 1104078 h 1104079"/>
                <a:gd name="connsiteX0" fmla="*/ 8324008 w 9416706"/>
                <a:gd name="connsiteY0" fmla="*/ 1128172 h 1128172"/>
                <a:gd name="connsiteX1" fmla="*/ 897882 w 9416706"/>
                <a:gd name="connsiteY1" fmla="*/ 1127874 h 1128172"/>
                <a:gd name="connsiteX2" fmla="*/ 2121495 w 9416706"/>
                <a:gd name="connsiteY2" fmla="*/ 839868 h 1128172"/>
                <a:gd name="connsiteX3" fmla="*/ 7454068 w 9416706"/>
                <a:gd name="connsiteY3" fmla="*/ 48051 h 1128172"/>
                <a:gd name="connsiteX4" fmla="*/ 8324008 w 9416706"/>
                <a:gd name="connsiteY4" fmla="*/ 1128172 h 1128172"/>
                <a:gd name="connsiteX0" fmla="*/ 8324008 w 9416706"/>
                <a:gd name="connsiteY0" fmla="*/ 312304 h 312304"/>
                <a:gd name="connsiteX1" fmla="*/ 897882 w 9416706"/>
                <a:gd name="connsiteY1" fmla="*/ 312006 h 312304"/>
                <a:gd name="connsiteX2" fmla="*/ 2121495 w 9416706"/>
                <a:gd name="connsiteY2" fmla="*/ 24000 h 312304"/>
                <a:gd name="connsiteX3" fmla="*/ 3561039 w 9416706"/>
                <a:gd name="connsiteY3" fmla="*/ 168004 h 312304"/>
                <a:gd name="connsiteX4" fmla="*/ 8324008 w 9416706"/>
                <a:gd name="connsiteY4" fmla="*/ 312304 h 312304"/>
                <a:gd name="connsiteX0" fmla="*/ 8324008 w 9562804"/>
                <a:gd name="connsiteY0" fmla="*/ 312304 h 312304"/>
                <a:gd name="connsiteX1" fmla="*/ 897882 w 9562804"/>
                <a:gd name="connsiteY1" fmla="*/ 312006 h 312304"/>
                <a:gd name="connsiteX2" fmla="*/ 2121495 w 9562804"/>
                <a:gd name="connsiteY2" fmla="*/ 24000 h 312304"/>
                <a:gd name="connsiteX3" fmla="*/ 3561039 w 9562804"/>
                <a:gd name="connsiteY3" fmla="*/ 168004 h 312304"/>
                <a:gd name="connsiteX4" fmla="*/ 8311535 w 9562804"/>
                <a:gd name="connsiteY4" fmla="*/ 96003 h 312304"/>
                <a:gd name="connsiteX5" fmla="*/ 8324008 w 9562804"/>
                <a:gd name="connsiteY5" fmla="*/ 312304 h 312304"/>
                <a:gd name="connsiteX0" fmla="*/ 8324008 w 8324008"/>
                <a:gd name="connsiteY0" fmla="*/ 312304 h 312304"/>
                <a:gd name="connsiteX1" fmla="*/ 897882 w 8324008"/>
                <a:gd name="connsiteY1" fmla="*/ 312006 h 312304"/>
                <a:gd name="connsiteX2" fmla="*/ 2121495 w 8324008"/>
                <a:gd name="connsiteY2" fmla="*/ 24000 h 312304"/>
                <a:gd name="connsiteX3" fmla="*/ 3561039 w 8324008"/>
                <a:gd name="connsiteY3" fmla="*/ 168004 h 312304"/>
                <a:gd name="connsiteX4" fmla="*/ 8311535 w 8324008"/>
                <a:gd name="connsiteY4" fmla="*/ 96003 h 312304"/>
                <a:gd name="connsiteX5" fmla="*/ 8324008 w 8324008"/>
                <a:gd name="connsiteY5" fmla="*/ 312304 h 312304"/>
                <a:gd name="connsiteX0" fmla="*/ 8324008 w 8383513"/>
                <a:gd name="connsiteY0" fmla="*/ 312304 h 312304"/>
                <a:gd name="connsiteX1" fmla="*/ 897882 w 8383513"/>
                <a:gd name="connsiteY1" fmla="*/ 312006 h 312304"/>
                <a:gd name="connsiteX2" fmla="*/ 2121495 w 8383513"/>
                <a:gd name="connsiteY2" fmla="*/ 24000 h 312304"/>
                <a:gd name="connsiteX3" fmla="*/ 3561039 w 8383513"/>
                <a:gd name="connsiteY3" fmla="*/ 168004 h 312304"/>
                <a:gd name="connsiteX4" fmla="*/ 8383513 w 8383513"/>
                <a:gd name="connsiteY4" fmla="*/ 168004 h 312304"/>
                <a:gd name="connsiteX5" fmla="*/ 8324008 w 8383513"/>
                <a:gd name="connsiteY5" fmla="*/ 312304 h 312304"/>
                <a:gd name="connsiteX0" fmla="*/ 8324008 w 8324008"/>
                <a:gd name="connsiteY0" fmla="*/ 312304 h 312304"/>
                <a:gd name="connsiteX1" fmla="*/ 897882 w 8324008"/>
                <a:gd name="connsiteY1" fmla="*/ 312006 h 312304"/>
                <a:gd name="connsiteX2" fmla="*/ 2121495 w 8324008"/>
                <a:gd name="connsiteY2" fmla="*/ 24000 h 312304"/>
                <a:gd name="connsiteX3" fmla="*/ 3561039 w 8324008"/>
                <a:gd name="connsiteY3" fmla="*/ 168004 h 312304"/>
                <a:gd name="connsiteX4" fmla="*/ 8311536 w 8324008"/>
                <a:gd name="connsiteY4" fmla="*/ 168004 h 312304"/>
                <a:gd name="connsiteX5" fmla="*/ 8324008 w 8324008"/>
                <a:gd name="connsiteY5" fmla="*/ 312304 h 312304"/>
                <a:gd name="connsiteX0" fmla="*/ 8383513 w 8383513"/>
                <a:gd name="connsiteY0" fmla="*/ 312007 h 312007"/>
                <a:gd name="connsiteX1" fmla="*/ 897882 w 8383513"/>
                <a:gd name="connsiteY1" fmla="*/ 312006 h 312007"/>
                <a:gd name="connsiteX2" fmla="*/ 2121495 w 8383513"/>
                <a:gd name="connsiteY2" fmla="*/ 24000 h 312007"/>
                <a:gd name="connsiteX3" fmla="*/ 3561039 w 8383513"/>
                <a:gd name="connsiteY3" fmla="*/ 168004 h 312007"/>
                <a:gd name="connsiteX4" fmla="*/ 8311536 w 8383513"/>
                <a:gd name="connsiteY4" fmla="*/ 168004 h 312007"/>
                <a:gd name="connsiteX5" fmla="*/ 8383513 w 8383513"/>
                <a:gd name="connsiteY5" fmla="*/ 312007 h 312007"/>
                <a:gd name="connsiteX0" fmla="*/ 8311536 w 8311536"/>
                <a:gd name="connsiteY0" fmla="*/ 312007 h 312007"/>
                <a:gd name="connsiteX1" fmla="*/ 897882 w 8311536"/>
                <a:gd name="connsiteY1" fmla="*/ 312006 h 312007"/>
                <a:gd name="connsiteX2" fmla="*/ 2121495 w 8311536"/>
                <a:gd name="connsiteY2" fmla="*/ 24000 h 312007"/>
                <a:gd name="connsiteX3" fmla="*/ 3561039 w 8311536"/>
                <a:gd name="connsiteY3" fmla="*/ 168004 h 312007"/>
                <a:gd name="connsiteX4" fmla="*/ 8311536 w 8311536"/>
                <a:gd name="connsiteY4" fmla="*/ 168004 h 312007"/>
                <a:gd name="connsiteX5" fmla="*/ 8311536 w 8311536"/>
                <a:gd name="connsiteY5" fmla="*/ 312007 h 312007"/>
                <a:gd name="connsiteX0" fmla="*/ 8311536 w 8311536"/>
                <a:gd name="connsiteY0" fmla="*/ 312007 h 312007"/>
                <a:gd name="connsiteX1" fmla="*/ 897882 w 8311536"/>
                <a:gd name="connsiteY1" fmla="*/ 312006 h 312007"/>
                <a:gd name="connsiteX2" fmla="*/ 2121495 w 8311536"/>
                <a:gd name="connsiteY2" fmla="*/ 24000 h 312007"/>
                <a:gd name="connsiteX3" fmla="*/ 3561039 w 8311536"/>
                <a:gd name="connsiteY3" fmla="*/ 168004 h 312007"/>
                <a:gd name="connsiteX4" fmla="*/ 8311536 w 8311536"/>
                <a:gd name="connsiteY4" fmla="*/ 168004 h 312007"/>
                <a:gd name="connsiteX5" fmla="*/ 8311536 w 8311536"/>
                <a:gd name="connsiteY5" fmla="*/ 312007 h 312007"/>
                <a:gd name="connsiteX0" fmla="*/ 8311536 w 8311536"/>
                <a:gd name="connsiteY0" fmla="*/ 312007 h 312007"/>
                <a:gd name="connsiteX1" fmla="*/ 897882 w 8311536"/>
                <a:gd name="connsiteY1" fmla="*/ 312006 h 312007"/>
                <a:gd name="connsiteX2" fmla="*/ 2121495 w 8311536"/>
                <a:gd name="connsiteY2" fmla="*/ 24000 h 312007"/>
                <a:gd name="connsiteX3" fmla="*/ 3561039 w 8311536"/>
                <a:gd name="connsiteY3" fmla="*/ 168004 h 312007"/>
                <a:gd name="connsiteX4" fmla="*/ 8311536 w 8311536"/>
                <a:gd name="connsiteY4" fmla="*/ 168004 h 312007"/>
                <a:gd name="connsiteX5" fmla="*/ 8311536 w 8311536"/>
                <a:gd name="connsiteY5" fmla="*/ 312007 h 312007"/>
                <a:gd name="connsiteX0" fmla="*/ 8311536 w 8311536"/>
                <a:gd name="connsiteY0" fmla="*/ 444008 h 444008"/>
                <a:gd name="connsiteX1" fmla="*/ 897882 w 8311536"/>
                <a:gd name="connsiteY1" fmla="*/ 444007 h 444008"/>
                <a:gd name="connsiteX2" fmla="*/ 2121495 w 8311536"/>
                <a:gd name="connsiteY2" fmla="*/ 156001 h 444008"/>
                <a:gd name="connsiteX3" fmla="*/ 4136857 w 8311536"/>
                <a:gd name="connsiteY3" fmla="*/ 12000 h 444008"/>
                <a:gd name="connsiteX4" fmla="*/ 8311536 w 8311536"/>
                <a:gd name="connsiteY4" fmla="*/ 300005 h 444008"/>
                <a:gd name="connsiteX5" fmla="*/ 8311536 w 8311536"/>
                <a:gd name="connsiteY5" fmla="*/ 444008 h 444008"/>
                <a:gd name="connsiteX0" fmla="*/ 8311536 w 8311536"/>
                <a:gd name="connsiteY0" fmla="*/ 435064 h 435064"/>
                <a:gd name="connsiteX1" fmla="*/ 897882 w 8311536"/>
                <a:gd name="connsiteY1" fmla="*/ 435063 h 435064"/>
                <a:gd name="connsiteX2" fmla="*/ 2121495 w 8311536"/>
                <a:gd name="connsiteY2" fmla="*/ 147057 h 435064"/>
                <a:gd name="connsiteX3" fmla="*/ 4136857 w 8311536"/>
                <a:gd name="connsiteY3" fmla="*/ 3056 h 435064"/>
                <a:gd name="connsiteX4" fmla="*/ 6512105 w 8311536"/>
                <a:gd name="connsiteY4" fmla="*/ 291062 h 435064"/>
                <a:gd name="connsiteX5" fmla="*/ 8311536 w 8311536"/>
                <a:gd name="connsiteY5" fmla="*/ 291061 h 435064"/>
                <a:gd name="connsiteX6" fmla="*/ 8311536 w 8311536"/>
                <a:gd name="connsiteY6" fmla="*/ 435064 h 435064"/>
                <a:gd name="connsiteX0" fmla="*/ 8311536 w 8311536"/>
                <a:gd name="connsiteY0" fmla="*/ 435064 h 435064"/>
                <a:gd name="connsiteX1" fmla="*/ 897882 w 8311536"/>
                <a:gd name="connsiteY1" fmla="*/ 435063 h 435064"/>
                <a:gd name="connsiteX2" fmla="*/ 2121495 w 8311536"/>
                <a:gd name="connsiteY2" fmla="*/ 147057 h 435064"/>
                <a:gd name="connsiteX3" fmla="*/ 4136857 w 8311536"/>
                <a:gd name="connsiteY3" fmla="*/ 3056 h 435064"/>
                <a:gd name="connsiteX4" fmla="*/ 6440128 w 8311536"/>
                <a:gd name="connsiteY4" fmla="*/ 147058 h 435064"/>
                <a:gd name="connsiteX5" fmla="*/ 8311536 w 8311536"/>
                <a:gd name="connsiteY5" fmla="*/ 291061 h 435064"/>
                <a:gd name="connsiteX6" fmla="*/ 8311536 w 8311536"/>
                <a:gd name="connsiteY6" fmla="*/ 435064 h 435064"/>
                <a:gd name="connsiteX0" fmla="*/ 8311536 w 8311536"/>
                <a:gd name="connsiteY0" fmla="*/ 435064 h 435064"/>
                <a:gd name="connsiteX1" fmla="*/ 897882 w 8311536"/>
                <a:gd name="connsiteY1" fmla="*/ 435063 h 435064"/>
                <a:gd name="connsiteX2" fmla="*/ 2121495 w 8311536"/>
                <a:gd name="connsiteY2" fmla="*/ 147057 h 435064"/>
                <a:gd name="connsiteX3" fmla="*/ 4352789 w 8311536"/>
                <a:gd name="connsiteY3" fmla="*/ 3056 h 435064"/>
                <a:gd name="connsiteX4" fmla="*/ 6440128 w 8311536"/>
                <a:gd name="connsiteY4" fmla="*/ 147058 h 435064"/>
                <a:gd name="connsiteX5" fmla="*/ 8311536 w 8311536"/>
                <a:gd name="connsiteY5" fmla="*/ 291061 h 435064"/>
                <a:gd name="connsiteX6" fmla="*/ 8311536 w 8311536"/>
                <a:gd name="connsiteY6" fmla="*/ 435064 h 435064"/>
                <a:gd name="connsiteX0" fmla="*/ 8383513 w 8383513"/>
                <a:gd name="connsiteY0" fmla="*/ 435064 h 435064"/>
                <a:gd name="connsiteX1" fmla="*/ 897882 w 8383513"/>
                <a:gd name="connsiteY1" fmla="*/ 435064 h 435064"/>
                <a:gd name="connsiteX2" fmla="*/ 2193472 w 8383513"/>
                <a:gd name="connsiteY2" fmla="*/ 147057 h 435064"/>
                <a:gd name="connsiteX3" fmla="*/ 4424766 w 8383513"/>
                <a:gd name="connsiteY3" fmla="*/ 3056 h 435064"/>
                <a:gd name="connsiteX4" fmla="*/ 6512105 w 8383513"/>
                <a:gd name="connsiteY4" fmla="*/ 147058 h 435064"/>
                <a:gd name="connsiteX5" fmla="*/ 8383513 w 8383513"/>
                <a:gd name="connsiteY5" fmla="*/ 291061 h 435064"/>
                <a:gd name="connsiteX6" fmla="*/ 8383513 w 8383513"/>
                <a:gd name="connsiteY6" fmla="*/ 435064 h 435064"/>
                <a:gd name="connsiteX0" fmla="*/ 7485631 w 7485631"/>
                <a:gd name="connsiteY0" fmla="*/ 435064 h 435064"/>
                <a:gd name="connsiteX1" fmla="*/ 0 w 7485631"/>
                <a:gd name="connsiteY1" fmla="*/ 435064 h 435064"/>
                <a:gd name="connsiteX2" fmla="*/ 1295590 w 7485631"/>
                <a:gd name="connsiteY2" fmla="*/ 147057 h 435064"/>
                <a:gd name="connsiteX3" fmla="*/ 3526884 w 7485631"/>
                <a:gd name="connsiteY3" fmla="*/ 3056 h 435064"/>
                <a:gd name="connsiteX4" fmla="*/ 5614223 w 7485631"/>
                <a:gd name="connsiteY4" fmla="*/ 147058 h 435064"/>
                <a:gd name="connsiteX5" fmla="*/ 7485631 w 7485631"/>
                <a:gd name="connsiteY5" fmla="*/ 291061 h 435064"/>
                <a:gd name="connsiteX6" fmla="*/ 7485631 w 7485631"/>
                <a:gd name="connsiteY6" fmla="*/ 435064 h 435064"/>
                <a:gd name="connsiteX0" fmla="*/ 7485631 w 7485631"/>
                <a:gd name="connsiteY0" fmla="*/ 435064 h 435064"/>
                <a:gd name="connsiteX1" fmla="*/ 0 w 7485631"/>
                <a:gd name="connsiteY1" fmla="*/ 435064 h 435064"/>
                <a:gd name="connsiteX2" fmla="*/ 1151636 w 7485631"/>
                <a:gd name="connsiteY2" fmla="*/ 147058 h 435064"/>
                <a:gd name="connsiteX3" fmla="*/ 3526884 w 7485631"/>
                <a:gd name="connsiteY3" fmla="*/ 3056 h 435064"/>
                <a:gd name="connsiteX4" fmla="*/ 5614223 w 7485631"/>
                <a:gd name="connsiteY4" fmla="*/ 147058 h 435064"/>
                <a:gd name="connsiteX5" fmla="*/ 7485631 w 7485631"/>
                <a:gd name="connsiteY5" fmla="*/ 291061 h 435064"/>
                <a:gd name="connsiteX6" fmla="*/ 7485631 w 7485631"/>
                <a:gd name="connsiteY6" fmla="*/ 435064 h 435064"/>
                <a:gd name="connsiteX0" fmla="*/ 7485631 w 7485631"/>
                <a:gd name="connsiteY0" fmla="*/ 435064 h 435064"/>
                <a:gd name="connsiteX1" fmla="*/ 0 w 7485631"/>
                <a:gd name="connsiteY1" fmla="*/ 435064 h 435064"/>
                <a:gd name="connsiteX2" fmla="*/ 647795 w 7485631"/>
                <a:gd name="connsiteY2" fmla="*/ 291061 h 435064"/>
                <a:gd name="connsiteX3" fmla="*/ 1151636 w 7485631"/>
                <a:gd name="connsiteY3" fmla="*/ 147058 h 435064"/>
                <a:gd name="connsiteX4" fmla="*/ 3526884 w 7485631"/>
                <a:gd name="connsiteY4" fmla="*/ 3056 h 435064"/>
                <a:gd name="connsiteX5" fmla="*/ 5614223 w 7485631"/>
                <a:gd name="connsiteY5" fmla="*/ 147058 h 435064"/>
                <a:gd name="connsiteX6" fmla="*/ 7485631 w 7485631"/>
                <a:gd name="connsiteY6" fmla="*/ 291061 h 435064"/>
                <a:gd name="connsiteX7" fmla="*/ 7485631 w 7485631"/>
                <a:gd name="connsiteY7" fmla="*/ 435064 h 435064"/>
                <a:gd name="connsiteX0" fmla="*/ 7485631 w 7485631"/>
                <a:gd name="connsiteY0" fmla="*/ 435064 h 435064"/>
                <a:gd name="connsiteX1" fmla="*/ 0 w 7485631"/>
                <a:gd name="connsiteY1" fmla="*/ 435064 h 435064"/>
                <a:gd name="connsiteX2" fmla="*/ 719772 w 7485631"/>
                <a:gd name="connsiteY2" fmla="*/ 291061 h 435064"/>
                <a:gd name="connsiteX3" fmla="*/ 1151636 w 7485631"/>
                <a:gd name="connsiteY3" fmla="*/ 147058 h 435064"/>
                <a:gd name="connsiteX4" fmla="*/ 3526884 w 7485631"/>
                <a:gd name="connsiteY4" fmla="*/ 3056 h 435064"/>
                <a:gd name="connsiteX5" fmla="*/ 5614223 w 7485631"/>
                <a:gd name="connsiteY5" fmla="*/ 147058 h 435064"/>
                <a:gd name="connsiteX6" fmla="*/ 7485631 w 7485631"/>
                <a:gd name="connsiteY6" fmla="*/ 291061 h 435064"/>
                <a:gd name="connsiteX7" fmla="*/ 7485631 w 7485631"/>
                <a:gd name="connsiteY7" fmla="*/ 435064 h 435064"/>
                <a:gd name="connsiteX0" fmla="*/ 7485631 w 7485631"/>
                <a:gd name="connsiteY0" fmla="*/ 437537 h 437537"/>
                <a:gd name="connsiteX1" fmla="*/ 0 w 7485631"/>
                <a:gd name="connsiteY1" fmla="*/ 437537 h 437537"/>
                <a:gd name="connsiteX2" fmla="*/ 719772 w 7485631"/>
                <a:gd name="connsiteY2" fmla="*/ 293534 h 437537"/>
                <a:gd name="connsiteX3" fmla="*/ 1151636 w 7485631"/>
                <a:gd name="connsiteY3" fmla="*/ 149531 h 437537"/>
                <a:gd name="connsiteX4" fmla="*/ 1295590 w 7485631"/>
                <a:gd name="connsiteY4" fmla="*/ 149531 h 437537"/>
                <a:gd name="connsiteX5" fmla="*/ 3526884 w 7485631"/>
                <a:gd name="connsiteY5" fmla="*/ 5529 h 437537"/>
                <a:gd name="connsiteX6" fmla="*/ 5614223 w 7485631"/>
                <a:gd name="connsiteY6" fmla="*/ 149531 h 437537"/>
                <a:gd name="connsiteX7" fmla="*/ 7485631 w 7485631"/>
                <a:gd name="connsiteY7" fmla="*/ 293534 h 437537"/>
                <a:gd name="connsiteX8" fmla="*/ 7485631 w 7485631"/>
                <a:gd name="connsiteY8" fmla="*/ 437537 h 437537"/>
                <a:gd name="connsiteX0" fmla="*/ 7485631 w 7485631"/>
                <a:gd name="connsiteY0" fmla="*/ 432008 h 432008"/>
                <a:gd name="connsiteX1" fmla="*/ 0 w 7485631"/>
                <a:gd name="connsiteY1" fmla="*/ 432008 h 432008"/>
                <a:gd name="connsiteX2" fmla="*/ 719772 w 7485631"/>
                <a:gd name="connsiteY2" fmla="*/ 288005 h 432008"/>
                <a:gd name="connsiteX3" fmla="*/ 1151636 w 7485631"/>
                <a:gd name="connsiteY3" fmla="*/ 144002 h 432008"/>
                <a:gd name="connsiteX4" fmla="*/ 1295590 w 7485631"/>
                <a:gd name="connsiteY4" fmla="*/ 144002 h 432008"/>
                <a:gd name="connsiteX5" fmla="*/ 1439544 w 7485631"/>
                <a:gd name="connsiteY5" fmla="*/ 72002 h 432008"/>
                <a:gd name="connsiteX6" fmla="*/ 3526884 w 7485631"/>
                <a:gd name="connsiteY6" fmla="*/ 0 h 432008"/>
                <a:gd name="connsiteX7" fmla="*/ 5614223 w 7485631"/>
                <a:gd name="connsiteY7" fmla="*/ 144002 h 432008"/>
                <a:gd name="connsiteX8" fmla="*/ 7485631 w 7485631"/>
                <a:gd name="connsiteY8" fmla="*/ 288005 h 432008"/>
                <a:gd name="connsiteX9" fmla="*/ 7485631 w 7485631"/>
                <a:gd name="connsiteY9" fmla="*/ 432008 h 432008"/>
                <a:gd name="connsiteX0" fmla="*/ 7485631 w 7485631"/>
                <a:gd name="connsiteY0" fmla="*/ 448269 h 448269"/>
                <a:gd name="connsiteX1" fmla="*/ 0 w 7485631"/>
                <a:gd name="connsiteY1" fmla="*/ 448269 h 448269"/>
                <a:gd name="connsiteX2" fmla="*/ 719772 w 7485631"/>
                <a:gd name="connsiteY2" fmla="*/ 304266 h 448269"/>
                <a:gd name="connsiteX3" fmla="*/ 1151636 w 7485631"/>
                <a:gd name="connsiteY3" fmla="*/ 160263 h 448269"/>
                <a:gd name="connsiteX4" fmla="*/ 1295590 w 7485631"/>
                <a:gd name="connsiteY4" fmla="*/ 160263 h 448269"/>
                <a:gd name="connsiteX5" fmla="*/ 1439544 w 7485631"/>
                <a:gd name="connsiteY5" fmla="*/ 88263 h 448269"/>
                <a:gd name="connsiteX6" fmla="*/ 1655476 w 7485631"/>
                <a:gd name="connsiteY6" fmla="*/ 160264 h 448269"/>
                <a:gd name="connsiteX7" fmla="*/ 3526884 w 7485631"/>
                <a:gd name="connsiteY7" fmla="*/ 16261 h 448269"/>
                <a:gd name="connsiteX8" fmla="*/ 5614223 w 7485631"/>
                <a:gd name="connsiteY8" fmla="*/ 160263 h 448269"/>
                <a:gd name="connsiteX9" fmla="*/ 7485631 w 7485631"/>
                <a:gd name="connsiteY9" fmla="*/ 304266 h 448269"/>
                <a:gd name="connsiteX10" fmla="*/ 7485631 w 7485631"/>
                <a:gd name="connsiteY10" fmla="*/ 448269 h 448269"/>
                <a:gd name="connsiteX0" fmla="*/ 7485631 w 7485631"/>
                <a:gd name="connsiteY0" fmla="*/ 448269 h 448269"/>
                <a:gd name="connsiteX1" fmla="*/ 0 w 7485631"/>
                <a:gd name="connsiteY1" fmla="*/ 448269 h 448269"/>
                <a:gd name="connsiteX2" fmla="*/ 719772 w 7485631"/>
                <a:gd name="connsiteY2" fmla="*/ 304266 h 448269"/>
                <a:gd name="connsiteX3" fmla="*/ 1151636 w 7485631"/>
                <a:gd name="connsiteY3" fmla="*/ 160263 h 448269"/>
                <a:gd name="connsiteX4" fmla="*/ 1295590 w 7485631"/>
                <a:gd name="connsiteY4" fmla="*/ 160263 h 448269"/>
                <a:gd name="connsiteX5" fmla="*/ 1439544 w 7485631"/>
                <a:gd name="connsiteY5" fmla="*/ 88263 h 448269"/>
                <a:gd name="connsiteX6" fmla="*/ 1655476 w 7485631"/>
                <a:gd name="connsiteY6" fmla="*/ 160264 h 448269"/>
                <a:gd name="connsiteX7" fmla="*/ 3526884 w 7485631"/>
                <a:gd name="connsiteY7" fmla="*/ 16261 h 448269"/>
                <a:gd name="connsiteX8" fmla="*/ 5614223 w 7485631"/>
                <a:gd name="connsiteY8" fmla="*/ 160263 h 448269"/>
                <a:gd name="connsiteX9" fmla="*/ 7485631 w 7485631"/>
                <a:gd name="connsiteY9" fmla="*/ 304266 h 448269"/>
                <a:gd name="connsiteX10" fmla="*/ 7485631 w 7485631"/>
                <a:gd name="connsiteY10" fmla="*/ 448269 h 448269"/>
                <a:gd name="connsiteX0" fmla="*/ 7485631 w 7485631"/>
                <a:gd name="connsiteY0" fmla="*/ 448269 h 448269"/>
                <a:gd name="connsiteX1" fmla="*/ 0 w 7485631"/>
                <a:gd name="connsiteY1" fmla="*/ 448269 h 448269"/>
                <a:gd name="connsiteX2" fmla="*/ 719772 w 7485631"/>
                <a:gd name="connsiteY2" fmla="*/ 304266 h 448269"/>
                <a:gd name="connsiteX3" fmla="*/ 1151636 w 7485631"/>
                <a:gd name="connsiteY3" fmla="*/ 160263 h 448269"/>
                <a:gd name="connsiteX4" fmla="*/ 1295590 w 7485631"/>
                <a:gd name="connsiteY4" fmla="*/ 160263 h 448269"/>
                <a:gd name="connsiteX5" fmla="*/ 1439544 w 7485631"/>
                <a:gd name="connsiteY5" fmla="*/ 88263 h 448269"/>
                <a:gd name="connsiteX6" fmla="*/ 1655476 w 7485631"/>
                <a:gd name="connsiteY6" fmla="*/ 160264 h 448269"/>
                <a:gd name="connsiteX7" fmla="*/ 3526884 w 7485631"/>
                <a:gd name="connsiteY7" fmla="*/ 16261 h 448269"/>
                <a:gd name="connsiteX8" fmla="*/ 5614223 w 7485631"/>
                <a:gd name="connsiteY8" fmla="*/ 160263 h 448269"/>
                <a:gd name="connsiteX9" fmla="*/ 7485631 w 7485631"/>
                <a:gd name="connsiteY9" fmla="*/ 304266 h 448269"/>
                <a:gd name="connsiteX10" fmla="*/ 7485631 w 7485631"/>
                <a:gd name="connsiteY10" fmla="*/ 448269 h 448269"/>
                <a:gd name="connsiteX0" fmla="*/ 7485631 w 7485631"/>
                <a:gd name="connsiteY0" fmla="*/ 448269 h 448269"/>
                <a:gd name="connsiteX1" fmla="*/ 0 w 7485631"/>
                <a:gd name="connsiteY1" fmla="*/ 448269 h 448269"/>
                <a:gd name="connsiteX2" fmla="*/ 719772 w 7485631"/>
                <a:gd name="connsiteY2" fmla="*/ 304266 h 448269"/>
                <a:gd name="connsiteX3" fmla="*/ 1151636 w 7485631"/>
                <a:gd name="connsiteY3" fmla="*/ 160263 h 448269"/>
                <a:gd name="connsiteX4" fmla="*/ 1295590 w 7485631"/>
                <a:gd name="connsiteY4" fmla="*/ 160263 h 448269"/>
                <a:gd name="connsiteX5" fmla="*/ 1439544 w 7485631"/>
                <a:gd name="connsiteY5" fmla="*/ 88263 h 448269"/>
                <a:gd name="connsiteX6" fmla="*/ 1655476 w 7485631"/>
                <a:gd name="connsiteY6" fmla="*/ 160264 h 448269"/>
                <a:gd name="connsiteX7" fmla="*/ 3526884 w 7485631"/>
                <a:gd name="connsiteY7" fmla="*/ 16261 h 448269"/>
                <a:gd name="connsiteX8" fmla="*/ 5614223 w 7485631"/>
                <a:gd name="connsiteY8" fmla="*/ 160263 h 448269"/>
                <a:gd name="connsiteX9" fmla="*/ 7485631 w 7485631"/>
                <a:gd name="connsiteY9" fmla="*/ 304266 h 448269"/>
                <a:gd name="connsiteX10" fmla="*/ 7485631 w 7485631"/>
                <a:gd name="connsiteY10" fmla="*/ 448269 h 448269"/>
                <a:gd name="connsiteX0" fmla="*/ 7485631 w 7485631"/>
                <a:gd name="connsiteY0" fmla="*/ 448269 h 448269"/>
                <a:gd name="connsiteX1" fmla="*/ 0 w 7485631"/>
                <a:gd name="connsiteY1" fmla="*/ 448269 h 448269"/>
                <a:gd name="connsiteX2" fmla="*/ 719772 w 7485631"/>
                <a:gd name="connsiteY2" fmla="*/ 304266 h 448269"/>
                <a:gd name="connsiteX3" fmla="*/ 1151636 w 7485631"/>
                <a:gd name="connsiteY3" fmla="*/ 160263 h 448269"/>
                <a:gd name="connsiteX4" fmla="*/ 1295590 w 7485631"/>
                <a:gd name="connsiteY4" fmla="*/ 160263 h 448269"/>
                <a:gd name="connsiteX5" fmla="*/ 1439544 w 7485631"/>
                <a:gd name="connsiteY5" fmla="*/ 88262 h 448269"/>
                <a:gd name="connsiteX6" fmla="*/ 1655476 w 7485631"/>
                <a:gd name="connsiteY6" fmla="*/ 160264 h 448269"/>
                <a:gd name="connsiteX7" fmla="*/ 3526884 w 7485631"/>
                <a:gd name="connsiteY7" fmla="*/ 16261 h 448269"/>
                <a:gd name="connsiteX8" fmla="*/ 5614223 w 7485631"/>
                <a:gd name="connsiteY8" fmla="*/ 160263 h 448269"/>
                <a:gd name="connsiteX9" fmla="*/ 7485631 w 7485631"/>
                <a:gd name="connsiteY9" fmla="*/ 304266 h 448269"/>
                <a:gd name="connsiteX10" fmla="*/ 7485631 w 7485631"/>
                <a:gd name="connsiteY10" fmla="*/ 448269 h 448269"/>
                <a:gd name="connsiteX0" fmla="*/ 7485631 w 7485631"/>
                <a:gd name="connsiteY0" fmla="*/ 448269 h 448269"/>
                <a:gd name="connsiteX1" fmla="*/ 0 w 7485631"/>
                <a:gd name="connsiteY1" fmla="*/ 448269 h 448269"/>
                <a:gd name="connsiteX2" fmla="*/ 719772 w 7485631"/>
                <a:gd name="connsiteY2" fmla="*/ 304266 h 448269"/>
                <a:gd name="connsiteX3" fmla="*/ 1151636 w 7485631"/>
                <a:gd name="connsiteY3" fmla="*/ 160263 h 448269"/>
                <a:gd name="connsiteX4" fmla="*/ 1295590 w 7485631"/>
                <a:gd name="connsiteY4" fmla="*/ 160263 h 448269"/>
                <a:gd name="connsiteX5" fmla="*/ 1439544 w 7485631"/>
                <a:gd name="connsiteY5" fmla="*/ 88262 h 448269"/>
                <a:gd name="connsiteX6" fmla="*/ 1583499 w 7485631"/>
                <a:gd name="connsiteY6" fmla="*/ 160264 h 448269"/>
                <a:gd name="connsiteX7" fmla="*/ 3526884 w 7485631"/>
                <a:gd name="connsiteY7" fmla="*/ 16261 h 448269"/>
                <a:gd name="connsiteX8" fmla="*/ 5614223 w 7485631"/>
                <a:gd name="connsiteY8" fmla="*/ 160263 h 448269"/>
                <a:gd name="connsiteX9" fmla="*/ 7485631 w 7485631"/>
                <a:gd name="connsiteY9" fmla="*/ 304266 h 448269"/>
                <a:gd name="connsiteX10" fmla="*/ 7485631 w 7485631"/>
                <a:gd name="connsiteY10" fmla="*/ 448269 h 448269"/>
                <a:gd name="connsiteX0" fmla="*/ 7485631 w 7485631"/>
                <a:gd name="connsiteY0" fmla="*/ 448269 h 448269"/>
                <a:gd name="connsiteX1" fmla="*/ 0 w 7485631"/>
                <a:gd name="connsiteY1" fmla="*/ 448269 h 448269"/>
                <a:gd name="connsiteX2" fmla="*/ 719772 w 7485631"/>
                <a:gd name="connsiteY2" fmla="*/ 304266 h 448269"/>
                <a:gd name="connsiteX3" fmla="*/ 1151636 w 7485631"/>
                <a:gd name="connsiteY3" fmla="*/ 160263 h 448269"/>
                <a:gd name="connsiteX4" fmla="*/ 1295590 w 7485631"/>
                <a:gd name="connsiteY4" fmla="*/ 160263 h 448269"/>
                <a:gd name="connsiteX5" fmla="*/ 1439544 w 7485631"/>
                <a:gd name="connsiteY5" fmla="*/ 88262 h 448269"/>
                <a:gd name="connsiteX6" fmla="*/ 1583499 w 7485631"/>
                <a:gd name="connsiteY6" fmla="*/ 160264 h 448269"/>
                <a:gd name="connsiteX7" fmla="*/ 3454907 w 7485631"/>
                <a:gd name="connsiteY7" fmla="*/ 16261 h 448269"/>
                <a:gd name="connsiteX8" fmla="*/ 5614223 w 7485631"/>
                <a:gd name="connsiteY8" fmla="*/ 160263 h 448269"/>
                <a:gd name="connsiteX9" fmla="*/ 7485631 w 7485631"/>
                <a:gd name="connsiteY9" fmla="*/ 304266 h 448269"/>
                <a:gd name="connsiteX10" fmla="*/ 7485631 w 7485631"/>
                <a:gd name="connsiteY10" fmla="*/ 448269 h 448269"/>
                <a:gd name="connsiteX0" fmla="*/ 7485631 w 7485631"/>
                <a:gd name="connsiteY0" fmla="*/ 448269 h 448269"/>
                <a:gd name="connsiteX1" fmla="*/ 0 w 7485631"/>
                <a:gd name="connsiteY1" fmla="*/ 448269 h 448269"/>
                <a:gd name="connsiteX2" fmla="*/ 719772 w 7485631"/>
                <a:gd name="connsiteY2" fmla="*/ 304266 h 448269"/>
                <a:gd name="connsiteX3" fmla="*/ 1151636 w 7485631"/>
                <a:gd name="connsiteY3" fmla="*/ 160263 h 448269"/>
                <a:gd name="connsiteX4" fmla="*/ 1295590 w 7485631"/>
                <a:gd name="connsiteY4" fmla="*/ 160263 h 448269"/>
                <a:gd name="connsiteX5" fmla="*/ 1439544 w 7485631"/>
                <a:gd name="connsiteY5" fmla="*/ 88262 h 448269"/>
                <a:gd name="connsiteX6" fmla="*/ 1583499 w 7485631"/>
                <a:gd name="connsiteY6" fmla="*/ 160264 h 448269"/>
                <a:gd name="connsiteX7" fmla="*/ 3598861 w 7485631"/>
                <a:gd name="connsiteY7" fmla="*/ 16261 h 448269"/>
                <a:gd name="connsiteX8" fmla="*/ 5614223 w 7485631"/>
                <a:gd name="connsiteY8" fmla="*/ 160263 h 448269"/>
                <a:gd name="connsiteX9" fmla="*/ 7485631 w 7485631"/>
                <a:gd name="connsiteY9" fmla="*/ 304266 h 448269"/>
                <a:gd name="connsiteX10" fmla="*/ 7485631 w 7485631"/>
                <a:gd name="connsiteY10" fmla="*/ 448269 h 448269"/>
                <a:gd name="connsiteX0" fmla="*/ 7485631 w 7485631"/>
                <a:gd name="connsiteY0" fmla="*/ 448269 h 448269"/>
                <a:gd name="connsiteX1" fmla="*/ 0 w 7485631"/>
                <a:gd name="connsiteY1" fmla="*/ 448269 h 448269"/>
                <a:gd name="connsiteX2" fmla="*/ 719772 w 7485631"/>
                <a:gd name="connsiteY2" fmla="*/ 304266 h 448269"/>
                <a:gd name="connsiteX3" fmla="*/ 1151636 w 7485631"/>
                <a:gd name="connsiteY3" fmla="*/ 160263 h 448269"/>
                <a:gd name="connsiteX4" fmla="*/ 1295590 w 7485631"/>
                <a:gd name="connsiteY4" fmla="*/ 160263 h 448269"/>
                <a:gd name="connsiteX5" fmla="*/ 1439544 w 7485631"/>
                <a:gd name="connsiteY5" fmla="*/ 88262 h 448269"/>
                <a:gd name="connsiteX6" fmla="*/ 1583499 w 7485631"/>
                <a:gd name="connsiteY6" fmla="*/ 160264 h 448269"/>
                <a:gd name="connsiteX7" fmla="*/ 3454907 w 7485631"/>
                <a:gd name="connsiteY7" fmla="*/ 16261 h 448269"/>
                <a:gd name="connsiteX8" fmla="*/ 5614223 w 7485631"/>
                <a:gd name="connsiteY8" fmla="*/ 160263 h 448269"/>
                <a:gd name="connsiteX9" fmla="*/ 7485631 w 7485631"/>
                <a:gd name="connsiteY9" fmla="*/ 304266 h 448269"/>
                <a:gd name="connsiteX10" fmla="*/ 7485631 w 7485631"/>
                <a:gd name="connsiteY10" fmla="*/ 448269 h 448269"/>
                <a:gd name="connsiteX0" fmla="*/ 7485631 w 7485631"/>
                <a:gd name="connsiteY0" fmla="*/ 448269 h 448269"/>
                <a:gd name="connsiteX1" fmla="*/ 0 w 7485631"/>
                <a:gd name="connsiteY1" fmla="*/ 448269 h 448269"/>
                <a:gd name="connsiteX2" fmla="*/ 719772 w 7485631"/>
                <a:gd name="connsiteY2" fmla="*/ 304266 h 448269"/>
                <a:gd name="connsiteX3" fmla="*/ 1151636 w 7485631"/>
                <a:gd name="connsiteY3" fmla="*/ 160263 h 448269"/>
                <a:gd name="connsiteX4" fmla="*/ 1295590 w 7485631"/>
                <a:gd name="connsiteY4" fmla="*/ 160263 h 448269"/>
                <a:gd name="connsiteX5" fmla="*/ 1439544 w 7485631"/>
                <a:gd name="connsiteY5" fmla="*/ 88262 h 448269"/>
                <a:gd name="connsiteX6" fmla="*/ 1583499 w 7485631"/>
                <a:gd name="connsiteY6" fmla="*/ 160264 h 448269"/>
                <a:gd name="connsiteX7" fmla="*/ 3454907 w 7485631"/>
                <a:gd name="connsiteY7" fmla="*/ 16261 h 448269"/>
                <a:gd name="connsiteX8" fmla="*/ 5614223 w 7485631"/>
                <a:gd name="connsiteY8" fmla="*/ 160263 h 448269"/>
                <a:gd name="connsiteX9" fmla="*/ 7485631 w 7485631"/>
                <a:gd name="connsiteY9" fmla="*/ 232264 h 448269"/>
                <a:gd name="connsiteX10" fmla="*/ 7485631 w 7485631"/>
                <a:gd name="connsiteY10" fmla="*/ 448269 h 448269"/>
                <a:gd name="connsiteX0" fmla="*/ 7485631 w 7485631"/>
                <a:gd name="connsiteY0" fmla="*/ 504011 h 504011"/>
                <a:gd name="connsiteX1" fmla="*/ 0 w 7485631"/>
                <a:gd name="connsiteY1" fmla="*/ 504011 h 504011"/>
                <a:gd name="connsiteX2" fmla="*/ 719772 w 7485631"/>
                <a:gd name="connsiteY2" fmla="*/ 360008 h 504011"/>
                <a:gd name="connsiteX3" fmla="*/ 1151636 w 7485631"/>
                <a:gd name="connsiteY3" fmla="*/ 216005 h 504011"/>
                <a:gd name="connsiteX4" fmla="*/ 1295590 w 7485631"/>
                <a:gd name="connsiteY4" fmla="*/ 216005 h 504011"/>
                <a:gd name="connsiteX5" fmla="*/ 1439544 w 7485631"/>
                <a:gd name="connsiteY5" fmla="*/ 144004 h 504011"/>
                <a:gd name="connsiteX6" fmla="*/ 1583499 w 7485631"/>
                <a:gd name="connsiteY6" fmla="*/ 216006 h 504011"/>
                <a:gd name="connsiteX7" fmla="*/ 3454907 w 7485631"/>
                <a:gd name="connsiteY7" fmla="*/ 72003 h 504011"/>
                <a:gd name="connsiteX8" fmla="*/ 5614223 w 7485631"/>
                <a:gd name="connsiteY8" fmla="*/ 0 h 504011"/>
                <a:gd name="connsiteX9" fmla="*/ 7485631 w 7485631"/>
                <a:gd name="connsiteY9" fmla="*/ 288006 h 504011"/>
                <a:gd name="connsiteX10" fmla="*/ 7485631 w 7485631"/>
                <a:gd name="connsiteY10" fmla="*/ 504011 h 504011"/>
                <a:gd name="connsiteX0" fmla="*/ 7485631 w 7485631"/>
                <a:gd name="connsiteY0" fmla="*/ 808278 h 808278"/>
                <a:gd name="connsiteX1" fmla="*/ 0 w 7485631"/>
                <a:gd name="connsiteY1" fmla="*/ 808278 h 808278"/>
                <a:gd name="connsiteX2" fmla="*/ 719772 w 7485631"/>
                <a:gd name="connsiteY2" fmla="*/ 664275 h 808278"/>
                <a:gd name="connsiteX3" fmla="*/ 1151636 w 7485631"/>
                <a:gd name="connsiteY3" fmla="*/ 520272 h 808278"/>
                <a:gd name="connsiteX4" fmla="*/ 1295590 w 7485631"/>
                <a:gd name="connsiteY4" fmla="*/ 520272 h 808278"/>
                <a:gd name="connsiteX5" fmla="*/ 1439544 w 7485631"/>
                <a:gd name="connsiteY5" fmla="*/ 448271 h 808278"/>
                <a:gd name="connsiteX6" fmla="*/ 1583499 w 7485631"/>
                <a:gd name="connsiteY6" fmla="*/ 520273 h 808278"/>
                <a:gd name="connsiteX7" fmla="*/ 4750497 w 7485631"/>
                <a:gd name="connsiteY7" fmla="*/ 16261 h 808278"/>
                <a:gd name="connsiteX8" fmla="*/ 5614223 w 7485631"/>
                <a:gd name="connsiteY8" fmla="*/ 304267 h 808278"/>
                <a:gd name="connsiteX9" fmla="*/ 7485631 w 7485631"/>
                <a:gd name="connsiteY9" fmla="*/ 592273 h 808278"/>
                <a:gd name="connsiteX10" fmla="*/ 7485631 w 7485631"/>
                <a:gd name="connsiteY10" fmla="*/ 808278 h 808278"/>
                <a:gd name="connsiteX0" fmla="*/ 7485631 w 7485631"/>
                <a:gd name="connsiteY0" fmla="*/ 876019 h 876019"/>
                <a:gd name="connsiteX1" fmla="*/ 0 w 7485631"/>
                <a:gd name="connsiteY1" fmla="*/ 876019 h 876019"/>
                <a:gd name="connsiteX2" fmla="*/ 719772 w 7485631"/>
                <a:gd name="connsiteY2" fmla="*/ 732016 h 876019"/>
                <a:gd name="connsiteX3" fmla="*/ 1151636 w 7485631"/>
                <a:gd name="connsiteY3" fmla="*/ 588013 h 876019"/>
                <a:gd name="connsiteX4" fmla="*/ 1295590 w 7485631"/>
                <a:gd name="connsiteY4" fmla="*/ 588013 h 876019"/>
                <a:gd name="connsiteX5" fmla="*/ 1439544 w 7485631"/>
                <a:gd name="connsiteY5" fmla="*/ 516012 h 876019"/>
                <a:gd name="connsiteX6" fmla="*/ 1583499 w 7485631"/>
                <a:gd name="connsiteY6" fmla="*/ 588014 h 876019"/>
                <a:gd name="connsiteX7" fmla="*/ 3310952 w 7485631"/>
                <a:gd name="connsiteY7" fmla="*/ 84002 h 876019"/>
                <a:gd name="connsiteX8" fmla="*/ 4750497 w 7485631"/>
                <a:gd name="connsiteY8" fmla="*/ 84002 h 876019"/>
                <a:gd name="connsiteX9" fmla="*/ 5614223 w 7485631"/>
                <a:gd name="connsiteY9" fmla="*/ 372008 h 876019"/>
                <a:gd name="connsiteX10" fmla="*/ 7485631 w 7485631"/>
                <a:gd name="connsiteY10" fmla="*/ 660014 h 876019"/>
                <a:gd name="connsiteX11" fmla="*/ 7485631 w 7485631"/>
                <a:gd name="connsiteY11" fmla="*/ 876019 h 876019"/>
                <a:gd name="connsiteX0" fmla="*/ 7485631 w 7485631"/>
                <a:gd name="connsiteY0" fmla="*/ 876019 h 876019"/>
                <a:gd name="connsiteX1" fmla="*/ 0 w 7485631"/>
                <a:gd name="connsiteY1" fmla="*/ 876019 h 876019"/>
                <a:gd name="connsiteX2" fmla="*/ 719772 w 7485631"/>
                <a:gd name="connsiteY2" fmla="*/ 732016 h 876019"/>
                <a:gd name="connsiteX3" fmla="*/ 1151636 w 7485631"/>
                <a:gd name="connsiteY3" fmla="*/ 588013 h 876019"/>
                <a:gd name="connsiteX4" fmla="*/ 1295590 w 7485631"/>
                <a:gd name="connsiteY4" fmla="*/ 588013 h 876019"/>
                <a:gd name="connsiteX5" fmla="*/ 1439544 w 7485631"/>
                <a:gd name="connsiteY5" fmla="*/ 372009 h 876019"/>
                <a:gd name="connsiteX6" fmla="*/ 1583499 w 7485631"/>
                <a:gd name="connsiteY6" fmla="*/ 588014 h 876019"/>
                <a:gd name="connsiteX7" fmla="*/ 3310952 w 7485631"/>
                <a:gd name="connsiteY7" fmla="*/ 84002 h 876019"/>
                <a:gd name="connsiteX8" fmla="*/ 4750497 w 7485631"/>
                <a:gd name="connsiteY8" fmla="*/ 84002 h 876019"/>
                <a:gd name="connsiteX9" fmla="*/ 5614223 w 7485631"/>
                <a:gd name="connsiteY9" fmla="*/ 372008 h 876019"/>
                <a:gd name="connsiteX10" fmla="*/ 7485631 w 7485631"/>
                <a:gd name="connsiteY10" fmla="*/ 660014 h 876019"/>
                <a:gd name="connsiteX11" fmla="*/ 7485631 w 7485631"/>
                <a:gd name="connsiteY11" fmla="*/ 876019 h 876019"/>
                <a:gd name="connsiteX0" fmla="*/ 7485631 w 7485631"/>
                <a:gd name="connsiteY0" fmla="*/ 876019 h 876019"/>
                <a:gd name="connsiteX1" fmla="*/ 0 w 7485631"/>
                <a:gd name="connsiteY1" fmla="*/ 876019 h 876019"/>
                <a:gd name="connsiteX2" fmla="*/ 719772 w 7485631"/>
                <a:gd name="connsiteY2" fmla="*/ 732016 h 876019"/>
                <a:gd name="connsiteX3" fmla="*/ 1151636 w 7485631"/>
                <a:gd name="connsiteY3" fmla="*/ 444010 h 876019"/>
                <a:gd name="connsiteX4" fmla="*/ 1295590 w 7485631"/>
                <a:gd name="connsiteY4" fmla="*/ 588013 h 876019"/>
                <a:gd name="connsiteX5" fmla="*/ 1439544 w 7485631"/>
                <a:gd name="connsiteY5" fmla="*/ 372009 h 876019"/>
                <a:gd name="connsiteX6" fmla="*/ 1583499 w 7485631"/>
                <a:gd name="connsiteY6" fmla="*/ 588014 h 876019"/>
                <a:gd name="connsiteX7" fmla="*/ 3310952 w 7485631"/>
                <a:gd name="connsiteY7" fmla="*/ 84002 h 876019"/>
                <a:gd name="connsiteX8" fmla="*/ 4750497 w 7485631"/>
                <a:gd name="connsiteY8" fmla="*/ 84002 h 876019"/>
                <a:gd name="connsiteX9" fmla="*/ 5614223 w 7485631"/>
                <a:gd name="connsiteY9" fmla="*/ 372008 h 876019"/>
                <a:gd name="connsiteX10" fmla="*/ 7485631 w 7485631"/>
                <a:gd name="connsiteY10" fmla="*/ 660014 h 876019"/>
                <a:gd name="connsiteX11" fmla="*/ 7485631 w 7485631"/>
                <a:gd name="connsiteY11" fmla="*/ 876019 h 876019"/>
                <a:gd name="connsiteX0" fmla="*/ 7485631 w 7485631"/>
                <a:gd name="connsiteY0" fmla="*/ 876019 h 876019"/>
                <a:gd name="connsiteX1" fmla="*/ 0 w 7485631"/>
                <a:gd name="connsiteY1" fmla="*/ 876019 h 876019"/>
                <a:gd name="connsiteX2" fmla="*/ 719772 w 7485631"/>
                <a:gd name="connsiteY2" fmla="*/ 660015 h 876019"/>
                <a:gd name="connsiteX3" fmla="*/ 1151636 w 7485631"/>
                <a:gd name="connsiteY3" fmla="*/ 444010 h 876019"/>
                <a:gd name="connsiteX4" fmla="*/ 1295590 w 7485631"/>
                <a:gd name="connsiteY4" fmla="*/ 588013 h 876019"/>
                <a:gd name="connsiteX5" fmla="*/ 1439544 w 7485631"/>
                <a:gd name="connsiteY5" fmla="*/ 372009 h 876019"/>
                <a:gd name="connsiteX6" fmla="*/ 1583499 w 7485631"/>
                <a:gd name="connsiteY6" fmla="*/ 588014 h 876019"/>
                <a:gd name="connsiteX7" fmla="*/ 3310952 w 7485631"/>
                <a:gd name="connsiteY7" fmla="*/ 84002 h 876019"/>
                <a:gd name="connsiteX8" fmla="*/ 4750497 w 7485631"/>
                <a:gd name="connsiteY8" fmla="*/ 84002 h 876019"/>
                <a:gd name="connsiteX9" fmla="*/ 5614223 w 7485631"/>
                <a:gd name="connsiteY9" fmla="*/ 372008 h 876019"/>
                <a:gd name="connsiteX10" fmla="*/ 7485631 w 7485631"/>
                <a:gd name="connsiteY10" fmla="*/ 660014 h 876019"/>
                <a:gd name="connsiteX11" fmla="*/ 7485631 w 7485631"/>
                <a:gd name="connsiteY11" fmla="*/ 876019 h 876019"/>
                <a:gd name="connsiteX0" fmla="*/ 7485631 w 7485631"/>
                <a:gd name="connsiteY0" fmla="*/ 876019 h 876019"/>
                <a:gd name="connsiteX1" fmla="*/ 0 w 7485631"/>
                <a:gd name="connsiteY1" fmla="*/ 876019 h 876019"/>
                <a:gd name="connsiteX2" fmla="*/ 719772 w 7485631"/>
                <a:gd name="connsiteY2" fmla="*/ 660015 h 876019"/>
                <a:gd name="connsiteX3" fmla="*/ 1151636 w 7485631"/>
                <a:gd name="connsiteY3" fmla="*/ 444010 h 876019"/>
                <a:gd name="connsiteX4" fmla="*/ 1295590 w 7485631"/>
                <a:gd name="connsiteY4" fmla="*/ 516012 h 876019"/>
                <a:gd name="connsiteX5" fmla="*/ 1439544 w 7485631"/>
                <a:gd name="connsiteY5" fmla="*/ 372009 h 876019"/>
                <a:gd name="connsiteX6" fmla="*/ 1583499 w 7485631"/>
                <a:gd name="connsiteY6" fmla="*/ 588014 h 876019"/>
                <a:gd name="connsiteX7" fmla="*/ 3310952 w 7485631"/>
                <a:gd name="connsiteY7" fmla="*/ 84002 h 876019"/>
                <a:gd name="connsiteX8" fmla="*/ 4750497 w 7485631"/>
                <a:gd name="connsiteY8" fmla="*/ 84002 h 876019"/>
                <a:gd name="connsiteX9" fmla="*/ 5614223 w 7485631"/>
                <a:gd name="connsiteY9" fmla="*/ 372008 h 876019"/>
                <a:gd name="connsiteX10" fmla="*/ 7485631 w 7485631"/>
                <a:gd name="connsiteY10" fmla="*/ 660014 h 876019"/>
                <a:gd name="connsiteX11" fmla="*/ 7485631 w 7485631"/>
                <a:gd name="connsiteY11" fmla="*/ 876019 h 876019"/>
                <a:gd name="connsiteX0" fmla="*/ 7485631 w 7485631"/>
                <a:gd name="connsiteY0" fmla="*/ 852018 h 852018"/>
                <a:gd name="connsiteX1" fmla="*/ 0 w 7485631"/>
                <a:gd name="connsiteY1" fmla="*/ 852018 h 852018"/>
                <a:gd name="connsiteX2" fmla="*/ 719772 w 7485631"/>
                <a:gd name="connsiteY2" fmla="*/ 636014 h 852018"/>
                <a:gd name="connsiteX3" fmla="*/ 1151636 w 7485631"/>
                <a:gd name="connsiteY3" fmla="*/ 420009 h 852018"/>
                <a:gd name="connsiteX4" fmla="*/ 1295590 w 7485631"/>
                <a:gd name="connsiteY4" fmla="*/ 492011 h 852018"/>
                <a:gd name="connsiteX5" fmla="*/ 1439544 w 7485631"/>
                <a:gd name="connsiteY5" fmla="*/ 348008 h 852018"/>
                <a:gd name="connsiteX6" fmla="*/ 1655476 w 7485631"/>
                <a:gd name="connsiteY6" fmla="*/ 420009 h 852018"/>
                <a:gd name="connsiteX7" fmla="*/ 3310952 w 7485631"/>
                <a:gd name="connsiteY7" fmla="*/ 60001 h 852018"/>
                <a:gd name="connsiteX8" fmla="*/ 4750497 w 7485631"/>
                <a:gd name="connsiteY8" fmla="*/ 60001 h 852018"/>
                <a:gd name="connsiteX9" fmla="*/ 5614223 w 7485631"/>
                <a:gd name="connsiteY9" fmla="*/ 348007 h 852018"/>
                <a:gd name="connsiteX10" fmla="*/ 7485631 w 7485631"/>
                <a:gd name="connsiteY10" fmla="*/ 636013 h 852018"/>
                <a:gd name="connsiteX11" fmla="*/ 7485631 w 7485631"/>
                <a:gd name="connsiteY11" fmla="*/ 852018 h 852018"/>
                <a:gd name="connsiteX0" fmla="*/ 7485631 w 7485631"/>
                <a:gd name="connsiteY0" fmla="*/ 828018 h 828018"/>
                <a:gd name="connsiteX1" fmla="*/ 0 w 7485631"/>
                <a:gd name="connsiteY1" fmla="*/ 828018 h 828018"/>
                <a:gd name="connsiteX2" fmla="*/ 719772 w 7485631"/>
                <a:gd name="connsiteY2" fmla="*/ 612014 h 828018"/>
                <a:gd name="connsiteX3" fmla="*/ 1151636 w 7485631"/>
                <a:gd name="connsiteY3" fmla="*/ 396009 h 828018"/>
                <a:gd name="connsiteX4" fmla="*/ 1295590 w 7485631"/>
                <a:gd name="connsiteY4" fmla="*/ 468011 h 828018"/>
                <a:gd name="connsiteX5" fmla="*/ 1439544 w 7485631"/>
                <a:gd name="connsiteY5" fmla="*/ 324008 h 828018"/>
                <a:gd name="connsiteX6" fmla="*/ 1655476 w 7485631"/>
                <a:gd name="connsiteY6" fmla="*/ 396009 h 828018"/>
                <a:gd name="connsiteX7" fmla="*/ 2087339 w 7485631"/>
                <a:gd name="connsiteY7" fmla="*/ 252005 h 828018"/>
                <a:gd name="connsiteX8" fmla="*/ 3310952 w 7485631"/>
                <a:gd name="connsiteY8" fmla="*/ 36001 h 828018"/>
                <a:gd name="connsiteX9" fmla="*/ 4750497 w 7485631"/>
                <a:gd name="connsiteY9" fmla="*/ 36001 h 828018"/>
                <a:gd name="connsiteX10" fmla="*/ 5614223 w 7485631"/>
                <a:gd name="connsiteY10" fmla="*/ 324007 h 828018"/>
                <a:gd name="connsiteX11" fmla="*/ 7485631 w 7485631"/>
                <a:gd name="connsiteY11" fmla="*/ 612013 h 828018"/>
                <a:gd name="connsiteX12" fmla="*/ 7485631 w 7485631"/>
                <a:gd name="connsiteY12" fmla="*/ 828018 h 828018"/>
                <a:gd name="connsiteX0" fmla="*/ 7485631 w 7485631"/>
                <a:gd name="connsiteY0" fmla="*/ 828018 h 828018"/>
                <a:gd name="connsiteX1" fmla="*/ 0 w 7485631"/>
                <a:gd name="connsiteY1" fmla="*/ 828018 h 828018"/>
                <a:gd name="connsiteX2" fmla="*/ 719772 w 7485631"/>
                <a:gd name="connsiteY2" fmla="*/ 612014 h 828018"/>
                <a:gd name="connsiteX3" fmla="*/ 1151636 w 7485631"/>
                <a:gd name="connsiteY3" fmla="*/ 396009 h 828018"/>
                <a:gd name="connsiteX4" fmla="*/ 1295590 w 7485631"/>
                <a:gd name="connsiteY4" fmla="*/ 468011 h 828018"/>
                <a:gd name="connsiteX5" fmla="*/ 1439544 w 7485631"/>
                <a:gd name="connsiteY5" fmla="*/ 324008 h 828018"/>
                <a:gd name="connsiteX6" fmla="*/ 1655476 w 7485631"/>
                <a:gd name="connsiteY6" fmla="*/ 396009 h 828018"/>
                <a:gd name="connsiteX7" fmla="*/ 2087339 w 7485631"/>
                <a:gd name="connsiteY7" fmla="*/ 252005 h 828018"/>
                <a:gd name="connsiteX8" fmla="*/ 2231294 w 7485631"/>
                <a:gd name="connsiteY8" fmla="*/ 252005 h 828018"/>
                <a:gd name="connsiteX9" fmla="*/ 3310952 w 7485631"/>
                <a:gd name="connsiteY9" fmla="*/ 36001 h 828018"/>
                <a:gd name="connsiteX10" fmla="*/ 4750497 w 7485631"/>
                <a:gd name="connsiteY10" fmla="*/ 36001 h 828018"/>
                <a:gd name="connsiteX11" fmla="*/ 5614223 w 7485631"/>
                <a:gd name="connsiteY11" fmla="*/ 324007 h 828018"/>
                <a:gd name="connsiteX12" fmla="*/ 7485631 w 7485631"/>
                <a:gd name="connsiteY12" fmla="*/ 612013 h 828018"/>
                <a:gd name="connsiteX13" fmla="*/ 7485631 w 7485631"/>
                <a:gd name="connsiteY13" fmla="*/ 828018 h 828018"/>
                <a:gd name="connsiteX0" fmla="*/ 7485631 w 7485631"/>
                <a:gd name="connsiteY0" fmla="*/ 828018 h 828018"/>
                <a:gd name="connsiteX1" fmla="*/ 0 w 7485631"/>
                <a:gd name="connsiteY1" fmla="*/ 828018 h 828018"/>
                <a:gd name="connsiteX2" fmla="*/ 719772 w 7485631"/>
                <a:gd name="connsiteY2" fmla="*/ 612014 h 828018"/>
                <a:gd name="connsiteX3" fmla="*/ 1151636 w 7485631"/>
                <a:gd name="connsiteY3" fmla="*/ 396009 h 828018"/>
                <a:gd name="connsiteX4" fmla="*/ 1295590 w 7485631"/>
                <a:gd name="connsiteY4" fmla="*/ 468011 h 828018"/>
                <a:gd name="connsiteX5" fmla="*/ 1439544 w 7485631"/>
                <a:gd name="connsiteY5" fmla="*/ 324008 h 828018"/>
                <a:gd name="connsiteX6" fmla="*/ 1655476 w 7485631"/>
                <a:gd name="connsiteY6" fmla="*/ 396009 h 828018"/>
                <a:gd name="connsiteX7" fmla="*/ 2087339 w 7485631"/>
                <a:gd name="connsiteY7" fmla="*/ 252005 h 828018"/>
                <a:gd name="connsiteX8" fmla="*/ 2231294 w 7485631"/>
                <a:gd name="connsiteY8" fmla="*/ 252005 h 828018"/>
                <a:gd name="connsiteX9" fmla="*/ 3310952 w 7485631"/>
                <a:gd name="connsiteY9" fmla="*/ 36001 h 828018"/>
                <a:gd name="connsiteX10" fmla="*/ 4750497 w 7485631"/>
                <a:gd name="connsiteY10" fmla="*/ 36001 h 828018"/>
                <a:gd name="connsiteX11" fmla="*/ 5614223 w 7485631"/>
                <a:gd name="connsiteY11" fmla="*/ 324007 h 828018"/>
                <a:gd name="connsiteX12" fmla="*/ 7485631 w 7485631"/>
                <a:gd name="connsiteY12" fmla="*/ 612013 h 828018"/>
                <a:gd name="connsiteX13" fmla="*/ 7485631 w 7485631"/>
                <a:gd name="connsiteY13" fmla="*/ 828018 h 828018"/>
                <a:gd name="connsiteX0" fmla="*/ 7485631 w 7485631"/>
                <a:gd name="connsiteY0" fmla="*/ 828018 h 828018"/>
                <a:gd name="connsiteX1" fmla="*/ 0 w 7485631"/>
                <a:gd name="connsiteY1" fmla="*/ 828018 h 828018"/>
                <a:gd name="connsiteX2" fmla="*/ 719772 w 7485631"/>
                <a:gd name="connsiteY2" fmla="*/ 612014 h 828018"/>
                <a:gd name="connsiteX3" fmla="*/ 1151636 w 7485631"/>
                <a:gd name="connsiteY3" fmla="*/ 396009 h 828018"/>
                <a:gd name="connsiteX4" fmla="*/ 1295590 w 7485631"/>
                <a:gd name="connsiteY4" fmla="*/ 468011 h 828018"/>
                <a:gd name="connsiteX5" fmla="*/ 1439544 w 7485631"/>
                <a:gd name="connsiteY5" fmla="*/ 324008 h 828018"/>
                <a:gd name="connsiteX6" fmla="*/ 1655476 w 7485631"/>
                <a:gd name="connsiteY6" fmla="*/ 396009 h 828018"/>
                <a:gd name="connsiteX7" fmla="*/ 2087339 w 7485631"/>
                <a:gd name="connsiteY7" fmla="*/ 252005 h 828018"/>
                <a:gd name="connsiteX8" fmla="*/ 2231294 w 7485631"/>
                <a:gd name="connsiteY8" fmla="*/ 252005 h 828018"/>
                <a:gd name="connsiteX9" fmla="*/ 3310952 w 7485631"/>
                <a:gd name="connsiteY9" fmla="*/ 36001 h 828018"/>
                <a:gd name="connsiteX10" fmla="*/ 4750497 w 7485631"/>
                <a:gd name="connsiteY10" fmla="*/ 36001 h 828018"/>
                <a:gd name="connsiteX11" fmla="*/ 5614223 w 7485631"/>
                <a:gd name="connsiteY11" fmla="*/ 324007 h 828018"/>
                <a:gd name="connsiteX12" fmla="*/ 7485631 w 7485631"/>
                <a:gd name="connsiteY12" fmla="*/ 612013 h 828018"/>
                <a:gd name="connsiteX13" fmla="*/ 7485631 w 7485631"/>
                <a:gd name="connsiteY13" fmla="*/ 828018 h 828018"/>
                <a:gd name="connsiteX0" fmla="*/ 7485631 w 7485631"/>
                <a:gd name="connsiteY0" fmla="*/ 819019 h 819019"/>
                <a:gd name="connsiteX1" fmla="*/ 0 w 7485631"/>
                <a:gd name="connsiteY1" fmla="*/ 819019 h 819019"/>
                <a:gd name="connsiteX2" fmla="*/ 719772 w 7485631"/>
                <a:gd name="connsiteY2" fmla="*/ 603015 h 819019"/>
                <a:gd name="connsiteX3" fmla="*/ 1151636 w 7485631"/>
                <a:gd name="connsiteY3" fmla="*/ 387010 h 819019"/>
                <a:gd name="connsiteX4" fmla="*/ 1295590 w 7485631"/>
                <a:gd name="connsiteY4" fmla="*/ 459012 h 819019"/>
                <a:gd name="connsiteX5" fmla="*/ 1439544 w 7485631"/>
                <a:gd name="connsiteY5" fmla="*/ 315009 h 819019"/>
                <a:gd name="connsiteX6" fmla="*/ 1655476 w 7485631"/>
                <a:gd name="connsiteY6" fmla="*/ 387010 h 819019"/>
                <a:gd name="connsiteX7" fmla="*/ 2087339 w 7485631"/>
                <a:gd name="connsiteY7" fmla="*/ 243006 h 819019"/>
                <a:gd name="connsiteX8" fmla="*/ 2231294 w 7485631"/>
                <a:gd name="connsiteY8" fmla="*/ 243006 h 819019"/>
                <a:gd name="connsiteX9" fmla="*/ 2447226 w 7485631"/>
                <a:gd name="connsiteY9" fmla="*/ 171005 h 819019"/>
                <a:gd name="connsiteX10" fmla="*/ 3310952 w 7485631"/>
                <a:gd name="connsiteY10" fmla="*/ 27002 h 819019"/>
                <a:gd name="connsiteX11" fmla="*/ 4750497 w 7485631"/>
                <a:gd name="connsiteY11" fmla="*/ 27002 h 819019"/>
                <a:gd name="connsiteX12" fmla="*/ 5614223 w 7485631"/>
                <a:gd name="connsiteY12" fmla="*/ 315008 h 819019"/>
                <a:gd name="connsiteX13" fmla="*/ 7485631 w 7485631"/>
                <a:gd name="connsiteY13" fmla="*/ 603014 h 819019"/>
                <a:gd name="connsiteX14" fmla="*/ 7485631 w 7485631"/>
                <a:gd name="connsiteY14" fmla="*/ 819019 h 819019"/>
                <a:gd name="connsiteX0" fmla="*/ 7485631 w 7485631"/>
                <a:gd name="connsiteY0" fmla="*/ 819019 h 819019"/>
                <a:gd name="connsiteX1" fmla="*/ 0 w 7485631"/>
                <a:gd name="connsiteY1" fmla="*/ 819019 h 819019"/>
                <a:gd name="connsiteX2" fmla="*/ 719772 w 7485631"/>
                <a:gd name="connsiteY2" fmla="*/ 603015 h 819019"/>
                <a:gd name="connsiteX3" fmla="*/ 1151636 w 7485631"/>
                <a:gd name="connsiteY3" fmla="*/ 387010 h 819019"/>
                <a:gd name="connsiteX4" fmla="*/ 1295590 w 7485631"/>
                <a:gd name="connsiteY4" fmla="*/ 459012 h 819019"/>
                <a:gd name="connsiteX5" fmla="*/ 1439544 w 7485631"/>
                <a:gd name="connsiteY5" fmla="*/ 315009 h 819019"/>
                <a:gd name="connsiteX6" fmla="*/ 1655476 w 7485631"/>
                <a:gd name="connsiteY6" fmla="*/ 387010 h 819019"/>
                <a:gd name="connsiteX7" fmla="*/ 2087339 w 7485631"/>
                <a:gd name="connsiteY7" fmla="*/ 243006 h 819019"/>
                <a:gd name="connsiteX8" fmla="*/ 2231294 w 7485631"/>
                <a:gd name="connsiteY8" fmla="*/ 243006 h 819019"/>
                <a:gd name="connsiteX9" fmla="*/ 2447226 w 7485631"/>
                <a:gd name="connsiteY9" fmla="*/ 171005 h 819019"/>
                <a:gd name="connsiteX10" fmla="*/ 3310952 w 7485631"/>
                <a:gd name="connsiteY10" fmla="*/ 27002 h 819019"/>
                <a:gd name="connsiteX11" fmla="*/ 4750497 w 7485631"/>
                <a:gd name="connsiteY11" fmla="*/ 27002 h 819019"/>
                <a:gd name="connsiteX12" fmla="*/ 5614223 w 7485631"/>
                <a:gd name="connsiteY12" fmla="*/ 315008 h 819019"/>
                <a:gd name="connsiteX13" fmla="*/ 7485631 w 7485631"/>
                <a:gd name="connsiteY13" fmla="*/ 603014 h 819019"/>
                <a:gd name="connsiteX14" fmla="*/ 7485631 w 7485631"/>
                <a:gd name="connsiteY14" fmla="*/ 819019 h 819019"/>
                <a:gd name="connsiteX0" fmla="*/ 7485631 w 7485631"/>
                <a:gd name="connsiteY0" fmla="*/ 819019 h 819019"/>
                <a:gd name="connsiteX1" fmla="*/ 0 w 7485631"/>
                <a:gd name="connsiteY1" fmla="*/ 819019 h 819019"/>
                <a:gd name="connsiteX2" fmla="*/ 719772 w 7485631"/>
                <a:gd name="connsiteY2" fmla="*/ 603015 h 819019"/>
                <a:gd name="connsiteX3" fmla="*/ 1151636 w 7485631"/>
                <a:gd name="connsiteY3" fmla="*/ 387010 h 819019"/>
                <a:gd name="connsiteX4" fmla="*/ 1295590 w 7485631"/>
                <a:gd name="connsiteY4" fmla="*/ 459012 h 819019"/>
                <a:gd name="connsiteX5" fmla="*/ 1439544 w 7485631"/>
                <a:gd name="connsiteY5" fmla="*/ 315009 h 819019"/>
                <a:gd name="connsiteX6" fmla="*/ 1655476 w 7485631"/>
                <a:gd name="connsiteY6" fmla="*/ 387010 h 819019"/>
                <a:gd name="connsiteX7" fmla="*/ 2087339 w 7485631"/>
                <a:gd name="connsiteY7" fmla="*/ 243006 h 819019"/>
                <a:gd name="connsiteX8" fmla="*/ 2231294 w 7485631"/>
                <a:gd name="connsiteY8" fmla="*/ 243006 h 819019"/>
                <a:gd name="connsiteX9" fmla="*/ 2447226 w 7485631"/>
                <a:gd name="connsiteY9" fmla="*/ 171005 h 819019"/>
                <a:gd name="connsiteX10" fmla="*/ 2591180 w 7485631"/>
                <a:gd name="connsiteY10" fmla="*/ 171005 h 819019"/>
                <a:gd name="connsiteX11" fmla="*/ 3310952 w 7485631"/>
                <a:gd name="connsiteY11" fmla="*/ 27002 h 819019"/>
                <a:gd name="connsiteX12" fmla="*/ 4750497 w 7485631"/>
                <a:gd name="connsiteY12" fmla="*/ 27002 h 819019"/>
                <a:gd name="connsiteX13" fmla="*/ 5614223 w 7485631"/>
                <a:gd name="connsiteY13" fmla="*/ 315008 h 819019"/>
                <a:gd name="connsiteX14" fmla="*/ 7485631 w 7485631"/>
                <a:gd name="connsiteY14" fmla="*/ 603014 h 819019"/>
                <a:gd name="connsiteX15" fmla="*/ 7485631 w 7485631"/>
                <a:gd name="connsiteY15" fmla="*/ 819019 h 819019"/>
                <a:gd name="connsiteX0" fmla="*/ 7485631 w 7485631"/>
                <a:gd name="connsiteY0" fmla="*/ 819019 h 819019"/>
                <a:gd name="connsiteX1" fmla="*/ 0 w 7485631"/>
                <a:gd name="connsiteY1" fmla="*/ 819019 h 819019"/>
                <a:gd name="connsiteX2" fmla="*/ 719772 w 7485631"/>
                <a:gd name="connsiteY2" fmla="*/ 603015 h 819019"/>
                <a:gd name="connsiteX3" fmla="*/ 1151636 w 7485631"/>
                <a:gd name="connsiteY3" fmla="*/ 387010 h 819019"/>
                <a:gd name="connsiteX4" fmla="*/ 1295590 w 7485631"/>
                <a:gd name="connsiteY4" fmla="*/ 459012 h 819019"/>
                <a:gd name="connsiteX5" fmla="*/ 1439544 w 7485631"/>
                <a:gd name="connsiteY5" fmla="*/ 315009 h 819019"/>
                <a:gd name="connsiteX6" fmla="*/ 1655476 w 7485631"/>
                <a:gd name="connsiteY6" fmla="*/ 387010 h 819019"/>
                <a:gd name="connsiteX7" fmla="*/ 2087339 w 7485631"/>
                <a:gd name="connsiteY7" fmla="*/ 243006 h 819019"/>
                <a:gd name="connsiteX8" fmla="*/ 2231294 w 7485631"/>
                <a:gd name="connsiteY8" fmla="*/ 243006 h 819019"/>
                <a:gd name="connsiteX9" fmla="*/ 2447226 w 7485631"/>
                <a:gd name="connsiteY9" fmla="*/ 171005 h 819019"/>
                <a:gd name="connsiteX10" fmla="*/ 2591180 w 7485631"/>
                <a:gd name="connsiteY10" fmla="*/ 171005 h 819019"/>
                <a:gd name="connsiteX11" fmla="*/ 3310952 w 7485631"/>
                <a:gd name="connsiteY11" fmla="*/ 27002 h 819019"/>
                <a:gd name="connsiteX12" fmla="*/ 4750497 w 7485631"/>
                <a:gd name="connsiteY12" fmla="*/ 27002 h 819019"/>
                <a:gd name="connsiteX13" fmla="*/ 5614223 w 7485631"/>
                <a:gd name="connsiteY13" fmla="*/ 315008 h 819019"/>
                <a:gd name="connsiteX14" fmla="*/ 7485631 w 7485631"/>
                <a:gd name="connsiteY14" fmla="*/ 603014 h 819019"/>
                <a:gd name="connsiteX15" fmla="*/ 7485631 w 7485631"/>
                <a:gd name="connsiteY15" fmla="*/ 819019 h 819019"/>
                <a:gd name="connsiteX0" fmla="*/ 7485631 w 7485631"/>
                <a:gd name="connsiteY0" fmla="*/ 894232 h 894232"/>
                <a:gd name="connsiteX1" fmla="*/ 0 w 7485631"/>
                <a:gd name="connsiteY1" fmla="*/ 894232 h 894232"/>
                <a:gd name="connsiteX2" fmla="*/ 719772 w 7485631"/>
                <a:gd name="connsiteY2" fmla="*/ 678228 h 894232"/>
                <a:gd name="connsiteX3" fmla="*/ 1151636 w 7485631"/>
                <a:gd name="connsiteY3" fmla="*/ 462223 h 894232"/>
                <a:gd name="connsiteX4" fmla="*/ 1295590 w 7485631"/>
                <a:gd name="connsiteY4" fmla="*/ 534225 h 894232"/>
                <a:gd name="connsiteX5" fmla="*/ 1439544 w 7485631"/>
                <a:gd name="connsiteY5" fmla="*/ 390222 h 894232"/>
                <a:gd name="connsiteX6" fmla="*/ 1655476 w 7485631"/>
                <a:gd name="connsiteY6" fmla="*/ 462223 h 894232"/>
                <a:gd name="connsiteX7" fmla="*/ 2087339 w 7485631"/>
                <a:gd name="connsiteY7" fmla="*/ 318219 h 894232"/>
                <a:gd name="connsiteX8" fmla="*/ 2231294 w 7485631"/>
                <a:gd name="connsiteY8" fmla="*/ 318219 h 894232"/>
                <a:gd name="connsiteX9" fmla="*/ 2447226 w 7485631"/>
                <a:gd name="connsiteY9" fmla="*/ 246218 h 894232"/>
                <a:gd name="connsiteX10" fmla="*/ 2591180 w 7485631"/>
                <a:gd name="connsiteY10" fmla="*/ 246218 h 894232"/>
                <a:gd name="connsiteX11" fmla="*/ 3023043 w 7485631"/>
                <a:gd name="connsiteY11" fmla="*/ 24000 h 894232"/>
                <a:gd name="connsiteX12" fmla="*/ 3310952 w 7485631"/>
                <a:gd name="connsiteY12" fmla="*/ 102215 h 894232"/>
                <a:gd name="connsiteX13" fmla="*/ 4750497 w 7485631"/>
                <a:gd name="connsiteY13" fmla="*/ 102215 h 894232"/>
                <a:gd name="connsiteX14" fmla="*/ 5614223 w 7485631"/>
                <a:gd name="connsiteY14" fmla="*/ 390221 h 894232"/>
                <a:gd name="connsiteX15" fmla="*/ 7485631 w 7485631"/>
                <a:gd name="connsiteY15" fmla="*/ 678227 h 894232"/>
                <a:gd name="connsiteX16" fmla="*/ 7485631 w 7485631"/>
                <a:gd name="connsiteY16" fmla="*/ 894232 h 894232"/>
                <a:gd name="connsiteX0" fmla="*/ 7485631 w 7485631"/>
                <a:gd name="connsiteY0" fmla="*/ 819019 h 819019"/>
                <a:gd name="connsiteX1" fmla="*/ 0 w 7485631"/>
                <a:gd name="connsiteY1" fmla="*/ 819019 h 819019"/>
                <a:gd name="connsiteX2" fmla="*/ 719772 w 7485631"/>
                <a:gd name="connsiteY2" fmla="*/ 603015 h 819019"/>
                <a:gd name="connsiteX3" fmla="*/ 1151636 w 7485631"/>
                <a:gd name="connsiteY3" fmla="*/ 387010 h 819019"/>
                <a:gd name="connsiteX4" fmla="*/ 1295590 w 7485631"/>
                <a:gd name="connsiteY4" fmla="*/ 459012 h 819019"/>
                <a:gd name="connsiteX5" fmla="*/ 1439544 w 7485631"/>
                <a:gd name="connsiteY5" fmla="*/ 315009 h 819019"/>
                <a:gd name="connsiteX6" fmla="*/ 1655476 w 7485631"/>
                <a:gd name="connsiteY6" fmla="*/ 387010 h 819019"/>
                <a:gd name="connsiteX7" fmla="*/ 2087339 w 7485631"/>
                <a:gd name="connsiteY7" fmla="*/ 243006 h 819019"/>
                <a:gd name="connsiteX8" fmla="*/ 2231294 w 7485631"/>
                <a:gd name="connsiteY8" fmla="*/ 243006 h 819019"/>
                <a:gd name="connsiteX9" fmla="*/ 2447226 w 7485631"/>
                <a:gd name="connsiteY9" fmla="*/ 171005 h 819019"/>
                <a:gd name="connsiteX10" fmla="*/ 2591180 w 7485631"/>
                <a:gd name="connsiteY10" fmla="*/ 171005 h 819019"/>
                <a:gd name="connsiteX11" fmla="*/ 2951066 w 7485631"/>
                <a:gd name="connsiteY11" fmla="*/ 92790 h 819019"/>
                <a:gd name="connsiteX12" fmla="*/ 3310952 w 7485631"/>
                <a:gd name="connsiteY12" fmla="*/ 27002 h 819019"/>
                <a:gd name="connsiteX13" fmla="*/ 4750497 w 7485631"/>
                <a:gd name="connsiteY13" fmla="*/ 27002 h 819019"/>
                <a:gd name="connsiteX14" fmla="*/ 5614223 w 7485631"/>
                <a:gd name="connsiteY14" fmla="*/ 315008 h 819019"/>
                <a:gd name="connsiteX15" fmla="*/ 7485631 w 7485631"/>
                <a:gd name="connsiteY15" fmla="*/ 603014 h 819019"/>
                <a:gd name="connsiteX16" fmla="*/ 7485631 w 7485631"/>
                <a:gd name="connsiteY16" fmla="*/ 819019 h 819019"/>
                <a:gd name="connsiteX0" fmla="*/ 7485631 w 7485631"/>
                <a:gd name="connsiteY0" fmla="*/ 819019 h 819019"/>
                <a:gd name="connsiteX1" fmla="*/ 0 w 7485631"/>
                <a:gd name="connsiteY1" fmla="*/ 819019 h 819019"/>
                <a:gd name="connsiteX2" fmla="*/ 719772 w 7485631"/>
                <a:gd name="connsiteY2" fmla="*/ 603015 h 819019"/>
                <a:gd name="connsiteX3" fmla="*/ 1151636 w 7485631"/>
                <a:gd name="connsiteY3" fmla="*/ 387010 h 819019"/>
                <a:gd name="connsiteX4" fmla="*/ 1295590 w 7485631"/>
                <a:gd name="connsiteY4" fmla="*/ 459012 h 819019"/>
                <a:gd name="connsiteX5" fmla="*/ 1439544 w 7485631"/>
                <a:gd name="connsiteY5" fmla="*/ 315009 h 819019"/>
                <a:gd name="connsiteX6" fmla="*/ 1655476 w 7485631"/>
                <a:gd name="connsiteY6" fmla="*/ 387010 h 819019"/>
                <a:gd name="connsiteX7" fmla="*/ 2087339 w 7485631"/>
                <a:gd name="connsiteY7" fmla="*/ 243006 h 819019"/>
                <a:gd name="connsiteX8" fmla="*/ 2231294 w 7485631"/>
                <a:gd name="connsiteY8" fmla="*/ 243006 h 819019"/>
                <a:gd name="connsiteX9" fmla="*/ 2447226 w 7485631"/>
                <a:gd name="connsiteY9" fmla="*/ 171005 h 819019"/>
                <a:gd name="connsiteX10" fmla="*/ 2591180 w 7485631"/>
                <a:gd name="connsiteY10" fmla="*/ 171005 h 819019"/>
                <a:gd name="connsiteX11" fmla="*/ 2807112 w 7485631"/>
                <a:gd name="connsiteY11" fmla="*/ 92790 h 819019"/>
                <a:gd name="connsiteX12" fmla="*/ 3310952 w 7485631"/>
                <a:gd name="connsiteY12" fmla="*/ 27002 h 819019"/>
                <a:gd name="connsiteX13" fmla="*/ 4750497 w 7485631"/>
                <a:gd name="connsiteY13" fmla="*/ 27002 h 819019"/>
                <a:gd name="connsiteX14" fmla="*/ 5614223 w 7485631"/>
                <a:gd name="connsiteY14" fmla="*/ 315008 h 819019"/>
                <a:gd name="connsiteX15" fmla="*/ 7485631 w 7485631"/>
                <a:gd name="connsiteY15" fmla="*/ 603014 h 819019"/>
                <a:gd name="connsiteX16" fmla="*/ 7485631 w 7485631"/>
                <a:gd name="connsiteY16" fmla="*/ 819019 h 819019"/>
                <a:gd name="connsiteX0" fmla="*/ 7485631 w 7485631"/>
                <a:gd name="connsiteY0" fmla="*/ 819019 h 819019"/>
                <a:gd name="connsiteX1" fmla="*/ 0 w 7485631"/>
                <a:gd name="connsiteY1" fmla="*/ 819019 h 819019"/>
                <a:gd name="connsiteX2" fmla="*/ 719772 w 7485631"/>
                <a:gd name="connsiteY2" fmla="*/ 603015 h 819019"/>
                <a:gd name="connsiteX3" fmla="*/ 1151636 w 7485631"/>
                <a:gd name="connsiteY3" fmla="*/ 387010 h 819019"/>
                <a:gd name="connsiteX4" fmla="*/ 1295590 w 7485631"/>
                <a:gd name="connsiteY4" fmla="*/ 459012 h 819019"/>
                <a:gd name="connsiteX5" fmla="*/ 1439544 w 7485631"/>
                <a:gd name="connsiteY5" fmla="*/ 315009 h 819019"/>
                <a:gd name="connsiteX6" fmla="*/ 1655476 w 7485631"/>
                <a:gd name="connsiteY6" fmla="*/ 387010 h 819019"/>
                <a:gd name="connsiteX7" fmla="*/ 2087339 w 7485631"/>
                <a:gd name="connsiteY7" fmla="*/ 243006 h 819019"/>
                <a:gd name="connsiteX8" fmla="*/ 2231294 w 7485631"/>
                <a:gd name="connsiteY8" fmla="*/ 243006 h 819019"/>
                <a:gd name="connsiteX9" fmla="*/ 2447226 w 7485631"/>
                <a:gd name="connsiteY9" fmla="*/ 171005 h 819019"/>
                <a:gd name="connsiteX10" fmla="*/ 2591180 w 7485631"/>
                <a:gd name="connsiteY10" fmla="*/ 171005 h 819019"/>
                <a:gd name="connsiteX11" fmla="*/ 2807112 w 7485631"/>
                <a:gd name="connsiteY11" fmla="*/ 92790 h 819019"/>
                <a:gd name="connsiteX12" fmla="*/ 3310952 w 7485631"/>
                <a:gd name="connsiteY12" fmla="*/ 27002 h 819019"/>
                <a:gd name="connsiteX13" fmla="*/ 4750497 w 7485631"/>
                <a:gd name="connsiteY13" fmla="*/ 27002 h 819019"/>
                <a:gd name="connsiteX14" fmla="*/ 5614223 w 7485631"/>
                <a:gd name="connsiteY14" fmla="*/ 315008 h 819019"/>
                <a:gd name="connsiteX15" fmla="*/ 7485631 w 7485631"/>
                <a:gd name="connsiteY15" fmla="*/ 603014 h 819019"/>
                <a:gd name="connsiteX16" fmla="*/ 7485631 w 7485631"/>
                <a:gd name="connsiteY16" fmla="*/ 819019 h 819019"/>
                <a:gd name="connsiteX0" fmla="*/ 7485631 w 7485631"/>
                <a:gd name="connsiteY0" fmla="*/ 819019 h 819019"/>
                <a:gd name="connsiteX1" fmla="*/ 0 w 7485631"/>
                <a:gd name="connsiteY1" fmla="*/ 819019 h 819019"/>
                <a:gd name="connsiteX2" fmla="*/ 719772 w 7485631"/>
                <a:gd name="connsiteY2" fmla="*/ 603015 h 819019"/>
                <a:gd name="connsiteX3" fmla="*/ 1151636 w 7485631"/>
                <a:gd name="connsiteY3" fmla="*/ 387010 h 819019"/>
                <a:gd name="connsiteX4" fmla="*/ 1295590 w 7485631"/>
                <a:gd name="connsiteY4" fmla="*/ 459012 h 819019"/>
                <a:gd name="connsiteX5" fmla="*/ 1439544 w 7485631"/>
                <a:gd name="connsiteY5" fmla="*/ 315009 h 819019"/>
                <a:gd name="connsiteX6" fmla="*/ 1655476 w 7485631"/>
                <a:gd name="connsiteY6" fmla="*/ 387010 h 819019"/>
                <a:gd name="connsiteX7" fmla="*/ 2087339 w 7485631"/>
                <a:gd name="connsiteY7" fmla="*/ 243006 h 819019"/>
                <a:gd name="connsiteX8" fmla="*/ 2231294 w 7485631"/>
                <a:gd name="connsiteY8" fmla="*/ 243006 h 819019"/>
                <a:gd name="connsiteX9" fmla="*/ 2447226 w 7485631"/>
                <a:gd name="connsiteY9" fmla="*/ 171005 h 819019"/>
                <a:gd name="connsiteX10" fmla="*/ 2591180 w 7485631"/>
                <a:gd name="connsiteY10" fmla="*/ 171005 h 819019"/>
                <a:gd name="connsiteX11" fmla="*/ 3310952 w 7485631"/>
                <a:gd name="connsiteY11" fmla="*/ 27002 h 819019"/>
                <a:gd name="connsiteX12" fmla="*/ 4750497 w 7485631"/>
                <a:gd name="connsiteY12" fmla="*/ 27002 h 819019"/>
                <a:gd name="connsiteX13" fmla="*/ 5614223 w 7485631"/>
                <a:gd name="connsiteY13" fmla="*/ 315008 h 819019"/>
                <a:gd name="connsiteX14" fmla="*/ 7485631 w 7485631"/>
                <a:gd name="connsiteY14" fmla="*/ 603014 h 819019"/>
                <a:gd name="connsiteX15" fmla="*/ 7485631 w 7485631"/>
                <a:gd name="connsiteY15" fmla="*/ 819019 h 819019"/>
                <a:gd name="connsiteX0" fmla="*/ 7485631 w 7485631"/>
                <a:gd name="connsiteY0" fmla="*/ 819019 h 819019"/>
                <a:gd name="connsiteX1" fmla="*/ 0 w 7485631"/>
                <a:gd name="connsiteY1" fmla="*/ 819019 h 819019"/>
                <a:gd name="connsiteX2" fmla="*/ 719772 w 7485631"/>
                <a:gd name="connsiteY2" fmla="*/ 603015 h 819019"/>
                <a:gd name="connsiteX3" fmla="*/ 1151636 w 7485631"/>
                <a:gd name="connsiteY3" fmla="*/ 387010 h 819019"/>
                <a:gd name="connsiteX4" fmla="*/ 1295590 w 7485631"/>
                <a:gd name="connsiteY4" fmla="*/ 459012 h 819019"/>
                <a:gd name="connsiteX5" fmla="*/ 1439544 w 7485631"/>
                <a:gd name="connsiteY5" fmla="*/ 315009 h 819019"/>
                <a:gd name="connsiteX6" fmla="*/ 1655476 w 7485631"/>
                <a:gd name="connsiteY6" fmla="*/ 387010 h 819019"/>
                <a:gd name="connsiteX7" fmla="*/ 2087339 w 7485631"/>
                <a:gd name="connsiteY7" fmla="*/ 243006 h 819019"/>
                <a:gd name="connsiteX8" fmla="*/ 2231294 w 7485631"/>
                <a:gd name="connsiteY8" fmla="*/ 243006 h 819019"/>
                <a:gd name="connsiteX9" fmla="*/ 2447226 w 7485631"/>
                <a:gd name="connsiteY9" fmla="*/ 171005 h 819019"/>
                <a:gd name="connsiteX10" fmla="*/ 2591180 w 7485631"/>
                <a:gd name="connsiteY10" fmla="*/ 171005 h 819019"/>
                <a:gd name="connsiteX11" fmla="*/ 3670838 w 7485631"/>
                <a:gd name="connsiteY11" fmla="*/ 20788 h 819019"/>
                <a:gd name="connsiteX12" fmla="*/ 4750497 w 7485631"/>
                <a:gd name="connsiteY12" fmla="*/ 27002 h 819019"/>
                <a:gd name="connsiteX13" fmla="*/ 5614223 w 7485631"/>
                <a:gd name="connsiteY13" fmla="*/ 315008 h 819019"/>
                <a:gd name="connsiteX14" fmla="*/ 7485631 w 7485631"/>
                <a:gd name="connsiteY14" fmla="*/ 603014 h 819019"/>
                <a:gd name="connsiteX15" fmla="*/ 7485631 w 7485631"/>
                <a:gd name="connsiteY15" fmla="*/ 819019 h 819019"/>
                <a:gd name="connsiteX0" fmla="*/ 10867739 w 10867739"/>
                <a:gd name="connsiteY0" fmla="*/ 819019 h 819019"/>
                <a:gd name="connsiteX1" fmla="*/ 0 w 10867739"/>
                <a:gd name="connsiteY1" fmla="*/ 819019 h 819019"/>
                <a:gd name="connsiteX2" fmla="*/ 719772 w 10867739"/>
                <a:gd name="connsiteY2" fmla="*/ 603015 h 819019"/>
                <a:gd name="connsiteX3" fmla="*/ 1151636 w 10867739"/>
                <a:gd name="connsiteY3" fmla="*/ 387010 h 819019"/>
                <a:gd name="connsiteX4" fmla="*/ 1295590 w 10867739"/>
                <a:gd name="connsiteY4" fmla="*/ 459012 h 819019"/>
                <a:gd name="connsiteX5" fmla="*/ 1439544 w 10867739"/>
                <a:gd name="connsiteY5" fmla="*/ 315009 h 819019"/>
                <a:gd name="connsiteX6" fmla="*/ 1655476 w 10867739"/>
                <a:gd name="connsiteY6" fmla="*/ 387010 h 819019"/>
                <a:gd name="connsiteX7" fmla="*/ 2087339 w 10867739"/>
                <a:gd name="connsiteY7" fmla="*/ 243006 h 819019"/>
                <a:gd name="connsiteX8" fmla="*/ 2231294 w 10867739"/>
                <a:gd name="connsiteY8" fmla="*/ 243006 h 819019"/>
                <a:gd name="connsiteX9" fmla="*/ 2447226 w 10867739"/>
                <a:gd name="connsiteY9" fmla="*/ 171005 h 819019"/>
                <a:gd name="connsiteX10" fmla="*/ 2591180 w 10867739"/>
                <a:gd name="connsiteY10" fmla="*/ 171005 h 819019"/>
                <a:gd name="connsiteX11" fmla="*/ 3670838 w 10867739"/>
                <a:gd name="connsiteY11" fmla="*/ 20788 h 819019"/>
                <a:gd name="connsiteX12" fmla="*/ 4750497 w 10867739"/>
                <a:gd name="connsiteY12" fmla="*/ 27002 h 819019"/>
                <a:gd name="connsiteX13" fmla="*/ 5614223 w 10867739"/>
                <a:gd name="connsiteY13" fmla="*/ 315008 h 819019"/>
                <a:gd name="connsiteX14" fmla="*/ 7485631 w 10867739"/>
                <a:gd name="connsiteY14" fmla="*/ 603014 h 819019"/>
                <a:gd name="connsiteX15" fmla="*/ 10867739 w 10867739"/>
                <a:gd name="connsiteY15" fmla="*/ 819019 h 819019"/>
                <a:gd name="connsiteX0" fmla="*/ 10795770 w 10795770"/>
                <a:gd name="connsiteY0" fmla="*/ 819019 h 819019"/>
                <a:gd name="connsiteX1" fmla="*/ 0 w 10795770"/>
                <a:gd name="connsiteY1" fmla="*/ 819019 h 819019"/>
                <a:gd name="connsiteX2" fmla="*/ 719772 w 10795770"/>
                <a:gd name="connsiteY2" fmla="*/ 603015 h 819019"/>
                <a:gd name="connsiteX3" fmla="*/ 1151636 w 10795770"/>
                <a:gd name="connsiteY3" fmla="*/ 387010 h 819019"/>
                <a:gd name="connsiteX4" fmla="*/ 1295590 w 10795770"/>
                <a:gd name="connsiteY4" fmla="*/ 459012 h 819019"/>
                <a:gd name="connsiteX5" fmla="*/ 1439544 w 10795770"/>
                <a:gd name="connsiteY5" fmla="*/ 315009 h 819019"/>
                <a:gd name="connsiteX6" fmla="*/ 1655476 w 10795770"/>
                <a:gd name="connsiteY6" fmla="*/ 387010 h 819019"/>
                <a:gd name="connsiteX7" fmla="*/ 2087339 w 10795770"/>
                <a:gd name="connsiteY7" fmla="*/ 243006 h 819019"/>
                <a:gd name="connsiteX8" fmla="*/ 2231294 w 10795770"/>
                <a:gd name="connsiteY8" fmla="*/ 243006 h 819019"/>
                <a:gd name="connsiteX9" fmla="*/ 2447226 w 10795770"/>
                <a:gd name="connsiteY9" fmla="*/ 171005 h 819019"/>
                <a:gd name="connsiteX10" fmla="*/ 2591180 w 10795770"/>
                <a:gd name="connsiteY10" fmla="*/ 171005 h 819019"/>
                <a:gd name="connsiteX11" fmla="*/ 3670838 w 10795770"/>
                <a:gd name="connsiteY11" fmla="*/ 20788 h 819019"/>
                <a:gd name="connsiteX12" fmla="*/ 4750497 w 10795770"/>
                <a:gd name="connsiteY12" fmla="*/ 27002 h 819019"/>
                <a:gd name="connsiteX13" fmla="*/ 5614223 w 10795770"/>
                <a:gd name="connsiteY13" fmla="*/ 315008 h 819019"/>
                <a:gd name="connsiteX14" fmla="*/ 7485631 w 10795770"/>
                <a:gd name="connsiteY14" fmla="*/ 603014 h 819019"/>
                <a:gd name="connsiteX15" fmla="*/ 10795770 w 10795770"/>
                <a:gd name="connsiteY15" fmla="*/ 819019 h 819019"/>
                <a:gd name="connsiteX0" fmla="*/ 9860191 w 9860191"/>
                <a:gd name="connsiteY0" fmla="*/ 819019 h 819019"/>
                <a:gd name="connsiteX1" fmla="*/ 0 w 9860191"/>
                <a:gd name="connsiteY1" fmla="*/ 819019 h 819019"/>
                <a:gd name="connsiteX2" fmla="*/ 719772 w 9860191"/>
                <a:gd name="connsiteY2" fmla="*/ 603015 h 819019"/>
                <a:gd name="connsiteX3" fmla="*/ 1151636 w 9860191"/>
                <a:gd name="connsiteY3" fmla="*/ 387010 h 819019"/>
                <a:gd name="connsiteX4" fmla="*/ 1295590 w 9860191"/>
                <a:gd name="connsiteY4" fmla="*/ 459012 h 819019"/>
                <a:gd name="connsiteX5" fmla="*/ 1439544 w 9860191"/>
                <a:gd name="connsiteY5" fmla="*/ 315009 h 819019"/>
                <a:gd name="connsiteX6" fmla="*/ 1655476 w 9860191"/>
                <a:gd name="connsiteY6" fmla="*/ 387010 h 819019"/>
                <a:gd name="connsiteX7" fmla="*/ 2087339 w 9860191"/>
                <a:gd name="connsiteY7" fmla="*/ 243006 h 819019"/>
                <a:gd name="connsiteX8" fmla="*/ 2231294 w 9860191"/>
                <a:gd name="connsiteY8" fmla="*/ 243006 h 819019"/>
                <a:gd name="connsiteX9" fmla="*/ 2447226 w 9860191"/>
                <a:gd name="connsiteY9" fmla="*/ 171005 h 819019"/>
                <a:gd name="connsiteX10" fmla="*/ 2591180 w 9860191"/>
                <a:gd name="connsiteY10" fmla="*/ 171005 h 819019"/>
                <a:gd name="connsiteX11" fmla="*/ 3670838 w 9860191"/>
                <a:gd name="connsiteY11" fmla="*/ 20788 h 819019"/>
                <a:gd name="connsiteX12" fmla="*/ 4750497 w 9860191"/>
                <a:gd name="connsiteY12" fmla="*/ 27002 h 819019"/>
                <a:gd name="connsiteX13" fmla="*/ 5614223 w 9860191"/>
                <a:gd name="connsiteY13" fmla="*/ 315008 h 819019"/>
                <a:gd name="connsiteX14" fmla="*/ 7485631 w 9860191"/>
                <a:gd name="connsiteY14" fmla="*/ 603014 h 819019"/>
                <a:gd name="connsiteX15" fmla="*/ 9860191 w 9860191"/>
                <a:gd name="connsiteY15" fmla="*/ 819019 h 819019"/>
                <a:gd name="connsiteX0" fmla="*/ 9860191 w 9951580"/>
                <a:gd name="connsiteY0" fmla="*/ 819019 h 858888"/>
                <a:gd name="connsiteX1" fmla="*/ 0 w 9951580"/>
                <a:gd name="connsiteY1" fmla="*/ 819019 h 858888"/>
                <a:gd name="connsiteX2" fmla="*/ 719772 w 9951580"/>
                <a:gd name="connsiteY2" fmla="*/ 603015 h 858888"/>
                <a:gd name="connsiteX3" fmla="*/ 1151636 w 9951580"/>
                <a:gd name="connsiteY3" fmla="*/ 387010 h 858888"/>
                <a:gd name="connsiteX4" fmla="*/ 1295590 w 9951580"/>
                <a:gd name="connsiteY4" fmla="*/ 459012 h 858888"/>
                <a:gd name="connsiteX5" fmla="*/ 1439544 w 9951580"/>
                <a:gd name="connsiteY5" fmla="*/ 315009 h 858888"/>
                <a:gd name="connsiteX6" fmla="*/ 1655476 w 9951580"/>
                <a:gd name="connsiteY6" fmla="*/ 387010 h 858888"/>
                <a:gd name="connsiteX7" fmla="*/ 2087339 w 9951580"/>
                <a:gd name="connsiteY7" fmla="*/ 243006 h 858888"/>
                <a:gd name="connsiteX8" fmla="*/ 2231294 w 9951580"/>
                <a:gd name="connsiteY8" fmla="*/ 243006 h 858888"/>
                <a:gd name="connsiteX9" fmla="*/ 2447226 w 9951580"/>
                <a:gd name="connsiteY9" fmla="*/ 171005 h 858888"/>
                <a:gd name="connsiteX10" fmla="*/ 2591180 w 9951580"/>
                <a:gd name="connsiteY10" fmla="*/ 171005 h 858888"/>
                <a:gd name="connsiteX11" fmla="*/ 3670838 w 9951580"/>
                <a:gd name="connsiteY11" fmla="*/ 20788 h 858888"/>
                <a:gd name="connsiteX12" fmla="*/ 4750497 w 9951580"/>
                <a:gd name="connsiteY12" fmla="*/ 27002 h 858888"/>
                <a:gd name="connsiteX13" fmla="*/ 5614223 w 9951580"/>
                <a:gd name="connsiteY13" fmla="*/ 315008 h 858888"/>
                <a:gd name="connsiteX14" fmla="*/ 7485631 w 9951580"/>
                <a:gd name="connsiteY14" fmla="*/ 603014 h 858888"/>
                <a:gd name="connsiteX15" fmla="*/ 9951580 w 9951580"/>
                <a:gd name="connsiteY15" fmla="*/ 858888 h 858888"/>
                <a:gd name="connsiteX0" fmla="*/ 9860191 w 9932159"/>
                <a:gd name="connsiteY0" fmla="*/ 819019 h 819019"/>
                <a:gd name="connsiteX1" fmla="*/ 0 w 9932159"/>
                <a:gd name="connsiteY1" fmla="*/ 819019 h 819019"/>
                <a:gd name="connsiteX2" fmla="*/ 719772 w 9932159"/>
                <a:gd name="connsiteY2" fmla="*/ 603015 h 819019"/>
                <a:gd name="connsiteX3" fmla="*/ 1151636 w 9932159"/>
                <a:gd name="connsiteY3" fmla="*/ 387010 h 819019"/>
                <a:gd name="connsiteX4" fmla="*/ 1295590 w 9932159"/>
                <a:gd name="connsiteY4" fmla="*/ 459012 h 819019"/>
                <a:gd name="connsiteX5" fmla="*/ 1439544 w 9932159"/>
                <a:gd name="connsiteY5" fmla="*/ 315009 h 819019"/>
                <a:gd name="connsiteX6" fmla="*/ 1655476 w 9932159"/>
                <a:gd name="connsiteY6" fmla="*/ 387010 h 819019"/>
                <a:gd name="connsiteX7" fmla="*/ 2087339 w 9932159"/>
                <a:gd name="connsiteY7" fmla="*/ 243006 h 819019"/>
                <a:gd name="connsiteX8" fmla="*/ 2231294 w 9932159"/>
                <a:gd name="connsiteY8" fmla="*/ 243006 h 819019"/>
                <a:gd name="connsiteX9" fmla="*/ 2447226 w 9932159"/>
                <a:gd name="connsiteY9" fmla="*/ 171005 h 819019"/>
                <a:gd name="connsiteX10" fmla="*/ 2591180 w 9932159"/>
                <a:gd name="connsiteY10" fmla="*/ 171005 h 819019"/>
                <a:gd name="connsiteX11" fmla="*/ 3670838 w 9932159"/>
                <a:gd name="connsiteY11" fmla="*/ 20788 h 819019"/>
                <a:gd name="connsiteX12" fmla="*/ 4750497 w 9932159"/>
                <a:gd name="connsiteY12" fmla="*/ 27002 h 819019"/>
                <a:gd name="connsiteX13" fmla="*/ 5614223 w 9932159"/>
                <a:gd name="connsiteY13" fmla="*/ 315008 h 819019"/>
                <a:gd name="connsiteX14" fmla="*/ 7485631 w 9932159"/>
                <a:gd name="connsiteY14" fmla="*/ 603014 h 819019"/>
                <a:gd name="connsiteX15" fmla="*/ 9932159 w 9932159"/>
                <a:gd name="connsiteY15" fmla="*/ 756226 h 819019"/>
                <a:gd name="connsiteX0" fmla="*/ 9860191 w 9860191"/>
                <a:gd name="connsiteY0" fmla="*/ 819019 h 913208"/>
                <a:gd name="connsiteX1" fmla="*/ 0 w 9860191"/>
                <a:gd name="connsiteY1" fmla="*/ 819019 h 913208"/>
                <a:gd name="connsiteX2" fmla="*/ 719772 w 9860191"/>
                <a:gd name="connsiteY2" fmla="*/ 603015 h 913208"/>
                <a:gd name="connsiteX3" fmla="*/ 1151636 w 9860191"/>
                <a:gd name="connsiteY3" fmla="*/ 387010 h 913208"/>
                <a:gd name="connsiteX4" fmla="*/ 1295590 w 9860191"/>
                <a:gd name="connsiteY4" fmla="*/ 459012 h 913208"/>
                <a:gd name="connsiteX5" fmla="*/ 1439544 w 9860191"/>
                <a:gd name="connsiteY5" fmla="*/ 315009 h 913208"/>
                <a:gd name="connsiteX6" fmla="*/ 1655476 w 9860191"/>
                <a:gd name="connsiteY6" fmla="*/ 387010 h 913208"/>
                <a:gd name="connsiteX7" fmla="*/ 2087339 w 9860191"/>
                <a:gd name="connsiteY7" fmla="*/ 243006 h 913208"/>
                <a:gd name="connsiteX8" fmla="*/ 2231294 w 9860191"/>
                <a:gd name="connsiteY8" fmla="*/ 243006 h 913208"/>
                <a:gd name="connsiteX9" fmla="*/ 2447226 w 9860191"/>
                <a:gd name="connsiteY9" fmla="*/ 171005 h 913208"/>
                <a:gd name="connsiteX10" fmla="*/ 2591180 w 9860191"/>
                <a:gd name="connsiteY10" fmla="*/ 171005 h 913208"/>
                <a:gd name="connsiteX11" fmla="*/ 3670838 w 9860191"/>
                <a:gd name="connsiteY11" fmla="*/ 20788 h 913208"/>
                <a:gd name="connsiteX12" fmla="*/ 4750497 w 9860191"/>
                <a:gd name="connsiteY12" fmla="*/ 27002 h 913208"/>
                <a:gd name="connsiteX13" fmla="*/ 5614223 w 9860191"/>
                <a:gd name="connsiteY13" fmla="*/ 315008 h 913208"/>
                <a:gd name="connsiteX14" fmla="*/ 7485631 w 9860191"/>
                <a:gd name="connsiteY14" fmla="*/ 603014 h 913208"/>
                <a:gd name="connsiteX15" fmla="*/ 9860191 w 9860191"/>
                <a:gd name="connsiteY15" fmla="*/ 913208 h 913208"/>
                <a:gd name="connsiteX0" fmla="*/ 0 w 9860191"/>
                <a:gd name="connsiteY0" fmla="*/ 819019 h 913208"/>
                <a:gd name="connsiteX1" fmla="*/ 719772 w 9860191"/>
                <a:gd name="connsiteY1" fmla="*/ 603015 h 913208"/>
                <a:gd name="connsiteX2" fmla="*/ 1151636 w 9860191"/>
                <a:gd name="connsiteY2" fmla="*/ 387010 h 913208"/>
                <a:gd name="connsiteX3" fmla="*/ 1295590 w 9860191"/>
                <a:gd name="connsiteY3" fmla="*/ 459012 h 913208"/>
                <a:gd name="connsiteX4" fmla="*/ 1439544 w 9860191"/>
                <a:gd name="connsiteY4" fmla="*/ 315009 h 913208"/>
                <a:gd name="connsiteX5" fmla="*/ 1655476 w 9860191"/>
                <a:gd name="connsiteY5" fmla="*/ 387010 h 913208"/>
                <a:gd name="connsiteX6" fmla="*/ 2087339 w 9860191"/>
                <a:gd name="connsiteY6" fmla="*/ 243006 h 913208"/>
                <a:gd name="connsiteX7" fmla="*/ 2231294 w 9860191"/>
                <a:gd name="connsiteY7" fmla="*/ 243006 h 913208"/>
                <a:gd name="connsiteX8" fmla="*/ 2447226 w 9860191"/>
                <a:gd name="connsiteY8" fmla="*/ 171005 h 913208"/>
                <a:gd name="connsiteX9" fmla="*/ 2591180 w 9860191"/>
                <a:gd name="connsiteY9" fmla="*/ 171005 h 913208"/>
                <a:gd name="connsiteX10" fmla="*/ 3670838 w 9860191"/>
                <a:gd name="connsiteY10" fmla="*/ 20788 h 913208"/>
                <a:gd name="connsiteX11" fmla="*/ 4750497 w 9860191"/>
                <a:gd name="connsiteY11" fmla="*/ 27002 h 913208"/>
                <a:gd name="connsiteX12" fmla="*/ 5614223 w 9860191"/>
                <a:gd name="connsiteY12" fmla="*/ 315008 h 913208"/>
                <a:gd name="connsiteX13" fmla="*/ 7485631 w 9860191"/>
                <a:gd name="connsiteY13" fmla="*/ 603014 h 913208"/>
                <a:gd name="connsiteX14" fmla="*/ 9860191 w 9860191"/>
                <a:gd name="connsiteY14" fmla="*/ 913208 h 913208"/>
                <a:gd name="connsiteX0" fmla="*/ 0 w 9860191"/>
                <a:gd name="connsiteY0" fmla="*/ 819019 h 819019"/>
                <a:gd name="connsiteX1" fmla="*/ 719772 w 9860191"/>
                <a:gd name="connsiteY1" fmla="*/ 603015 h 819019"/>
                <a:gd name="connsiteX2" fmla="*/ 1151636 w 9860191"/>
                <a:gd name="connsiteY2" fmla="*/ 387010 h 819019"/>
                <a:gd name="connsiteX3" fmla="*/ 1295590 w 9860191"/>
                <a:gd name="connsiteY3" fmla="*/ 459012 h 819019"/>
                <a:gd name="connsiteX4" fmla="*/ 1439544 w 9860191"/>
                <a:gd name="connsiteY4" fmla="*/ 315009 h 819019"/>
                <a:gd name="connsiteX5" fmla="*/ 1655476 w 9860191"/>
                <a:gd name="connsiteY5" fmla="*/ 387010 h 819019"/>
                <a:gd name="connsiteX6" fmla="*/ 2087339 w 9860191"/>
                <a:gd name="connsiteY6" fmla="*/ 243006 h 819019"/>
                <a:gd name="connsiteX7" fmla="*/ 2231294 w 9860191"/>
                <a:gd name="connsiteY7" fmla="*/ 243006 h 819019"/>
                <a:gd name="connsiteX8" fmla="*/ 2447226 w 9860191"/>
                <a:gd name="connsiteY8" fmla="*/ 171005 h 819019"/>
                <a:gd name="connsiteX9" fmla="*/ 2591180 w 9860191"/>
                <a:gd name="connsiteY9" fmla="*/ 171005 h 819019"/>
                <a:gd name="connsiteX10" fmla="*/ 3670838 w 9860191"/>
                <a:gd name="connsiteY10" fmla="*/ 20788 h 819019"/>
                <a:gd name="connsiteX11" fmla="*/ 4750497 w 9860191"/>
                <a:gd name="connsiteY11" fmla="*/ 27002 h 819019"/>
                <a:gd name="connsiteX12" fmla="*/ 5614223 w 9860191"/>
                <a:gd name="connsiteY12" fmla="*/ 315008 h 819019"/>
                <a:gd name="connsiteX13" fmla="*/ 7485631 w 9860191"/>
                <a:gd name="connsiteY13" fmla="*/ 603014 h 819019"/>
                <a:gd name="connsiteX14" fmla="*/ 9860191 w 9860191"/>
                <a:gd name="connsiteY14" fmla="*/ 819019 h 81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860191" h="819019">
                  <a:moveTo>
                    <a:pt x="0" y="819019"/>
                  </a:moveTo>
                  <a:lnTo>
                    <a:pt x="719772" y="603015"/>
                  </a:lnTo>
                  <a:lnTo>
                    <a:pt x="1151636" y="387010"/>
                  </a:lnTo>
                  <a:lnTo>
                    <a:pt x="1295590" y="459012"/>
                  </a:lnTo>
                  <a:lnTo>
                    <a:pt x="1439544" y="315009"/>
                  </a:lnTo>
                  <a:lnTo>
                    <a:pt x="1655476" y="387010"/>
                  </a:lnTo>
                  <a:lnTo>
                    <a:pt x="2087339" y="243006"/>
                  </a:lnTo>
                  <a:lnTo>
                    <a:pt x="2231294" y="243006"/>
                  </a:lnTo>
                  <a:lnTo>
                    <a:pt x="2447226" y="171005"/>
                  </a:lnTo>
                  <a:lnTo>
                    <a:pt x="2591180" y="171005"/>
                  </a:lnTo>
                  <a:lnTo>
                    <a:pt x="3670838" y="20788"/>
                  </a:lnTo>
                  <a:cubicBezTo>
                    <a:pt x="3994736" y="9823"/>
                    <a:pt x="4427996" y="0"/>
                    <a:pt x="4750497" y="27002"/>
                  </a:cubicBezTo>
                  <a:lnTo>
                    <a:pt x="5614223" y="315008"/>
                  </a:lnTo>
                  <a:lnTo>
                    <a:pt x="7485631" y="603014"/>
                  </a:lnTo>
                  <a:lnTo>
                    <a:pt x="9860191" y="819019"/>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a:defRPr/>
              </a:pPr>
              <a:endParaRPr lang="fr-FR">
                <a:solidFill>
                  <a:prstClr val="white"/>
                </a:solidFill>
                <a:latin typeface="Century Gothic" panose="020B0502020202020204" pitchFamily="34" charset="0"/>
              </a:endParaRPr>
            </a:p>
          </p:txBody>
        </p:sp>
        <p:sp>
          <p:nvSpPr>
            <p:cNvPr id="17" name="ZoneTexte 28">
              <a:extLst>
                <a:ext uri="{FF2B5EF4-FFF2-40B4-BE49-F238E27FC236}">
                  <a16:creationId xmlns:a16="http://schemas.microsoft.com/office/drawing/2014/main" id="{30402C48-FB94-403F-B0B0-3EA1BE0BD59E}"/>
                </a:ext>
              </a:extLst>
            </p:cNvPr>
            <p:cNvSpPr txBox="1">
              <a:spLocks noChangeArrowheads="1"/>
            </p:cNvSpPr>
            <p:nvPr/>
          </p:nvSpPr>
          <p:spPr bwMode="auto">
            <a:xfrm>
              <a:off x="3456332" y="4691247"/>
              <a:ext cx="863822" cy="400203"/>
            </a:xfrm>
            <a:prstGeom prst="rect">
              <a:avLst/>
            </a:prstGeom>
            <a:solidFill>
              <a:schemeClr val="tx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algn="r" defTabSz="914377"/>
              <a:r>
                <a:rPr lang="fr-FR" altLang="fr-FR" sz="2000" b="1" dirty="0">
                  <a:solidFill>
                    <a:srgbClr val="ED7D31"/>
                  </a:solidFill>
                  <a:latin typeface="Century Gothic" panose="020B0502020202020204" pitchFamily="34" charset="0"/>
                </a:rPr>
                <a:t>Gaz</a:t>
              </a:r>
            </a:p>
          </p:txBody>
        </p:sp>
        <p:sp>
          <p:nvSpPr>
            <p:cNvPr id="18" name="Forme libre 11">
              <a:extLst>
                <a:ext uri="{FF2B5EF4-FFF2-40B4-BE49-F238E27FC236}">
                  <a16:creationId xmlns:a16="http://schemas.microsoft.com/office/drawing/2014/main" id="{08405490-A537-488B-9B10-1608D551C12F}"/>
                </a:ext>
              </a:extLst>
            </p:cNvPr>
            <p:cNvSpPr/>
            <p:nvPr/>
          </p:nvSpPr>
          <p:spPr bwMode="auto">
            <a:xfrm>
              <a:off x="1042988" y="5051654"/>
              <a:ext cx="9505376" cy="1041642"/>
            </a:xfrm>
            <a:custGeom>
              <a:avLst/>
              <a:gdLst>
                <a:gd name="connsiteX0" fmla="*/ 173832 w 2331244"/>
                <a:gd name="connsiteY0" fmla="*/ 5938837 h 5967412"/>
                <a:gd name="connsiteX1" fmla="*/ 216694 w 2331244"/>
                <a:gd name="connsiteY1" fmla="*/ 2738437 h 5967412"/>
                <a:gd name="connsiteX2" fmla="*/ 2316957 w 2331244"/>
                <a:gd name="connsiteY2" fmla="*/ 538162 h 5967412"/>
                <a:gd name="connsiteX3" fmla="*/ 2331244 w 2331244"/>
                <a:gd name="connsiteY3" fmla="*/ 5967412 h 5967412"/>
                <a:gd name="connsiteX4" fmla="*/ 173832 w 2331244"/>
                <a:gd name="connsiteY4" fmla="*/ 5938837 h 5967412"/>
                <a:gd name="connsiteX0" fmla="*/ 198281 w 2355693"/>
                <a:gd name="connsiteY0" fmla="*/ 5938837 h 5967412"/>
                <a:gd name="connsiteX1" fmla="*/ 216694 w 2355693"/>
                <a:gd name="connsiteY1" fmla="*/ 1365721 h 5967412"/>
                <a:gd name="connsiteX2" fmla="*/ 2341406 w 2355693"/>
                <a:gd name="connsiteY2" fmla="*/ 538162 h 5967412"/>
                <a:gd name="connsiteX3" fmla="*/ 2355693 w 2355693"/>
                <a:gd name="connsiteY3" fmla="*/ 5967412 h 5967412"/>
                <a:gd name="connsiteX4" fmla="*/ 198281 w 2355693"/>
                <a:gd name="connsiteY4" fmla="*/ 5938837 h 5967412"/>
                <a:gd name="connsiteX0" fmla="*/ 0 w 2157412"/>
                <a:gd name="connsiteY0" fmla="*/ 5938837 h 5967412"/>
                <a:gd name="connsiteX1" fmla="*/ 18413 w 2157412"/>
                <a:gd name="connsiteY1" fmla="*/ 1365721 h 5967412"/>
                <a:gd name="connsiteX2" fmla="*/ 2143125 w 2157412"/>
                <a:gd name="connsiteY2" fmla="*/ 538162 h 5967412"/>
                <a:gd name="connsiteX3" fmla="*/ 2157412 w 2157412"/>
                <a:gd name="connsiteY3" fmla="*/ 5967412 h 5967412"/>
                <a:gd name="connsiteX4" fmla="*/ 0 w 2157412"/>
                <a:gd name="connsiteY4" fmla="*/ 5938837 h 5967412"/>
                <a:gd name="connsiteX0" fmla="*/ 0 w 2157412"/>
                <a:gd name="connsiteY0" fmla="*/ 5400675 h 5429250"/>
                <a:gd name="connsiteX1" fmla="*/ 18413 w 2157412"/>
                <a:gd name="connsiteY1" fmla="*/ 827559 h 5429250"/>
                <a:gd name="connsiteX2" fmla="*/ 2143125 w 2157412"/>
                <a:gd name="connsiteY2" fmla="*/ 0 h 5429250"/>
                <a:gd name="connsiteX3" fmla="*/ 2157412 w 2157412"/>
                <a:gd name="connsiteY3" fmla="*/ 5429250 h 5429250"/>
                <a:gd name="connsiteX4" fmla="*/ 0 w 2157412"/>
                <a:gd name="connsiteY4" fmla="*/ 5400675 h 5429250"/>
                <a:gd name="connsiteX0" fmla="*/ 366055 w 2145137"/>
                <a:gd name="connsiteY0" fmla="*/ 5076031 h 5429250"/>
                <a:gd name="connsiteX1" fmla="*/ 6138 w 2145137"/>
                <a:gd name="connsiteY1" fmla="*/ 827559 h 5429250"/>
                <a:gd name="connsiteX2" fmla="*/ 2130850 w 2145137"/>
                <a:gd name="connsiteY2" fmla="*/ 0 h 5429250"/>
                <a:gd name="connsiteX3" fmla="*/ 2145137 w 2145137"/>
                <a:gd name="connsiteY3" fmla="*/ 5429250 h 5429250"/>
                <a:gd name="connsiteX4" fmla="*/ 366055 w 2145137"/>
                <a:gd name="connsiteY4" fmla="*/ 5076031 h 5429250"/>
                <a:gd name="connsiteX0" fmla="*/ 6138 w 2145137"/>
                <a:gd name="connsiteY0" fmla="*/ 5436071 h 5436071"/>
                <a:gd name="connsiteX1" fmla="*/ 6138 w 2145137"/>
                <a:gd name="connsiteY1" fmla="*/ 827559 h 5436071"/>
                <a:gd name="connsiteX2" fmla="*/ 2130850 w 2145137"/>
                <a:gd name="connsiteY2" fmla="*/ 0 h 5436071"/>
                <a:gd name="connsiteX3" fmla="*/ 2145137 w 2145137"/>
                <a:gd name="connsiteY3" fmla="*/ 5429250 h 5436071"/>
                <a:gd name="connsiteX4" fmla="*/ 6138 w 2145137"/>
                <a:gd name="connsiteY4" fmla="*/ 5436071 h 5436071"/>
                <a:gd name="connsiteX0" fmla="*/ 6138 w 2130850"/>
                <a:gd name="connsiteY0" fmla="*/ 5436071 h 5436071"/>
                <a:gd name="connsiteX1" fmla="*/ 6138 w 2130850"/>
                <a:gd name="connsiteY1" fmla="*/ 827559 h 5436071"/>
                <a:gd name="connsiteX2" fmla="*/ 2130850 w 2130850"/>
                <a:gd name="connsiteY2" fmla="*/ 0 h 5436071"/>
                <a:gd name="connsiteX3" fmla="*/ 2021676 w 2130850"/>
                <a:gd name="connsiteY3" fmla="*/ 4932015 h 5436071"/>
                <a:gd name="connsiteX4" fmla="*/ 6138 w 2130850"/>
                <a:gd name="connsiteY4" fmla="*/ 5436071 h 5436071"/>
                <a:gd name="connsiteX0" fmla="*/ 6138 w 2165643"/>
                <a:gd name="connsiteY0" fmla="*/ 5436071 h 5436071"/>
                <a:gd name="connsiteX1" fmla="*/ 6138 w 2165643"/>
                <a:gd name="connsiteY1" fmla="*/ 827559 h 5436071"/>
                <a:gd name="connsiteX2" fmla="*/ 2130850 w 2165643"/>
                <a:gd name="connsiteY2" fmla="*/ 0 h 5436071"/>
                <a:gd name="connsiteX3" fmla="*/ 2165643 w 2165643"/>
                <a:gd name="connsiteY3" fmla="*/ 5436071 h 5436071"/>
                <a:gd name="connsiteX4" fmla="*/ 6138 w 2165643"/>
                <a:gd name="connsiteY4" fmla="*/ 5436071 h 5436071"/>
                <a:gd name="connsiteX0" fmla="*/ 6138 w 2165643"/>
                <a:gd name="connsiteY0" fmla="*/ 5184576 h 5184576"/>
                <a:gd name="connsiteX1" fmla="*/ 6138 w 2165643"/>
                <a:gd name="connsiteY1" fmla="*/ 576064 h 5184576"/>
                <a:gd name="connsiteX2" fmla="*/ 2165642 w 2165643"/>
                <a:gd name="connsiteY2" fmla="*/ 0 h 5184576"/>
                <a:gd name="connsiteX3" fmla="*/ 2165643 w 2165643"/>
                <a:gd name="connsiteY3" fmla="*/ 5184576 h 5184576"/>
                <a:gd name="connsiteX4" fmla="*/ 6138 w 2165643"/>
                <a:gd name="connsiteY4" fmla="*/ 5184576 h 5184576"/>
                <a:gd name="connsiteX0" fmla="*/ 6139 w 2165644"/>
                <a:gd name="connsiteY0" fmla="*/ 5184576 h 5184576"/>
                <a:gd name="connsiteX1" fmla="*/ 6138 w 2165644"/>
                <a:gd name="connsiteY1" fmla="*/ 648071 h 5184576"/>
                <a:gd name="connsiteX2" fmla="*/ 2165643 w 2165644"/>
                <a:gd name="connsiteY2" fmla="*/ 0 h 5184576"/>
                <a:gd name="connsiteX3" fmla="*/ 2165644 w 2165644"/>
                <a:gd name="connsiteY3" fmla="*/ 5184576 h 5184576"/>
                <a:gd name="connsiteX4" fmla="*/ 6139 w 2165644"/>
                <a:gd name="connsiteY4" fmla="*/ 5184576 h 5184576"/>
                <a:gd name="connsiteX0" fmla="*/ 6139 w 2165644"/>
                <a:gd name="connsiteY0" fmla="*/ 5256585 h 5256585"/>
                <a:gd name="connsiteX1" fmla="*/ 6138 w 2165644"/>
                <a:gd name="connsiteY1" fmla="*/ 720080 h 5256585"/>
                <a:gd name="connsiteX2" fmla="*/ 2165644 w 2165644"/>
                <a:gd name="connsiteY2" fmla="*/ 0 h 5256585"/>
                <a:gd name="connsiteX3" fmla="*/ 2165644 w 2165644"/>
                <a:gd name="connsiteY3" fmla="*/ 5256585 h 5256585"/>
                <a:gd name="connsiteX4" fmla="*/ 6139 w 2165644"/>
                <a:gd name="connsiteY4" fmla="*/ 5256585 h 5256585"/>
                <a:gd name="connsiteX0" fmla="*/ 78122 w 2237627"/>
                <a:gd name="connsiteY0" fmla="*/ 5256585 h 5256585"/>
                <a:gd name="connsiteX1" fmla="*/ 6138 w 2237627"/>
                <a:gd name="connsiteY1" fmla="*/ 720081 h 5256585"/>
                <a:gd name="connsiteX2" fmla="*/ 2237627 w 2237627"/>
                <a:gd name="connsiteY2" fmla="*/ 0 h 5256585"/>
                <a:gd name="connsiteX3" fmla="*/ 2237627 w 2237627"/>
                <a:gd name="connsiteY3" fmla="*/ 5256585 h 5256585"/>
                <a:gd name="connsiteX4" fmla="*/ 78122 w 2237627"/>
                <a:gd name="connsiteY4" fmla="*/ 5256585 h 5256585"/>
                <a:gd name="connsiteX0" fmla="*/ 6138 w 2237627"/>
                <a:gd name="connsiteY0" fmla="*/ 5256585 h 5256585"/>
                <a:gd name="connsiteX1" fmla="*/ 6138 w 2237627"/>
                <a:gd name="connsiteY1" fmla="*/ 720081 h 5256585"/>
                <a:gd name="connsiteX2" fmla="*/ 2237627 w 2237627"/>
                <a:gd name="connsiteY2" fmla="*/ 0 h 5256585"/>
                <a:gd name="connsiteX3" fmla="*/ 2237627 w 2237627"/>
                <a:gd name="connsiteY3" fmla="*/ 5256585 h 5256585"/>
                <a:gd name="connsiteX4" fmla="*/ 6138 w 2237627"/>
                <a:gd name="connsiteY4" fmla="*/ 5256585 h 5256585"/>
                <a:gd name="connsiteX0" fmla="*/ 12276 w 2243765"/>
                <a:gd name="connsiteY0" fmla="*/ 5256585 h 5256585"/>
                <a:gd name="connsiteX1" fmla="*/ 6138 w 2243765"/>
                <a:gd name="connsiteY1" fmla="*/ 2088232 h 5256585"/>
                <a:gd name="connsiteX2" fmla="*/ 2243765 w 2243765"/>
                <a:gd name="connsiteY2" fmla="*/ 0 h 5256585"/>
                <a:gd name="connsiteX3" fmla="*/ 2243765 w 2243765"/>
                <a:gd name="connsiteY3" fmla="*/ 5256585 h 5256585"/>
                <a:gd name="connsiteX4" fmla="*/ 12276 w 2243765"/>
                <a:gd name="connsiteY4" fmla="*/ 5256585 h 5256585"/>
                <a:gd name="connsiteX0" fmla="*/ 12276 w 2243765"/>
                <a:gd name="connsiteY0" fmla="*/ 3168353 h 3168353"/>
                <a:gd name="connsiteX1" fmla="*/ 6138 w 2243765"/>
                <a:gd name="connsiteY1" fmla="*/ 0 h 3168353"/>
                <a:gd name="connsiteX2" fmla="*/ 2021677 w 2243765"/>
                <a:gd name="connsiteY2" fmla="*/ 2160240 h 3168353"/>
                <a:gd name="connsiteX3" fmla="*/ 2243765 w 2243765"/>
                <a:gd name="connsiteY3" fmla="*/ 3168353 h 3168353"/>
                <a:gd name="connsiteX4" fmla="*/ 12276 w 2243765"/>
                <a:gd name="connsiteY4" fmla="*/ 3168353 h 3168353"/>
                <a:gd name="connsiteX0" fmla="*/ 12276 w 2243765"/>
                <a:gd name="connsiteY0" fmla="*/ 3168353 h 3168353"/>
                <a:gd name="connsiteX1" fmla="*/ 6138 w 2243765"/>
                <a:gd name="connsiteY1" fmla="*/ 0 h 3168353"/>
                <a:gd name="connsiteX2" fmla="*/ 2021677 w 2243765"/>
                <a:gd name="connsiteY2" fmla="*/ 2160240 h 3168353"/>
                <a:gd name="connsiteX3" fmla="*/ 2243765 w 2243765"/>
                <a:gd name="connsiteY3" fmla="*/ 3168353 h 3168353"/>
                <a:gd name="connsiteX4" fmla="*/ 12276 w 2243765"/>
                <a:gd name="connsiteY4" fmla="*/ 3168353 h 3168353"/>
                <a:gd name="connsiteX0" fmla="*/ 12276 w 2243765"/>
                <a:gd name="connsiteY0" fmla="*/ 3168353 h 3168353"/>
                <a:gd name="connsiteX1" fmla="*/ 6138 w 2243765"/>
                <a:gd name="connsiteY1" fmla="*/ 0 h 3168353"/>
                <a:gd name="connsiteX2" fmla="*/ 2237627 w 2243765"/>
                <a:gd name="connsiteY2" fmla="*/ 2232248 h 3168353"/>
                <a:gd name="connsiteX3" fmla="*/ 2243765 w 2243765"/>
                <a:gd name="connsiteY3" fmla="*/ 3168353 h 3168353"/>
                <a:gd name="connsiteX4" fmla="*/ 12276 w 2243765"/>
                <a:gd name="connsiteY4" fmla="*/ 3168353 h 3168353"/>
                <a:gd name="connsiteX0" fmla="*/ 12276 w 2243765"/>
                <a:gd name="connsiteY0" fmla="*/ 3168353 h 3168353"/>
                <a:gd name="connsiteX1" fmla="*/ 6138 w 2243765"/>
                <a:gd name="connsiteY1" fmla="*/ 0 h 3168353"/>
                <a:gd name="connsiteX2" fmla="*/ 2237627 w 2243765"/>
                <a:gd name="connsiteY2" fmla="*/ 3096344 h 3168353"/>
                <a:gd name="connsiteX3" fmla="*/ 2243765 w 2243765"/>
                <a:gd name="connsiteY3" fmla="*/ 3168353 h 3168353"/>
                <a:gd name="connsiteX4" fmla="*/ 12276 w 2243765"/>
                <a:gd name="connsiteY4" fmla="*/ 3168353 h 3168353"/>
                <a:gd name="connsiteX0" fmla="*/ 12276 w 2243765"/>
                <a:gd name="connsiteY0" fmla="*/ 3168353 h 3168353"/>
                <a:gd name="connsiteX1" fmla="*/ 6138 w 2243765"/>
                <a:gd name="connsiteY1" fmla="*/ 0 h 3168353"/>
                <a:gd name="connsiteX2" fmla="*/ 2165644 w 2243765"/>
                <a:gd name="connsiteY2" fmla="*/ 2448272 h 3168353"/>
                <a:gd name="connsiteX3" fmla="*/ 2237627 w 2243765"/>
                <a:gd name="connsiteY3" fmla="*/ 3096344 h 3168353"/>
                <a:gd name="connsiteX4" fmla="*/ 2243765 w 2243765"/>
                <a:gd name="connsiteY4" fmla="*/ 3168353 h 3168353"/>
                <a:gd name="connsiteX5" fmla="*/ 12276 w 2243765"/>
                <a:gd name="connsiteY5" fmla="*/ 3168353 h 3168353"/>
                <a:gd name="connsiteX0" fmla="*/ 12276 w 2243765"/>
                <a:gd name="connsiteY0" fmla="*/ 3168353 h 3168353"/>
                <a:gd name="connsiteX1" fmla="*/ 6138 w 2243765"/>
                <a:gd name="connsiteY1" fmla="*/ 0 h 3168353"/>
                <a:gd name="connsiteX2" fmla="*/ 1085891 w 2243765"/>
                <a:gd name="connsiteY2" fmla="*/ 2160240 h 3168353"/>
                <a:gd name="connsiteX3" fmla="*/ 2165644 w 2243765"/>
                <a:gd name="connsiteY3" fmla="*/ 2448272 h 3168353"/>
                <a:gd name="connsiteX4" fmla="*/ 2237627 w 2243765"/>
                <a:gd name="connsiteY4" fmla="*/ 3096344 h 3168353"/>
                <a:gd name="connsiteX5" fmla="*/ 2243765 w 2243765"/>
                <a:gd name="connsiteY5" fmla="*/ 3168353 h 3168353"/>
                <a:gd name="connsiteX6" fmla="*/ 12276 w 2243765"/>
                <a:gd name="connsiteY6" fmla="*/ 3168353 h 3168353"/>
                <a:gd name="connsiteX0" fmla="*/ 12276 w 2243765"/>
                <a:gd name="connsiteY0" fmla="*/ 3168353 h 3168353"/>
                <a:gd name="connsiteX1" fmla="*/ 6138 w 2243765"/>
                <a:gd name="connsiteY1" fmla="*/ 0 h 3168353"/>
                <a:gd name="connsiteX2" fmla="*/ 1373825 w 2243765"/>
                <a:gd name="connsiteY2" fmla="*/ 2088232 h 3168353"/>
                <a:gd name="connsiteX3" fmla="*/ 2165644 w 2243765"/>
                <a:gd name="connsiteY3" fmla="*/ 2448272 h 3168353"/>
                <a:gd name="connsiteX4" fmla="*/ 2237627 w 2243765"/>
                <a:gd name="connsiteY4" fmla="*/ 3096344 h 3168353"/>
                <a:gd name="connsiteX5" fmla="*/ 2243765 w 2243765"/>
                <a:gd name="connsiteY5" fmla="*/ 3168353 h 3168353"/>
                <a:gd name="connsiteX6" fmla="*/ 12276 w 2243765"/>
                <a:gd name="connsiteY6" fmla="*/ 3168353 h 3168353"/>
                <a:gd name="connsiteX0" fmla="*/ 12276 w 2243765"/>
                <a:gd name="connsiteY0" fmla="*/ 3348373 h 3348373"/>
                <a:gd name="connsiteX1" fmla="*/ 6138 w 2243765"/>
                <a:gd name="connsiteY1" fmla="*/ 180020 h 3348373"/>
                <a:gd name="connsiteX2" fmla="*/ 1373825 w 2243765"/>
                <a:gd name="connsiteY2" fmla="*/ 2268252 h 3348373"/>
                <a:gd name="connsiteX3" fmla="*/ 2165644 w 2243765"/>
                <a:gd name="connsiteY3" fmla="*/ 2628292 h 3348373"/>
                <a:gd name="connsiteX4" fmla="*/ 2237627 w 2243765"/>
                <a:gd name="connsiteY4" fmla="*/ 3276364 h 3348373"/>
                <a:gd name="connsiteX5" fmla="*/ 2243765 w 2243765"/>
                <a:gd name="connsiteY5" fmla="*/ 3348373 h 3348373"/>
                <a:gd name="connsiteX6" fmla="*/ 12276 w 2243765"/>
                <a:gd name="connsiteY6" fmla="*/ 3348373 h 3348373"/>
                <a:gd name="connsiteX0" fmla="*/ 12276 w 2243765"/>
                <a:gd name="connsiteY0" fmla="*/ 3348373 h 3348373"/>
                <a:gd name="connsiteX1" fmla="*/ 6138 w 2243765"/>
                <a:gd name="connsiteY1" fmla="*/ 180020 h 3348373"/>
                <a:gd name="connsiteX2" fmla="*/ 1373825 w 2243765"/>
                <a:gd name="connsiteY2" fmla="*/ 2268252 h 3348373"/>
                <a:gd name="connsiteX3" fmla="*/ 2165644 w 2243765"/>
                <a:gd name="connsiteY3" fmla="*/ 2628292 h 3348373"/>
                <a:gd name="connsiteX4" fmla="*/ 2237627 w 2243765"/>
                <a:gd name="connsiteY4" fmla="*/ 3276364 h 3348373"/>
                <a:gd name="connsiteX5" fmla="*/ 2243765 w 2243765"/>
                <a:gd name="connsiteY5" fmla="*/ 3348373 h 3348373"/>
                <a:gd name="connsiteX6" fmla="*/ 12276 w 2243765"/>
                <a:gd name="connsiteY6" fmla="*/ 3348373 h 3348373"/>
                <a:gd name="connsiteX0" fmla="*/ 12276 w 2243765"/>
                <a:gd name="connsiteY0" fmla="*/ 3348373 h 3348373"/>
                <a:gd name="connsiteX1" fmla="*/ 6138 w 2243765"/>
                <a:gd name="connsiteY1" fmla="*/ 180020 h 3348373"/>
                <a:gd name="connsiteX2" fmla="*/ 1373825 w 2243765"/>
                <a:gd name="connsiteY2" fmla="*/ 2268252 h 3348373"/>
                <a:gd name="connsiteX3" fmla="*/ 2237627 w 2243765"/>
                <a:gd name="connsiteY3" fmla="*/ 2916324 h 3348373"/>
                <a:gd name="connsiteX4" fmla="*/ 2237627 w 2243765"/>
                <a:gd name="connsiteY4" fmla="*/ 3276364 h 3348373"/>
                <a:gd name="connsiteX5" fmla="*/ 2243765 w 2243765"/>
                <a:gd name="connsiteY5" fmla="*/ 3348373 h 3348373"/>
                <a:gd name="connsiteX6" fmla="*/ 12276 w 2243765"/>
                <a:gd name="connsiteY6" fmla="*/ 3348373 h 3348373"/>
                <a:gd name="connsiteX0" fmla="*/ 12276 w 2243765"/>
                <a:gd name="connsiteY0" fmla="*/ 3168353 h 3168353"/>
                <a:gd name="connsiteX1" fmla="*/ 6138 w 2243765"/>
                <a:gd name="connsiteY1" fmla="*/ 0 h 3168353"/>
                <a:gd name="connsiteX2" fmla="*/ 1373825 w 2243765"/>
                <a:gd name="connsiteY2" fmla="*/ 2088232 h 3168353"/>
                <a:gd name="connsiteX3" fmla="*/ 2237627 w 2243765"/>
                <a:gd name="connsiteY3" fmla="*/ 2736304 h 3168353"/>
                <a:gd name="connsiteX4" fmla="*/ 2237627 w 2243765"/>
                <a:gd name="connsiteY4" fmla="*/ 3096344 h 3168353"/>
                <a:gd name="connsiteX5" fmla="*/ 2243765 w 2243765"/>
                <a:gd name="connsiteY5" fmla="*/ 3168353 h 3168353"/>
                <a:gd name="connsiteX6" fmla="*/ 12276 w 2243765"/>
                <a:gd name="connsiteY6" fmla="*/ 3168353 h 3168353"/>
                <a:gd name="connsiteX0" fmla="*/ 12276 w 2243765"/>
                <a:gd name="connsiteY0" fmla="*/ 3168353 h 3168353"/>
                <a:gd name="connsiteX1" fmla="*/ 6138 w 2243765"/>
                <a:gd name="connsiteY1" fmla="*/ 0 h 3168353"/>
                <a:gd name="connsiteX2" fmla="*/ 1373825 w 2243765"/>
                <a:gd name="connsiteY2" fmla="*/ 2088232 h 3168353"/>
                <a:gd name="connsiteX3" fmla="*/ 2237627 w 2243765"/>
                <a:gd name="connsiteY3" fmla="*/ 2736304 h 3168353"/>
                <a:gd name="connsiteX4" fmla="*/ 2243765 w 2243765"/>
                <a:gd name="connsiteY4" fmla="*/ 3168353 h 3168353"/>
                <a:gd name="connsiteX5" fmla="*/ 12276 w 2243765"/>
                <a:gd name="connsiteY5" fmla="*/ 3168353 h 3168353"/>
                <a:gd name="connsiteX0" fmla="*/ 2237627 w 2237627"/>
                <a:gd name="connsiteY0" fmla="*/ 3168353 h 3168353"/>
                <a:gd name="connsiteX1" fmla="*/ 0 w 2237627"/>
                <a:gd name="connsiteY1" fmla="*/ 0 h 3168353"/>
                <a:gd name="connsiteX2" fmla="*/ 1367687 w 2237627"/>
                <a:gd name="connsiteY2" fmla="*/ 2088232 h 3168353"/>
                <a:gd name="connsiteX3" fmla="*/ 2231489 w 2237627"/>
                <a:gd name="connsiteY3" fmla="*/ 2736304 h 3168353"/>
                <a:gd name="connsiteX4" fmla="*/ 2237627 w 2237627"/>
                <a:gd name="connsiteY4" fmla="*/ 3168353 h 3168353"/>
                <a:gd name="connsiteX0" fmla="*/ 7426126 w 7792851"/>
                <a:gd name="connsiteY0" fmla="*/ 1152079 h 1634691"/>
                <a:gd name="connsiteX1" fmla="*/ 0 w 7792851"/>
                <a:gd name="connsiteY1" fmla="*/ 1151781 h 1634691"/>
                <a:gd name="connsiteX2" fmla="*/ 6556186 w 7792851"/>
                <a:gd name="connsiteY2" fmla="*/ 71958 h 1634691"/>
                <a:gd name="connsiteX3" fmla="*/ 7419988 w 7792851"/>
                <a:gd name="connsiteY3" fmla="*/ 720030 h 1634691"/>
                <a:gd name="connsiteX4" fmla="*/ 7426126 w 7792851"/>
                <a:gd name="connsiteY4" fmla="*/ 1152079 h 1634691"/>
                <a:gd name="connsiteX0" fmla="*/ 8324008 w 8486797"/>
                <a:gd name="connsiteY0" fmla="*/ 1104078 h 1104079"/>
                <a:gd name="connsiteX1" fmla="*/ 897882 w 8486797"/>
                <a:gd name="connsiteY1" fmla="*/ 1103780 h 1104079"/>
                <a:gd name="connsiteX2" fmla="*/ 2121495 w 8486797"/>
                <a:gd name="connsiteY2" fmla="*/ 815774 h 1104079"/>
                <a:gd name="connsiteX3" fmla="*/ 7454068 w 8486797"/>
                <a:gd name="connsiteY3" fmla="*/ 23957 h 1104079"/>
                <a:gd name="connsiteX4" fmla="*/ 8317870 w 8486797"/>
                <a:gd name="connsiteY4" fmla="*/ 672029 h 1104079"/>
                <a:gd name="connsiteX5" fmla="*/ 8324008 w 8486797"/>
                <a:gd name="connsiteY5" fmla="*/ 1104078 h 1104079"/>
                <a:gd name="connsiteX0" fmla="*/ 8324008 w 9416706"/>
                <a:gd name="connsiteY0" fmla="*/ 1128172 h 1128172"/>
                <a:gd name="connsiteX1" fmla="*/ 897882 w 9416706"/>
                <a:gd name="connsiteY1" fmla="*/ 1127874 h 1128172"/>
                <a:gd name="connsiteX2" fmla="*/ 2121495 w 9416706"/>
                <a:gd name="connsiteY2" fmla="*/ 839868 h 1128172"/>
                <a:gd name="connsiteX3" fmla="*/ 7454068 w 9416706"/>
                <a:gd name="connsiteY3" fmla="*/ 48051 h 1128172"/>
                <a:gd name="connsiteX4" fmla="*/ 8324008 w 9416706"/>
                <a:gd name="connsiteY4" fmla="*/ 1128172 h 1128172"/>
                <a:gd name="connsiteX0" fmla="*/ 8324008 w 9416706"/>
                <a:gd name="connsiteY0" fmla="*/ 312304 h 312304"/>
                <a:gd name="connsiteX1" fmla="*/ 897882 w 9416706"/>
                <a:gd name="connsiteY1" fmla="*/ 312006 h 312304"/>
                <a:gd name="connsiteX2" fmla="*/ 2121495 w 9416706"/>
                <a:gd name="connsiteY2" fmla="*/ 24000 h 312304"/>
                <a:gd name="connsiteX3" fmla="*/ 3561039 w 9416706"/>
                <a:gd name="connsiteY3" fmla="*/ 168004 h 312304"/>
                <a:gd name="connsiteX4" fmla="*/ 8324008 w 9416706"/>
                <a:gd name="connsiteY4" fmla="*/ 312304 h 312304"/>
                <a:gd name="connsiteX0" fmla="*/ 8324008 w 9562804"/>
                <a:gd name="connsiteY0" fmla="*/ 312304 h 312304"/>
                <a:gd name="connsiteX1" fmla="*/ 897882 w 9562804"/>
                <a:gd name="connsiteY1" fmla="*/ 312006 h 312304"/>
                <a:gd name="connsiteX2" fmla="*/ 2121495 w 9562804"/>
                <a:gd name="connsiteY2" fmla="*/ 24000 h 312304"/>
                <a:gd name="connsiteX3" fmla="*/ 3561039 w 9562804"/>
                <a:gd name="connsiteY3" fmla="*/ 168004 h 312304"/>
                <a:gd name="connsiteX4" fmla="*/ 8311535 w 9562804"/>
                <a:gd name="connsiteY4" fmla="*/ 96003 h 312304"/>
                <a:gd name="connsiteX5" fmla="*/ 8324008 w 9562804"/>
                <a:gd name="connsiteY5" fmla="*/ 312304 h 312304"/>
                <a:gd name="connsiteX0" fmla="*/ 8324008 w 8324008"/>
                <a:gd name="connsiteY0" fmla="*/ 312304 h 312304"/>
                <a:gd name="connsiteX1" fmla="*/ 897882 w 8324008"/>
                <a:gd name="connsiteY1" fmla="*/ 312006 h 312304"/>
                <a:gd name="connsiteX2" fmla="*/ 2121495 w 8324008"/>
                <a:gd name="connsiteY2" fmla="*/ 24000 h 312304"/>
                <a:gd name="connsiteX3" fmla="*/ 3561039 w 8324008"/>
                <a:gd name="connsiteY3" fmla="*/ 168004 h 312304"/>
                <a:gd name="connsiteX4" fmla="*/ 8311535 w 8324008"/>
                <a:gd name="connsiteY4" fmla="*/ 96003 h 312304"/>
                <a:gd name="connsiteX5" fmla="*/ 8324008 w 8324008"/>
                <a:gd name="connsiteY5" fmla="*/ 312304 h 312304"/>
                <a:gd name="connsiteX0" fmla="*/ 8324008 w 8383513"/>
                <a:gd name="connsiteY0" fmla="*/ 312304 h 312304"/>
                <a:gd name="connsiteX1" fmla="*/ 897882 w 8383513"/>
                <a:gd name="connsiteY1" fmla="*/ 312006 h 312304"/>
                <a:gd name="connsiteX2" fmla="*/ 2121495 w 8383513"/>
                <a:gd name="connsiteY2" fmla="*/ 24000 h 312304"/>
                <a:gd name="connsiteX3" fmla="*/ 3561039 w 8383513"/>
                <a:gd name="connsiteY3" fmla="*/ 168004 h 312304"/>
                <a:gd name="connsiteX4" fmla="*/ 8383513 w 8383513"/>
                <a:gd name="connsiteY4" fmla="*/ 168004 h 312304"/>
                <a:gd name="connsiteX5" fmla="*/ 8324008 w 8383513"/>
                <a:gd name="connsiteY5" fmla="*/ 312304 h 312304"/>
                <a:gd name="connsiteX0" fmla="*/ 8324008 w 8324008"/>
                <a:gd name="connsiteY0" fmla="*/ 312304 h 312304"/>
                <a:gd name="connsiteX1" fmla="*/ 897882 w 8324008"/>
                <a:gd name="connsiteY1" fmla="*/ 312006 h 312304"/>
                <a:gd name="connsiteX2" fmla="*/ 2121495 w 8324008"/>
                <a:gd name="connsiteY2" fmla="*/ 24000 h 312304"/>
                <a:gd name="connsiteX3" fmla="*/ 3561039 w 8324008"/>
                <a:gd name="connsiteY3" fmla="*/ 168004 h 312304"/>
                <a:gd name="connsiteX4" fmla="*/ 8311536 w 8324008"/>
                <a:gd name="connsiteY4" fmla="*/ 168004 h 312304"/>
                <a:gd name="connsiteX5" fmla="*/ 8324008 w 8324008"/>
                <a:gd name="connsiteY5" fmla="*/ 312304 h 312304"/>
                <a:gd name="connsiteX0" fmla="*/ 8383513 w 8383513"/>
                <a:gd name="connsiteY0" fmla="*/ 312007 h 312007"/>
                <a:gd name="connsiteX1" fmla="*/ 897882 w 8383513"/>
                <a:gd name="connsiteY1" fmla="*/ 312006 h 312007"/>
                <a:gd name="connsiteX2" fmla="*/ 2121495 w 8383513"/>
                <a:gd name="connsiteY2" fmla="*/ 24000 h 312007"/>
                <a:gd name="connsiteX3" fmla="*/ 3561039 w 8383513"/>
                <a:gd name="connsiteY3" fmla="*/ 168004 h 312007"/>
                <a:gd name="connsiteX4" fmla="*/ 8311536 w 8383513"/>
                <a:gd name="connsiteY4" fmla="*/ 168004 h 312007"/>
                <a:gd name="connsiteX5" fmla="*/ 8383513 w 8383513"/>
                <a:gd name="connsiteY5" fmla="*/ 312007 h 312007"/>
                <a:gd name="connsiteX0" fmla="*/ 8311536 w 8311536"/>
                <a:gd name="connsiteY0" fmla="*/ 312007 h 312007"/>
                <a:gd name="connsiteX1" fmla="*/ 897882 w 8311536"/>
                <a:gd name="connsiteY1" fmla="*/ 312006 h 312007"/>
                <a:gd name="connsiteX2" fmla="*/ 2121495 w 8311536"/>
                <a:gd name="connsiteY2" fmla="*/ 24000 h 312007"/>
                <a:gd name="connsiteX3" fmla="*/ 3561039 w 8311536"/>
                <a:gd name="connsiteY3" fmla="*/ 168004 h 312007"/>
                <a:gd name="connsiteX4" fmla="*/ 8311536 w 8311536"/>
                <a:gd name="connsiteY4" fmla="*/ 168004 h 312007"/>
                <a:gd name="connsiteX5" fmla="*/ 8311536 w 8311536"/>
                <a:gd name="connsiteY5" fmla="*/ 312007 h 312007"/>
                <a:gd name="connsiteX0" fmla="*/ 8311536 w 8311536"/>
                <a:gd name="connsiteY0" fmla="*/ 312007 h 312007"/>
                <a:gd name="connsiteX1" fmla="*/ 897882 w 8311536"/>
                <a:gd name="connsiteY1" fmla="*/ 312006 h 312007"/>
                <a:gd name="connsiteX2" fmla="*/ 2121495 w 8311536"/>
                <a:gd name="connsiteY2" fmla="*/ 24000 h 312007"/>
                <a:gd name="connsiteX3" fmla="*/ 3561039 w 8311536"/>
                <a:gd name="connsiteY3" fmla="*/ 168004 h 312007"/>
                <a:gd name="connsiteX4" fmla="*/ 8311536 w 8311536"/>
                <a:gd name="connsiteY4" fmla="*/ 168004 h 312007"/>
                <a:gd name="connsiteX5" fmla="*/ 8311536 w 8311536"/>
                <a:gd name="connsiteY5" fmla="*/ 312007 h 312007"/>
                <a:gd name="connsiteX0" fmla="*/ 8311536 w 8311536"/>
                <a:gd name="connsiteY0" fmla="*/ 312007 h 312007"/>
                <a:gd name="connsiteX1" fmla="*/ 897882 w 8311536"/>
                <a:gd name="connsiteY1" fmla="*/ 312006 h 312007"/>
                <a:gd name="connsiteX2" fmla="*/ 2121495 w 8311536"/>
                <a:gd name="connsiteY2" fmla="*/ 24000 h 312007"/>
                <a:gd name="connsiteX3" fmla="*/ 3561039 w 8311536"/>
                <a:gd name="connsiteY3" fmla="*/ 168004 h 312007"/>
                <a:gd name="connsiteX4" fmla="*/ 8311536 w 8311536"/>
                <a:gd name="connsiteY4" fmla="*/ 168004 h 312007"/>
                <a:gd name="connsiteX5" fmla="*/ 8311536 w 8311536"/>
                <a:gd name="connsiteY5" fmla="*/ 312007 h 312007"/>
                <a:gd name="connsiteX0" fmla="*/ 8311536 w 8311536"/>
                <a:gd name="connsiteY0" fmla="*/ 444008 h 444008"/>
                <a:gd name="connsiteX1" fmla="*/ 897882 w 8311536"/>
                <a:gd name="connsiteY1" fmla="*/ 444007 h 444008"/>
                <a:gd name="connsiteX2" fmla="*/ 2121495 w 8311536"/>
                <a:gd name="connsiteY2" fmla="*/ 156001 h 444008"/>
                <a:gd name="connsiteX3" fmla="*/ 4136857 w 8311536"/>
                <a:gd name="connsiteY3" fmla="*/ 12000 h 444008"/>
                <a:gd name="connsiteX4" fmla="*/ 8311536 w 8311536"/>
                <a:gd name="connsiteY4" fmla="*/ 300005 h 444008"/>
                <a:gd name="connsiteX5" fmla="*/ 8311536 w 8311536"/>
                <a:gd name="connsiteY5" fmla="*/ 444008 h 444008"/>
                <a:gd name="connsiteX0" fmla="*/ 8311536 w 8311536"/>
                <a:gd name="connsiteY0" fmla="*/ 435064 h 435064"/>
                <a:gd name="connsiteX1" fmla="*/ 897882 w 8311536"/>
                <a:gd name="connsiteY1" fmla="*/ 435063 h 435064"/>
                <a:gd name="connsiteX2" fmla="*/ 2121495 w 8311536"/>
                <a:gd name="connsiteY2" fmla="*/ 147057 h 435064"/>
                <a:gd name="connsiteX3" fmla="*/ 4136857 w 8311536"/>
                <a:gd name="connsiteY3" fmla="*/ 3056 h 435064"/>
                <a:gd name="connsiteX4" fmla="*/ 6512105 w 8311536"/>
                <a:gd name="connsiteY4" fmla="*/ 291062 h 435064"/>
                <a:gd name="connsiteX5" fmla="*/ 8311536 w 8311536"/>
                <a:gd name="connsiteY5" fmla="*/ 291061 h 435064"/>
                <a:gd name="connsiteX6" fmla="*/ 8311536 w 8311536"/>
                <a:gd name="connsiteY6" fmla="*/ 435064 h 435064"/>
                <a:gd name="connsiteX0" fmla="*/ 8311536 w 8311536"/>
                <a:gd name="connsiteY0" fmla="*/ 435064 h 435064"/>
                <a:gd name="connsiteX1" fmla="*/ 897882 w 8311536"/>
                <a:gd name="connsiteY1" fmla="*/ 435063 h 435064"/>
                <a:gd name="connsiteX2" fmla="*/ 2121495 w 8311536"/>
                <a:gd name="connsiteY2" fmla="*/ 147057 h 435064"/>
                <a:gd name="connsiteX3" fmla="*/ 4136857 w 8311536"/>
                <a:gd name="connsiteY3" fmla="*/ 3056 h 435064"/>
                <a:gd name="connsiteX4" fmla="*/ 6440128 w 8311536"/>
                <a:gd name="connsiteY4" fmla="*/ 147058 h 435064"/>
                <a:gd name="connsiteX5" fmla="*/ 8311536 w 8311536"/>
                <a:gd name="connsiteY5" fmla="*/ 291061 h 435064"/>
                <a:gd name="connsiteX6" fmla="*/ 8311536 w 8311536"/>
                <a:gd name="connsiteY6" fmla="*/ 435064 h 435064"/>
                <a:gd name="connsiteX0" fmla="*/ 8311536 w 8311536"/>
                <a:gd name="connsiteY0" fmla="*/ 435064 h 435064"/>
                <a:gd name="connsiteX1" fmla="*/ 897882 w 8311536"/>
                <a:gd name="connsiteY1" fmla="*/ 435063 h 435064"/>
                <a:gd name="connsiteX2" fmla="*/ 2121495 w 8311536"/>
                <a:gd name="connsiteY2" fmla="*/ 147057 h 435064"/>
                <a:gd name="connsiteX3" fmla="*/ 4352789 w 8311536"/>
                <a:gd name="connsiteY3" fmla="*/ 3056 h 435064"/>
                <a:gd name="connsiteX4" fmla="*/ 6440128 w 8311536"/>
                <a:gd name="connsiteY4" fmla="*/ 147058 h 435064"/>
                <a:gd name="connsiteX5" fmla="*/ 8311536 w 8311536"/>
                <a:gd name="connsiteY5" fmla="*/ 291061 h 435064"/>
                <a:gd name="connsiteX6" fmla="*/ 8311536 w 8311536"/>
                <a:gd name="connsiteY6" fmla="*/ 435064 h 435064"/>
                <a:gd name="connsiteX0" fmla="*/ 8383513 w 8383513"/>
                <a:gd name="connsiteY0" fmla="*/ 435064 h 435064"/>
                <a:gd name="connsiteX1" fmla="*/ 897882 w 8383513"/>
                <a:gd name="connsiteY1" fmla="*/ 435064 h 435064"/>
                <a:gd name="connsiteX2" fmla="*/ 2193472 w 8383513"/>
                <a:gd name="connsiteY2" fmla="*/ 147057 h 435064"/>
                <a:gd name="connsiteX3" fmla="*/ 4424766 w 8383513"/>
                <a:gd name="connsiteY3" fmla="*/ 3056 h 435064"/>
                <a:gd name="connsiteX4" fmla="*/ 6512105 w 8383513"/>
                <a:gd name="connsiteY4" fmla="*/ 147058 h 435064"/>
                <a:gd name="connsiteX5" fmla="*/ 8383513 w 8383513"/>
                <a:gd name="connsiteY5" fmla="*/ 291061 h 435064"/>
                <a:gd name="connsiteX6" fmla="*/ 8383513 w 8383513"/>
                <a:gd name="connsiteY6" fmla="*/ 435064 h 435064"/>
                <a:gd name="connsiteX0" fmla="*/ 7485631 w 7485631"/>
                <a:gd name="connsiteY0" fmla="*/ 435064 h 435064"/>
                <a:gd name="connsiteX1" fmla="*/ 0 w 7485631"/>
                <a:gd name="connsiteY1" fmla="*/ 435064 h 435064"/>
                <a:gd name="connsiteX2" fmla="*/ 1295590 w 7485631"/>
                <a:gd name="connsiteY2" fmla="*/ 147057 h 435064"/>
                <a:gd name="connsiteX3" fmla="*/ 3526884 w 7485631"/>
                <a:gd name="connsiteY3" fmla="*/ 3056 h 435064"/>
                <a:gd name="connsiteX4" fmla="*/ 5614223 w 7485631"/>
                <a:gd name="connsiteY4" fmla="*/ 147058 h 435064"/>
                <a:gd name="connsiteX5" fmla="*/ 7485631 w 7485631"/>
                <a:gd name="connsiteY5" fmla="*/ 291061 h 435064"/>
                <a:gd name="connsiteX6" fmla="*/ 7485631 w 7485631"/>
                <a:gd name="connsiteY6" fmla="*/ 435064 h 435064"/>
                <a:gd name="connsiteX0" fmla="*/ 7485631 w 7485631"/>
                <a:gd name="connsiteY0" fmla="*/ 435064 h 435064"/>
                <a:gd name="connsiteX1" fmla="*/ 0 w 7485631"/>
                <a:gd name="connsiteY1" fmla="*/ 435064 h 435064"/>
                <a:gd name="connsiteX2" fmla="*/ 1151636 w 7485631"/>
                <a:gd name="connsiteY2" fmla="*/ 147058 h 435064"/>
                <a:gd name="connsiteX3" fmla="*/ 3526884 w 7485631"/>
                <a:gd name="connsiteY3" fmla="*/ 3056 h 435064"/>
                <a:gd name="connsiteX4" fmla="*/ 5614223 w 7485631"/>
                <a:gd name="connsiteY4" fmla="*/ 147058 h 435064"/>
                <a:gd name="connsiteX5" fmla="*/ 7485631 w 7485631"/>
                <a:gd name="connsiteY5" fmla="*/ 291061 h 435064"/>
                <a:gd name="connsiteX6" fmla="*/ 7485631 w 7485631"/>
                <a:gd name="connsiteY6" fmla="*/ 435064 h 435064"/>
                <a:gd name="connsiteX0" fmla="*/ 7485631 w 7485631"/>
                <a:gd name="connsiteY0" fmla="*/ 435064 h 435064"/>
                <a:gd name="connsiteX1" fmla="*/ 0 w 7485631"/>
                <a:gd name="connsiteY1" fmla="*/ 435064 h 435064"/>
                <a:gd name="connsiteX2" fmla="*/ 647795 w 7485631"/>
                <a:gd name="connsiteY2" fmla="*/ 291061 h 435064"/>
                <a:gd name="connsiteX3" fmla="*/ 1151636 w 7485631"/>
                <a:gd name="connsiteY3" fmla="*/ 147058 h 435064"/>
                <a:gd name="connsiteX4" fmla="*/ 3526884 w 7485631"/>
                <a:gd name="connsiteY4" fmla="*/ 3056 h 435064"/>
                <a:gd name="connsiteX5" fmla="*/ 5614223 w 7485631"/>
                <a:gd name="connsiteY5" fmla="*/ 147058 h 435064"/>
                <a:gd name="connsiteX6" fmla="*/ 7485631 w 7485631"/>
                <a:gd name="connsiteY6" fmla="*/ 291061 h 435064"/>
                <a:gd name="connsiteX7" fmla="*/ 7485631 w 7485631"/>
                <a:gd name="connsiteY7" fmla="*/ 435064 h 435064"/>
                <a:gd name="connsiteX0" fmla="*/ 7485631 w 7485631"/>
                <a:gd name="connsiteY0" fmla="*/ 435064 h 435064"/>
                <a:gd name="connsiteX1" fmla="*/ 0 w 7485631"/>
                <a:gd name="connsiteY1" fmla="*/ 435064 h 435064"/>
                <a:gd name="connsiteX2" fmla="*/ 719772 w 7485631"/>
                <a:gd name="connsiteY2" fmla="*/ 291061 h 435064"/>
                <a:gd name="connsiteX3" fmla="*/ 1151636 w 7485631"/>
                <a:gd name="connsiteY3" fmla="*/ 147058 h 435064"/>
                <a:gd name="connsiteX4" fmla="*/ 3526884 w 7485631"/>
                <a:gd name="connsiteY4" fmla="*/ 3056 h 435064"/>
                <a:gd name="connsiteX5" fmla="*/ 5614223 w 7485631"/>
                <a:gd name="connsiteY5" fmla="*/ 147058 h 435064"/>
                <a:gd name="connsiteX6" fmla="*/ 7485631 w 7485631"/>
                <a:gd name="connsiteY6" fmla="*/ 291061 h 435064"/>
                <a:gd name="connsiteX7" fmla="*/ 7485631 w 7485631"/>
                <a:gd name="connsiteY7" fmla="*/ 435064 h 435064"/>
                <a:gd name="connsiteX0" fmla="*/ 7485631 w 7485631"/>
                <a:gd name="connsiteY0" fmla="*/ 437537 h 437537"/>
                <a:gd name="connsiteX1" fmla="*/ 0 w 7485631"/>
                <a:gd name="connsiteY1" fmla="*/ 437537 h 437537"/>
                <a:gd name="connsiteX2" fmla="*/ 719772 w 7485631"/>
                <a:gd name="connsiteY2" fmla="*/ 293534 h 437537"/>
                <a:gd name="connsiteX3" fmla="*/ 1151636 w 7485631"/>
                <a:gd name="connsiteY3" fmla="*/ 149531 h 437537"/>
                <a:gd name="connsiteX4" fmla="*/ 1295590 w 7485631"/>
                <a:gd name="connsiteY4" fmla="*/ 149531 h 437537"/>
                <a:gd name="connsiteX5" fmla="*/ 3526884 w 7485631"/>
                <a:gd name="connsiteY5" fmla="*/ 5529 h 437537"/>
                <a:gd name="connsiteX6" fmla="*/ 5614223 w 7485631"/>
                <a:gd name="connsiteY6" fmla="*/ 149531 h 437537"/>
                <a:gd name="connsiteX7" fmla="*/ 7485631 w 7485631"/>
                <a:gd name="connsiteY7" fmla="*/ 293534 h 437537"/>
                <a:gd name="connsiteX8" fmla="*/ 7485631 w 7485631"/>
                <a:gd name="connsiteY8" fmla="*/ 437537 h 437537"/>
                <a:gd name="connsiteX0" fmla="*/ 7485631 w 7485631"/>
                <a:gd name="connsiteY0" fmla="*/ 432008 h 432008"/>
                <a:gd name="connsiteX1" fmla="*/ 0 w 7485631"/>
                <a:gd name="connsiteY1" fmla="*/ 432008 h 432008"/>
                <a:gd name="connsiteX2" fmla="*/ 719772 w 7485631"/>
                <a:gd name="connsiteY2" fmla="*/ 288005 h 432008"/>
                <a:gd name="connsiteX3" fmla="*/ 1151636 w 7485631"/>
                <a:gd name="connsiteY3" fmla="*/ 144002 h 432008"/>
                <a:gd name="connsiteX4" fmla="*/ 1295590 w 7485631"/>
                <a:gd name="connsiteY4" fmla="*/ 144002 h 432008"/>
                <a:gd name="connsiteX5" fmla="*/ 1439544 w 7485631"/>
                <a:gd name="connsiteY5" fmla="*/ 72002 h 432008"/>
                <a:gd name="connsiteX6" fmla="*/ 3526884 w 7485631"/>
                <a:gd name="connsiteY6" fmla="*/ 0 h 432008"/>
                <a:gd name="connsiteX7" fmla="*/ 5614223 w 7485631"/>
                <a:gd name="connsiteY7" fmla="*/ 144002 h 432008"/>
                <a:gd name="connsiteX8" fmla="*/ 7485631 w 7485631"/>
                <a:gd name="connsiteY8" fmla="*/ 288005 h 432008"/>
                <a:gd name="connsiteX9" fmla="*/ 7485631 w 7485631"/>
                <a:gd name="connsiteY9" fmla="*/ 432008 h 432008"/>
                <a:gd name="connsiteX0" fmla="*/ 7485631 w 7485631"/>
                <a:gd name="connsiteY0" fmla="*/ 448269 h 448269"/>
                <a:gd name="connsiteX1" fmla="*/ 0 w 7485631"/>
                <a:gd name="connsiteY1" fmla="*/ 448269 h 448269"/>
                <a:gd name="connsiteX2" fmla="*/ 719772 w 7485631"/>
                <a:gd name="connsiteY2" fmla="*/ 304266 h 448269"/>
                <a:gd name="connsiteX3" fmla="*/ 1151636 w 7485631"/>
                <a:gd name="connsiteY3" fmla="*/ 160263 h 448269"/>
                <a:gd name="connsiteX4" fmla="*/ 1295590 w 7485631"/>
                <a:gd name="connsiteY4" fmla="*/ 160263 h 448269"/>
                <a:gd name="connsiteX5" fmla="*/ 1439544 w 7485631"/>
                <a:gd name="connsiteY5" fmla="*/ 88263 h 448269"/>
                <a:gd name="connsiteX6" fmla="*/ 1655476 w 7485631"/>
                <a:gd name="connsiteY6" fmla="*/ 160264 h 448269"/>
                <a:gd name="connsiteX7" fmla="*/ 3526884 w 7485631"/>
                <a:gd name="connsiteY7" fmla="*/ 16261 h 448269"/>
                <a:gd name="connsiteX8" fmla="*/ 5614223 w 7485631"/>
                <a:gd name="connsiteY8" fmla="*/ 160263 h 448269"/>
                <a:gd name="connsiteX9" fmla="*/ 7485631 w 7485631"/>
                <a:gd name="connsiteY9" fmla="*/ 304266 h 448269"/>
                <a:gd name="connsiteX10" fmla="*/ 7485631 w 7485631"/>
                <a:gd name="connsiteY10" fmla="*/ 448269 h 448269"/>
                <a:gd name="connsiteX0" fmla="*/ 7485631 w 7485631"/>
                <a:gd name="connsiteY0" fmla="*/ 448269 h 448269"/>
                <a:gd name="connsiteX1" fmla="*/ 0 w 7485631"/>
                <a:gd name="connsiteY1" fmla="*/ 448269 h 448269"/>
                <a:gd name="connsiteX2" fmla="*/ 719772 w 7485631"/>
                <a:gd name="connsiteY2" fmla="*/ 304266 h 448269"/>
                <a:gd name="connsiteX3" fmla="*/ 1151636 w 7485631"/>
                <a:gd name="connsiteY3" fmla="*/ 160263 h 448269"/>
                <a:gd name="connsiteX4" fmla="*/ 1295590 w 7485631"/>
                <a:gd name="connsiteY4" fmla="*/ 160263 h 448269"/>
                <a:gd name="connsiteX5" fmla="*/ 1439544 w 7485631"/>
                <a:gd name="connsiteY5" fmla="*/ 88263 h 448269"/>
                <a:gd name="connsiteX6" fmla="*/ 1655476 w 7485631"/>
                <a:gd name="connsiteY6" fmla="*/ 160264 h 448269"/>
                <a:gd name="connsiteX7" fmla="*/ 3526884 w 7485631"/>
                <a:gd name="connsiteY7" fmla="*/ 16261 h 448269"/>
                <a:gd name="connsiteX8" fmla="*/ 5614223 w 7485631"/>
                <a:gd name="connsiteY8" fmla="*/ 160263 h 448269"/>
                <a:gd name="connsiteX9" fmla="*/ 7485631 w 7485631"/>
                <a:gd name="connsiteY9" fmla="*/ 304266 h 448269"/>
                <a:gd name="connsiteX10" fmla="*/ 7485631 w 7485631"/>
                <a:gd name="connsiteY10" fmla="*/ 448269 h 448269"/>
                <a:gd name="connsiteX0" fmla="*/ 7485631 w 7485631"/>
                <a:gd name="connsiteY0" fmla="*/ 448269 h 448269"/>
                <a:gd name="connsiteX1" fmla="*/ 0 w 7485631"/>
                <a:gd name="connsiteY1" fmla="*/ 448269 h 448269"/>
                <a:gd name="connsiteX2" fmla="*/ 719772 w 7485631"/>
                <a:gd name="connsiteY2" fmla="*/ 304266 h 448269"/>
                <a:gd name="connsiteX3" fmla="*/ 1151636 w 7485631"/>
                <a:gd name="connsiteY3" fmla="*/ 160263 h 448269"/>
                <a:gd name="connsiteX4" fmla="*/ 1295590 w 7485631"/>
                <a:gd name="connsiteY4" fmla="*/ 160263 h 448269"/>
                <a:gd name="connsiteX5" fmla="*/ 1439544 w 7485631"/>
                <a:gd name="connsiteY5" fmla="*/ 88263 h 448269"/>
                <a:gd name="connsiteX6" fmla="*/ 1655476 w 7485631"/>
                <a:gd name="connsiteY6" fmla="*/ 160264 h 448269"/>
                <a:gd name="connsiteX7" fmla="*/ 3526884 w 7485631"/>
                <a:gd name="connsiteY7" fmla="*/ 16261 h 448269"/>
                <a:gd name="connsiteX8" fmla="*/ 5614223 w 7485631"/>
                <a:gd name="connsiteY8" fmla="*/ 160263 h 448269"/>
                <a:gd name="connsiteX9" fmla="*/ 7485631 w 7485631"/>
                <a:gd name="connsiteY9" fmla="*/ 304266 h 448269"/>
                <a:gd name="connsiteX10" fmla="*/ 7485631 w 7485631"/>
                <a:gd name="connsiteY10" fmla="*/ 448269 h 448269"/>
                <a:gd name="connsiteX0" fmla="*/ 7485631 w 7485631"/>
                <a:gd name="connsiteY0" fmla="*/ 448269 h 448269"/>
                <a:gd name="connsiteX1" fmla="*/ 0 w 7485631"/>
                <a:gd name="connsiteY1" fmla="*/ 448269 h 448269"/>
                <a:gd name="connsiteX2" fmla="*/ 719772 w 7485631"/>
                <a:gd name="connsiteY2" fmla="*/ 304266 h 448269"/>
                <a:gd name="connsiteX3" fmla="*/ 1151636 w 7485631"/>
                <a:gd name="connsiteY3" fmla="*/ 160263 h 448269"/>
                <a:gd name="connsiteX4" fmla="*/ 1295590 w 7485631"/>
                <a:gd name="connsiteY4" fmla="*/ 160263 h 448269"/>
                <a:gd name="connsiteX5" fmla="*/ 1439544 w 7485631"/>
                <a:gd name="connsiteY5" fmla="*/ 88263 h 448269"/>
                <a:gd name="connsiteX6" fmla="*/ 1655476 w 7485631"/>
                <a:gd name="connsiteY6" fmla="*/ 160264 h 448269"/>
                <a:gd name="connsiteX7" fmla="*/ 3526884 w 7485631"/>
                <a:gd name="connsiteY7" fmla="*/ 16261 h 448269"/>
                <a:gd name="connsiteX8" fmla="*/ 5614223 w 7485631"/>
                <a:gd name="connsiteY8" fmla="*/ 160263 h 448269"/>
                <a:gd name="connsiteX9" fmla="*/ 7485631 w 7485631"/>
                <a:gd name="connsiteY9" fmla="*/ 304266 h 448269"/>
                <a:gd name="connsiteX10" fmla="*/ 7485631 w 7485631"/>
                <a:gd name="connsiteY10" fmla="*/ 448269 h 448269"/>
                <a:gd name="connsiteX0" fmla="*/ 7485631 w 7485631"/>
                <a:gd name="connsiteY0" fmla="*/ 448269 h 448269"/>
                <a:gd name="connsiteX1" fmla="*/ 0 w 7485631"/>
                <a:gd name="connsiteY1" fmla="*/ 448269 h 448269"/>
                <a:gd name="connsiteX2" fmla="*/ 719772 w 7485631"/>
                <a:gd name="connsiteY2" fmla="*/ 304266 h 448269"/>
                <a:gd name="connsiteX3" fmla="*/ 1151636 w 7485631"/>
                <a:gd name="connsiteY3" fmla="*/ 160263 h 448269"/>
                <a:gd name="connsiteX4" fmla="*/ 1295590 w 7485631"/>
                <a:gd name="connsiteY4" fmla="*/ 160263 h 448269"/>
                <a:gd name="connsiteX5" fmla="*/ 1439544 w 7485631"/>
                <a:gd name="connsiteY5" fmla="*/ 88262 h 448269"/>
                <a:gd name="connsiteX6" fmla="*/ 1655476 w 7485631"/>
                <a:gd name="connsiteY6" fmla="*/ 160264 h 448269"/>
                <a:gd name="connsiteX7" fmla="*/ 3526884 w 7485631"/>
                <a:gd name="connsiteY7" fmla="*/ 16261 h 448269"/>
                <a:gd name="connsiteX8" fmla="*/ 5614223 w 7485631"/>
                <a:gd name="connsiteY8" fmla="*/ 160263 h 448269"/>
                <a:gd name="connsiteX9" fmla="*/ 7485631 w 7485631"/>
                <a:gd name="connsiteY9" fmla="*/ 304266 h 448269"/>
                <a:gd name="connsiteX10" fmla="*/ 7485631 w 7485631"/>
                <a:gd name="connsiteY10" fmla="*/ 448269 h 448269"/>
                <a:gd name="connsiteX0" fmla="*/ 7485631 w 7485631"/>
                <a:gd name="connsiteY0" fmla="*/ 448269 h 448269"/>
                <a:gd name="connsiteX1" fmla="*/ 0 w 7485631"/>
                <a:gd name="connsiteY1" fmla="*/ 448269 h 448269"/>
                <a:gd name="connsiteX2" fmla="*/ 719772 w 7485631"/>
                <a:gd name="connsiteY2" fmla="*/ 304266 h 448269"/>
                <a:gd name="connsiteX3" fmla="*/ 1151636 w 7485631"/>
                <a:gd name="connsiteY3" fmla="*/ 160263 h 448269"/>
                <a:gd name="connsiteX4" fmla="*/ 1295590 w 7485631"/>
                <a:gd name="connsiteY4" fmla="*/ 160263 h 448269"/>
                <a:gd name="connsiteX5" fmla="*/ 1439544 w 7485631"/>
                <a:gd name="connsiteY5" fmla="*/ 88262 h 448269"/>
                <a:gd name="connsiteX6" fmla="*/ 1583499 w 7485631"/>
                <a:gd name="connsiteY6" fmla="*/ 160264 h 448269"/>
                <a:gd name="connsiteX7" fmla="*/ 3526884 w 7485631"/>
                <a:gd name="connsiteY7" fmla="*/ 16261 h 448269"/>
                <a:gd name="connsiteX8" fmla="*/ 5614223 w 7485631"/>
                <a:gd name="connsiteY8" fmla="*/ 160263 h 448269"/>
                <a:gd name="connsiteX9" fmla="*/ 7485631 w 7485631"/>
                <a:gd name="connsiteY9" fmla="*/ 304266 h 448269"/>
                <a:gd name="connsiteX10" fmla="*/ 7485631 w 7485631"/>
                <a:gd name="connsiteY10" fmla="*/ 448269 h 448269"/>
                <a:gd name="connsiteX0" fmla="*/ 7485631 w 7485631"/>
                <a:gd name="connsiteY0" fmla="*/ 448269 h 448269"/>
                <a:gd name="connsiteX1" fmla="*/ 0 w 7485631"/>
                <a:gd name="connsiteY1" fmla="*/ 448269 h 448269"/>
                <a:gd name="connsiteX2" fmla="*/ 719772 w 7485631"/>
                <a:gd name="connsiteY2" fmla="*/ 304266 h 448269"/>
                <a:gd name="connsiteX3" fmla="*/ 1151636 w 7485631"/>
                <a:gd name="connsiteY3" fmla="*/ 160263 h 448269"/>
                <a:gd name="connsiteX4" fmla="*/ 1295590 w 7485631"/>
                <a:gd name="connsiteY4" fmla="*/ 160263 h 448269"/>
                <a:gd name="connsiteX5" fmla="*/ 1439544 w 7485631"/>
                <a:gd name="connsiteY5" fmla="*/ 88262 h 448269"/>
                <a:gd name="connsiteX6" fmla="*/ 1583499 w 7485631"/>
                <a:gd name="connsiteY6" fmla="*/ 160264 h 448269"/>
                <a:gd name="connsiteX7" fmla="*/ 3454907 w 7485631"/>
                <a:gd name="connsiteY7" fmla="*/ 16261 h 448269"/>
                <a:gd name="connsiteX8" fmla="*/ 5614223 w 7485631"/>
                <a:gd name="connsiteY8" fmla="*/ 160263 h 448269"/>
                <a:gd name="connsiteX9" fmla="*/ 7485631 w 7485631"/>
                <a:gd name="connsiteY9" fmla="*/ 304266 h 448269"/>
                <a:gd name="connsiteX10" fmla="*/ 7485631 w 7485631"/>
                <a:gd name="connsiteY10" fmla="*/ 448269 h 448269"/>
                <a:gd name="connsiteX0" fmla="*/ 7485631 w 7485631"/>
                <a:gd name="connsiteY0" fmla="*/ 448269 h 448269"/>
                <a:gd name="connsiteX1" fmla="*/ 0 w 7485631"/>
                <a:gd name="connsiteY1" fmla="*/ 448269 h 448269"/>
                <a:gd name="connsiteX2" fmla="*/ 719772 w 7485631"/>
                <a:gd name="connsiteY2" fmla="*/ 304266 h 448269"/>
                <a:gd name="connsiteX3" fmla="*/ 1151636 w 7485631"/>
                <a:gd name="connsiteY3" fmla="*/ 160263 h 448269"/>
                <a:gd name="connsiteX4" fmla="*/ 1295590 w 7485631"/>
                <a:gd name="connsiteY4" fmla="*/ 160263 h 448269"/>
                <a:gd name="connsiteX5" fmla="*/ 1439544 w 7485631"/>
                <a:gd name="connsiteY5" fmla="*/ 88262 h 448269"/>
                <a:gd name="connsiteX6" fmla="*/ 1583499 w 7485631"/>
                <a:gd name="connsiteY6" fmla="*/ 160264 h 448269"/>
                <a:gd name="connsiteX7" fmla="*/ 3598861 w 7485631"/>
                <a:gd name="connsiteY7" fmla="*/ 16261 h 448269"/>
                <a:gd name="connsiteX8" fmla="*/ 5614223 w 7485631"/>
                <a:gd name="connsiteY8" fmla="*/ 160263 h 448269"/>
                <a:gd name="connsiteX9" fmla="*/ 7485631 w 7485631"/>
                <a:gd name="connsiteY9" fmla="*/ 304266 h 448269"/>
                <a:gd name="connsiteX10" fmla="*/ 7485631 w 7485631"/>
                <a:gd name="connsiteY10" fmla="*/ 448269 h 448269"/>
                <a:gd name="connsiteX0" fmla="*/ 7485631 w 7485631"/>
                <a:gd name="connsiteY0" fmla="*/ 448269 h 448269"/>
                <a:gd name="connsiteX1" fmla="*/ 0 w 7485631"/>
                <a:gd name="connsiteY1" fmla="*/ 448269 h 448269"/>
                <a:gd name="connsiteX2" fmla="*/ 719772 w 7485631"/>
                <a:gd name="connsiteY2" fmla="*/ 304266 h 448269"/>
                <a:gd name="connsiteX3" fmla="*/ 1151636 w 7485631"/>
                <a:gd name="connsiteY3" fmla="*/ 160263 h 448269"/>
                <a:gd name="connsiteX4" fmla="*/ 1295590 w 7485631"/>
                <a:gd name="connsiteY4" fmla="*/ 160263 h 448269"/>
                <a:gd name="connsiteX5" fmla="*/ 1439544 w 7485631"/>
                <a:gd name="connsiteY5" fmla="*/ 88262 h 448269"/>
                <a:gd name="connsiteX6" fmla="*/ 1583499 w 7485631"/>
                <a:gd name="connsiteY6" fmla="*/ 160264 h 448269"/>
                <a:gd name="connsiteX7" fmla="*/ 3454907 w 7485631"/>
                <a:gd name="connsiteY7" fmla="*/ 16261 h 448269"/>
                <a:gd name="connsiteX8" fmla="*/ 5614223 w 7485631"/>
                <a:gd name="connsiteY8" fmla="*/ 160263 h 448269"/>
                <a:gd name="connsiteX9" fmla="*/ 7485631 w 7485631"/>
                <a:gd name="connsiteY9" fmla="*/ 304266 h 448269"/>
                <a:gd name="connsiteX10" fmla="*/ 7485631 w 7485631"/>
                <a:gd name="connsiteY10" fmla="*/ 448269 h 448269"/>
                <a:gd name="connsiteX0" fmla="*/ 7485631 w 7485631"/>
                <a:gd name="connsiteY0" fmla="*/ 438924 h 438924"/>
                <a:gd name="connsiteX1" fmla="*/ 0 w 7485631"/>
                <a:gd name="connsiteY1" fmla="*/ 438924 h 438924"/>
                <a:gd name="connsiteX2" fmla="*/ 719772 w 7485631"/>
                <a:gd name="connsiteY2" fmla="*/ 294921 h 438924"/>
                <a:gd name="connsiteX3" fmla="*/ 1151636 w 7485631"/>
                <a:gd name="connsiteY3" fmla="*/ 150918 h 438924"/>
                <a:gd name="connsiteX4" fmla="*/ 1295590 w 7485631"/>
                <a:gd name="connsiteY4" fmla="*/ 150918 h 438924"/>
                <a:gd name="connsiteX5" fmla="*/ 1439544 w 7485631"/>
                <a:gd name="connsiteY5" fmla="*/ 78917 h 438924"/>
                <a:gd name="connsiteX6" fmla="*/ 1583499 w 7485631"/>
                <a:gd name="connsiteY6" fmla="*/ 150919 h 438924"/>
                <a:gd name="connsiteX7" fmla="*/ 2087339 w 7485631"/>
                <a:gd name="connsiteY7" fmla="*/ 78917 h 438924"/>
                <a:gd name="connsiteX8" fmla="*/ 3454907 w 7485631"/>
                <a:gd name="connsiteY8" fmla="*/ 6916 h 438924"/>
                <a:gd name="connsiteX9" fmla="*/ 5614223 w 7485631"/>
                <a:gd name="connsiteY9" fmla="*/ 150918 h 438924"/>
                <a:gd name="connsiteX10" fmla="*/ 7485631 w 7485631"/>
                <a:gd name="connsiteY10" fmla="*/ 294921 h 438924"/>
                <a:gd name="connsiteX11" fmla="*/ 7485631 w 7485631"/>
                <a:gd name="connsiteY11" fmla="*/ 438924 h 438924"/>
                <a:gd name="connsiteX0" fmla="*/ 7485631 w 7485631"/>
                <a:gd name="connsiteY0" fmla="*/ 447390 h 447390"/>
                <a:gd name="connsiteX1" fmla="*/ 0 w 7485631"/>
                <a:gd name="connsiteY1" fmla="*/ 447390 h 447390"/>
                <a:gd name="connsiteX2" fmla="*/ 719772 w 7485631"/>
                <a:gd name="connsiteY2" fmla="*/ 303387 h 447390"/>
                <a:gd name="connsiteX3" fmla="*/ 1151636 w 7485631"/>
                <a:gd name="connsiteY3" fmla="*/ 159384 h 447390"/>
                <a:gd name="connsiteX4" fmla="*/ 1295590 w 7485631"/>
                <a:gd name="connsiteY4" fmla="*/ 159384 h 447390"/>
                <a:gd name="connsiteX5" fmla="*/ 1439544 w 7485631"/>
                <a:gd name="connsiteY5" fmla="*/ 87383 h 447390"/>
                <a:gd name="connsiteX6" fmla="*/ 1583499 w 7485631"/>
                <a:gd name="connsiteY6" fmla="*/ 159385 h 447390"/>
                <a:gd name="connsiteX7" fmla="*/ 2087339 w 7485631"/>
                <a:gd name="connsiteY7" fmla="*/ 87383 h 447390"/>
                <a:gd name="connsiteX8" fmla="*/ 2231294 w 7485631"/>
                <a:gd name="connsiteY8" fmla="*/ 87383 h 447390"/>
                <a:gd name="connsiteX9" fmla="*/ 3454907 w 7485631"/>
                <a:gd name="connsiteY9" fmla="*/ 15382 h 447390"/>
                <a:gd name="connsiteX10" fmla="*/ 5614223 w 7485631"/>
                <a:gd name="connsiteY10" fmla="*/ 159384 h 447390"/>
                <a:gd name="connsiteX11" fmla="*/ 7485631 w 7485631"/>
                <a:gd name="connsiteY11" fmla="*/ 303387 h 447390"/>
                <a:gd name="connsiteX12" fmla="*/ 7485631 w 7485631"/>
                <a:gd name="connsiteY12" fmla="*/ 447390 h 447390"/>
                <a:gd name="connsiteX0" fmla="*/ 7485631 w 7485631"/>
                <a:gd name="connsiteY0" fmla="*/ 447390 h 447390"/>
                <a:gd name="connsiteX1" fmla="*/ 0 w 7485631"/>
                <a:gd name="connsiteY1" fmla="*/ 447390 h 447390"/>
                <a:gd name="connsiteX2" fmla="*/ 719772 w 7485631"/>
                <a:gd name="connsiteY2" fmla="*/ 303387 h 447390"/>
                <a:gd name="connsiteX3" fmla="*/ 1151636 w 7485631"/>
                <a:gd name="connsiteY3" fmla="*/ 159384 h 447390"/>
                <a:gd name="connsiteX4" fmla="*/ 1295590 w 7485631"/>
                <a:gd name="connsiteY4" fmla="*/ 159384 h 447390"/>
                <a:gd name="connsiteX5" fmla="*/ 1439544 w 7485631"/>
                <a:gd name="connsiteY5" fmla="*/ 87383 h 447390"/>
                <a:gd name="connsiteX6" fmla="*/ 1583499 w 7485631"/>
                <a:gd name="connsiteY6" fmla="*/ 159385 h 447390"/>
                <a:gd name="connsiteX7" fmla="*/ 2087339 w 7485631"/>
                <a:gd name="connsiteY7" fmla="*/ 87383 h 447390"/>
                <a:gd name="connsiteX8" fmla="*/ 2231294 w 7485631"/>
                <a:gd name="connsiteY8" fmla="*/ 87383 h 447390"/>
                <a:gd name="connsiteX9" fmla="*/ 3454907 w 7485631"/>
                <a:gd name="connsiteY9" fmla="*/ 15382 h 447390"/>
                <a:gd name="connsiteX10" fmla="*/ 5614223 w 7485631"/>
                <a:gd name="connsiteY10" fmla="*/ 159384 h 447390"/>
                <a:gd name="connsiteX11" fmla="*/ 7485631 w 7485631"/>
                <a:gd name="connsiteY11" fmla="*/ 303387 h 447390"/>
                <a:gd name="connsiteX12" fmla="*/ 7485631 w 7485631"/>
                <a:gd name="connsiteY12" fmla="*/ 447390 h 447390"/>
                <a:gd name="connsiteX0" fmla="*/ 7485631 w 7485631"/>
                <a:gd name="connsiteY0" fmla="*/ 447390 h 447390"/>
                <a:gd name="connsiteX1" fmla="*/ 0 w 7485631"/>
                <a:gd name="connsiteY1" fmla="*/ 447390 h 447390"/>
                <a:gd name="connsiteX2" fmla="*/ 719772 w 7485631"/>
                <a:gd name="connsiteY2" fmla="*/ 303387 h 447390"/>
                <a:gd name="connsiteX3" fmla="*/ 1151636 w 7485631"/>
                <a:gd name="connsiteY3" fmla="*/ 159384 h 447390"/>
                <a:gd name="connsiteX4" fmla="*/ 1295590 w 7485631"/>
                <a:gd name="connsiteY4" fmla="*/ 159384 h 447390"/>
                <a:gd name="connsiteX5" fmla="*/ 1439544 w 7485631"/>
                <a:gd name="connsiteY5" fmla="*/ 87383 h 447390"/>
                <a:gd name="connsiteX6" fmla="*/ 1583499 w 7485631"/>
                <a:gd name="connsiteY6" fmla="*/ 159385 h 447390"/>
                <a:gd name="connsiteX7" fmla="*/ 2087339 w 7485631"/>
                <a:gd name="connsiteY7" fmla="*/ 87383 h 447390"/>
                <a:gd name="connsiteX8" fmla="*/ 2231294 w 7485631"/>
                <a:gd name="connsiteY8" fmla="*/ 87383 h 447390"/>
                <a:gd name="connsiteX9" fmla="*/ 3454907 w 7485631"/>
                <a:gd name="connsiteY9" fmla="*/ 15382 h 447390"/>
                <a:gd name="connsiteX10" fmla="*/ 5614223 w 7485631"/>
                <a:gd name="connsiteY10" fmla="*/ 159384 h 447390"/>
                <a:gd name="connsiteX11" fmla="*/ 7485631 w 7485631"/>
                <a:gd name="connsiteY11" fmla="*/ 303387 h 447390"/>
                <a:gd name="connsiteX12" fmla="*/ 7485631 w 7485631"/>
                <a:gd name="connsiteY12" fmla="*/ 447390 h 447390"/>
                <a:gd name="connsiteX0" fmla="*/ 7485631 w 9500353"/>
                <a:gd name="connsiteY0" fmla="*/ 447390 h 453735"/>
                <a:gd name="connsiteX1" fmla="*/ 0 w 9500353"/>
                <a:gd name="connsiteY1" fmla="*/ 447390 h 453735"/>
                <a:gd name="connsiteX2" fmla="*/ 719772 w 9500353"/>
                <a:gd name="connsiteY2" fmla="*/ 303387 h 453735"/>
                <a:gd name="connsiteX3" fmla="*/ 1151636 w 9500353"/>
                <a:gd name="connsiteY3" fmla="*/ 159384 h 453735"/>
                <a:gd name="connsiteX4" fmla="*/ 1295590 w 9500353"/>
                <a:gd name="connsiteY4" fmla="*/ 159384 h 453735"/>
                <a:gd name="connsiteX5" fmla="*/ 1439544 w 9500353"/>
                <a:gd name="connsiteY5" fmla="*/ 87383 h 453735"/>
                <a:gd name="connsiteX6" fmla="*/ 1583499 w 9500353"/>
                <a:gd name="connsiteY6" fmla="*/ 159385 h 453735"/>
                <a:gd name="connsiteX7" fmla="*/ 2087339 w 9500353"/>
                <a:gd name="connsiteY7" fmla="*/ 87383 h 453735"/>
                <a:gd name="connsiteX8" fmla="*/ 2231294 w 9500353"/>
                <a:gd name="connsiteY8" fmla="*/ 87383 h 453735"/>
                <a:gd name="connsiteX9" fmla="*/ 3454907 w 9500353"/>
                <a:gd name="connsiteY9" fmla="*/ 15382 h 453735"/>
                <a:gd name="connsiteX10" fmla="*/ 5614223 w 9500353"/>
                <a:gd name="connsiteY10" fmla="*/ 159384 h 453735"/>
                <a:gd name="connsiteX11" fmla="*/ 9500353 w 9500353"/>
                <a:gd name="connsiteY11" fmla="*/ 453735 h 453735"/>
                <a:gd name="connsiteX12" fmla="*/ 7485631 w 9500353"/>
                <a:gd name="connsiteY12" fmla="*/ 447390 h 453735"/>
                <a:gd name="connsiteX0" fmla="*/ 0 w 9500353"/>
                <a:gd name="connsiteY0" fmla="*/ 447390 h 487240"/>
                <a:gd name="connsiteX1" fmla="*/ 719772 w 9500353"/>
                <a:gd name="connsiteY1" fmla="*/ 303387 h 487240"/>
                <a:gd name="connsiteX2" fmla="*/ 1151636 w 9500353"/>
                <a:gd name="connsiteY2" fmla="*/ 159384 h 487240"/>
                <a:gd name="connsiteX3" fmla="*/ 1295590 w 9500353"/>
                <a:gd name="connsiteY3" fmla="*/ 159384 h 487240"/>
                <a:gd name="connsiteX4" fmla="*/ 1439544 w 9500353"/>
                <a:gd name="connsiteY4" fmla="*/ 87383 h 487240"/>
                <a:gd name="connsiteX5" fmla="*/ 1583499 w 9500353"/>
                <a:gd name="connsiteY5" fmla="*/ 159385 h 487240"/>
                <a:gd name="connsiteX6" fmla="*/ 2087339 w 9500353"/>
                <a:gd name="connsiteY6" fmla="*/ 87383 h 487240"/>
                <a:gd name="connsiteX7" fmla="*/ 2231294 w 9500353"/>
                <a:gd name="connsiteY7" fmla="*/ 87383 h 487240"/>
                <a:gd name="connsiteX8" fmla="*/ 3454907 w 9500353"/>
                <a:gd name="connsiteY8" fmla="*/ 15382 h 487240"/>
                <a:gd name="connsiteX9" fmla="*/ 5614223 w 9500353"/>
                <a:gd name="connsiteY9" fmla="*/ 159384 h 487240"/>
                <a:gd name="connsiteX10" fmla="*/ 9500353 w 9500353"/>
                <a:gd name="connsiteY10" fmla="*/ 453735 h 487240"/>
                <a:gd name="connsiteX11" fmla="*/ 7485631 w 9500353"/>
                <a:gd name="connsiteY11" fmla="*/ 447390 h 487240"/>
                <a:gd name="connsiteX12" fmla="*/ 91389 w 9500353"/>
                <a:gd name="connsiteY12" fmla="*/ 487240 h 487240"/>
                <a:gd name="connsiteX0" fmla="*/ 0 w 9500353"/>
                <a:gd name="connsiteY0" fmla="*/ 447390 h 453735"/>
                <a:gd name="connsiteX1" fmla="*/ 719772 w 9500353"/>
                <a:gd name="connsiteY1" fmla="*/ 303387 h 453735"/>
                <a:gd name="connsiteX2" fmla="*/ 1151636 w 9500353"/>
                <a:gd name="connsiteY2" fmla="*/ 159384 h 453735"/>
                <a:gd name="connsiteX3" fmla="*/ 1295590 w 9500353"/>
                <a:gd name="connsiteY3" fmla="*/ 159384 h 453735"/>
                <a:gd name="connsiteX4" fmla="*/ 1439544 w 9500353"/>
                <a:gd name="connsiteY4" fmla="*/ 87383 h 453735"/>
                <a:gd name="connsiteX5" fmla="*/ 1583499 w 9500353"/>
                <a:gd name="connsiteY5" fmla="*/ 159385 h 453735"/>
                <a:gd name="connsiteX6" fmla="*/ 2087339 w 9500353"/>
                <a:gd name="connsiteY6" fmla="*/ 87383 h 453735"/>
                <a:gd name="connsiteX7" fmla="*/ 2231294 w 9500353"/>
                <a:gd name="connsiteY7" fmla="*/ 87383 h 453735"/>
                <a:gd name="connsiteX8" fmla="*/ 3454907 w 9500353"/>
                <a:gd name="connsiteY8" fmla="*/ 15382 h 453735"/>
                <a:gd name="connsiteX9" fmla="*/ 5614223 w 9500353"/>
                <a:gd name="connsiteY9" fmla="*/ 159384 h 453735"/>
                <a:gd name="connsiteX10" fmla="*/ 9500353 w 9500353"/>
                <a:gd name="connsiteY10" fmla="*/ 453735 h 453735"/>
                <a:gd name="connsiteX11" fmla="*/ 7485631 w 9500353"/>
                <a:gd name="connsiteY11" fmla="*/ 447390 h 453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500353" h="453735">
                  <a:moveTo>
                    <a:pt x="0" y="447390"/>
                  </a:moveTo>
                  <a:lnTo>
                    <a:pt x="719772" y="303387"/>
                  </a:lnTo>
                  <a:lnTo>
                    <a:pt x="1151636" y="159384"/>
                  </a:lnTo>
                  <a:lnTo>
                    <a:pt x="1295590" y="159384"/>
                  </a:lnTo>
                  <a:lnTo>
                    <a:pt x="1439544" y="87383"/>
                  </a:lnTo>
                  <a:lnTo>
                    <a:pt x="1583499" y="159385"/>
                  </a:lnTo>
                  <a:lnTo>
                    <a:pt x="2087339" y="87383"/>
                  </a:lnTo>
                  <a:lnTo>
                    <a:pt x="2231294" y="87383"/>
                  </a:lnTo>
                  <a:cubicBezTo>
                    <a:pt x="2459222" y="75383"/>
                    <a:pt x="2886978" y="0"/>
                    <a:pt x="3454907" y="15382"/>
                  </a:cubicBezTo>
                  <a:lnTo>
                    <a:pt x="5614223" y="159384"/>
                  </a:lnTo>
                  <a:lnTo>
                    <a:pt x="9500353" y="453735"/>
                  </a:lnTo>
                  <a:lnTo>
                    <a:pt x="7485631" y="44739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a:defRPr/>
              </a:pPr>
              <a:endParaRPr lang="fr-FR">
                <a:solidFill>
                  <a:prstClr val="white"/>
                </a:solidFill>
                <a:latin typeface="Century Gothic" panose="020B0502020202020204" pitchFamily="34" charset="0"/>
              </a:endParaRPr>
            </a:p>
          </p:txBody>
        </p:sp>
        <p:sp>
          <p:nvSpPr>
            <p:cNvPr id="19" name="ZoneTexte 24">
              <a:extLst>
                <a:ext uri="{FF2B5EF4-FFF2-40B4-BE49-F238E27FC236}">
                  <a16:creationId xmlns:a16="http://schemas.microsoft.com/office/drawing/2014/main" id="{98100B7A-96B0-4418-9F0A-64E80474D32F}"/>
                </a:ext>
              </a:extLst>
            </p:cNvPr>
            <p:cNvSpPr txBox="1">
              <a:spLocks noChangeArrowheads="1"/>
            </p:cNvSpPr>
            <p:nvPr/>
          </p:nvSpPr>
          <p:spPr bwMode="auto">
            <a:xfrm>
              <a:off x="2466135" y="5548240"/>
              <a:ext cx="1217321" cy="400203"/>
            </a:xfrm>
            <a:prstGeom prst="rect">
              <a:avLst/>
            </a:prstGeom>
            <a:solidFill>
              <a:schemeClr val="tx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algn="r" defTabSz="914377"/>
              <a:r>
                <a:rPr lang="fr-FR" altLang="fr-FR" sz="2000" b="1" dirty="0">
                  <a:solidFill>
                    <a:srgbClr val="ED7D31"/>
                  </a:solidFill>
                  <a:latin typeface="Century Gothic" panose="020B0502020202020204" pitchFamily="34" charset="0"/>
                </a:rPr>
                <a:t>Pétrole</a:t>
              </a:r>
            </a:p>
          </p:txBody>
        </p:sp>
      </p:grpSp>
      <p:sp>
        <p:nvSpPr>
          <p:cNvPr id="20" name="Line 31">
            <a:extLst>
              <a:ext uri="{FF2B5EF4-FFF2-40B4-BE49-F238E27FC236}">
                <a16:creationId xmlns:a16="http://schemas.microsoft.com/office/drawing/2014/main" id="{2733593D-57F6-4F5A-9C04-E7ECD5431C1D}"/>
              </a:ext>
            </a:extLst>
          </p:cNvPr>
          <p:cNvSpPr>
            <a:spLocks noChangeShapeType="1"/>
          </p:cNvSpPr>
          <p:nvPr/>
        </p:nvSpPr>
        <p:spPr bwMode="auto">
          <a:xfrm flipV="1">
            <a:off x="2046290" y="6093011"/>
            <a:ext cx="7921625" cy="0"/>
          </a:xfrm>
          <a:prstGeom prst="line">
            <a:avLst/>
          </a:prstGeom>
          <a:noFill/>
          <a:ln w="50800">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pPr defTabSz="914377"/>
            <a:endParaRPr lang="fr-FR">
              <a:latin typeface="Century Gothic" panose="020B0502020202020204" pitchFamily="34" charset="0"/>
            </a:endParaRPr>
          </a:p>
        </p:txBody>
      </p:sp>
      <p:sp>
        <p:nvSpPr>
          <p:cNvPr id="23" name="ZoneTexte 24">
            <a:extLst>
              <a:ext uri="{FF2B5EF4-FFF2-40B4-BE49-F238E27FC236}">
                <a16:creationId xmlns:a16="http://schemas.microsoft.com/office/drawing/2014/main" id="{0E23D7E4-E770-4877-AA40-169769F24A3B}"/>
              </a:ext>
            </a:extLst>
          </p:cNvPr>
          <p:cNvSpPr txBox="1">
            <a:spLocks noChangeArrowheads="1"/>
          </p:cNvSpPr>
          <p:nvPr/>
        </p:nvSpPr>
        <p:spPr bwMode="auto">
          <a:xfrm>
            <a:off x="4064840" y="3708359"/>
            <a:ext cx="1426489" cy="400110"/>
          </a:xfrm>
          <a:prstGeom prst="rect">
            <a:avLst/>
          </a:prstGeom>
          <a:solidFill>
            <a:schemeClr val="tx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algn="ctr" defTabSz="914377"/>
            <a:r>
              <a:rPr lang="fr-FR" altLang="fr-FR" sz="2000" b="1" dirty="0">
                <a:solidFill>
                  <a:srgbClr val="ED7D31"/>
                </a:solidFill>
                <a:latin typeface="Century Gothic" panose="020B0502020202020204" pitchFamily="34" charset="0"/>
              </a:rPr>
              <a:t>Charbon</a:t>
            </a:r>
          </a:p>
        </p:txBody>
      </p:sp>
      <p:grpSp>
        <p:nvGrpSpPr>
          <p:cNvPr id="25" name="Groupe 24">
            <a:extLst>
              <a:ext uri="{FF2B5EF4-FFF2-40B4-BE49-F238E27FC236}">
                <a16:creationId xmlns:a16="http://schemas.microsoft.com/office/drawing/2014/main" id="{40524E1B-7475-4736-9AE6-3F3DEB7C61DA}"/>
              </a:ext>
            </a:extLst>
          </p:cNvPr>
          <p:cNvGrpSpPr/>
          <p:nvPr/>
        </p:nvGrpSpPr>
        <p:grpSpPr>
          <a:xfrm>
            <a:off x="2151870" y="5285072"/>
            <a:ext cx="6057039" cy="720000"/>
            <a:chOff x="2672568" y="5165192"/>
            <a:chExt cx="6057039" cy="720000"/>
          </a:xfrm>
        </p:grpSpPr>
        <p:pic>
          <p:nvPicPr>
            <p:cNvPr id="26" name="Image 25">
              <a:extLst>
                <a:ext uri="{FF2B5EF4-FFF2-40B4-BE49-F238E27FC236}">
                  <a16:creationId xmlns:a16="http://schemas.microsoft.com/office/drawing/2014/main" id="{02CF2535-99E6-4614-B16D-8D88C230BC6D}"/>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5737550" y="5165192"/>
              <a:ext cx="720000" cy="720000"/>
            </a:xfrm>
            <a:prstGeom prst="rect">
              <a:avLst/>
            </a:prstGeom>
          </p:spPr>
        </p:pic>
        <p:pic>
          <p:nvPicPr>
            <p:cNvPr id="27" name="Image 26">
              <a:extLst>
                <a:ext uri="{FF2B5EF4-FFF2-40B4-BE49-F238E27FC236}">
                  <a16:creationId xmlns:a16="http://schemas.microsoft.com/office/drawing/2014/main" id="{230F4E8F-610A-41B6-8CF6-7B25CCE0B461}"/>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8009607" y="5165192"/>
              <a:ext cx="720000" cy="720000"/>
            </a:xfrm>
            <a:prstGeom prst="rect">
              <a:avLst/>
            </a:prstGeom>
          </p:spPr>
        </p:pic>
        <p:pic>
          <p:nvPicPr>
            <p:cNvPr id="28" name="Image 27">
              <a:extLst>
                <a:ext uri="{FF2B5EF4-FFF2-40B4-BE49-F238E27FC236}">
                  <a16:creationId xmlns:a16="http://schemas.microsoft.com/office/drawing/2014/main" id="{5680AE1B-3E44-4004-B65D-0D4353803BBF}"/>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2672568" y="5165192"/>
              <a:ext cx="720000" cy="720000"/>
            </a:xfrm>
            <a:prstGeom prst="rect">
              <a:avLst/>
            </a:prstGeom>
          </p:spPr>
        </p:pic>
      </p:grpSp>
      <p:sp>
        <p:nvSpPr>
          <p:cNvPr id="29" name="Rectangle 28">
            <a:extLst>
              <a:ext uri="{FF2B5EF4-FFF2-40B4-BE49-F238E27FC236}">
                <a16:creationId xmlns:a16="http://schemas.microsoft.com/office/drawing/2014/main" id="{27D3FC15-CB88-4E81-AFD4-62F47B8F898A}"/>
              </a:ext>
            </a:extLst>
          </p:cNvPr>
          <p:cNvSpPr/>
          <p:nvPr/>
        </p:nvSpPr>
        <p:spPr>
          <a:xfrm>
            <a:off x="6096002" y="1486087"/>
            <a:ext cx="3598567" cy="456542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r-FR">
              <a:solidFill>
                <a:prstClr val="white"/>
              </a:solidFill>
            </a:endParaRPr>
          </a:p>
        </p:txBody>
      </p:sp>
      <p:pic>
        <p:nvPicPr>
          <p:cNvPr id="24" name="Image 23">
            <a:extLst>
              <a:ext uri="{FF2B5EF4-FFF2-40B4-BE49-F238E27FC236}">
                <a16:creationId xmlns:a16="http://schemas.microsoft.com/office/drawing/2014/main" id="{8A59918E-3FDB-4DD7-8ED0-5A230670F4BC}"/>
              </a:ext>
            </a:extLst>
          </p:cNvPr>
          <p:cNvPicPr>
            <a:picLocks noChangeAspect="1"/>
          </p:cNvPicPr>
          <p:nvPr/>
        </p:nvPicPr>
        <p:blipFill>
          <a:blip r:embed="rId6">
            <a:alphaModFix amt="69000"/>
            <a:extLst>
              <a:ext uri="{28A0092B-C50C-407E-A947-70E740481C1C}">
                <a14:useLocalDpi xmlns:a14="http://schemas.microsoft.com/office/drawing/2010/main" val="0"/>
              </a:ext>
            </a:extLst>
          </a:blip>
          <a:stretch>
            <a:fillRect/>
          </a:stretch>
        </p:blipFill>
        <p:spPr>
          <a:xfrm>
            <a:off x="2020883" y="1269350"/>
            <a:ext cx="7143751" cy="4800601"/>
          </a:xfrm>
          <a:prstGeom prst="rect">
            <a:avLst/>
          </a:prstGeom>
        </p:spPr>
      </p:pic>
      <p:sp>
        <p:nvSpPr>
          <p:cNvPr id="5" name="Espace réservé du texte 4"/>
          <p:cNvSpPr>
            <a:spLocks noGrp="1"/>
          </p:cNvSpPr>
          <p:nvPr>
            <p:ph type="body" sz="quarter" idx="13"/>
          </p:nvPr>
        </p:nvSpPr>
        <p:spPr/>
        <p:txBody>
          <a:bodyPr/>
          <a:lstStyle/>
          <a:p>
            <a:endParaRPr lang="fr-FR" dirty="0"/>
          </a:p>
        </p:txBody>
      </p:sp>
    </p:spTree>
    <p:extLst>
      <p:ext uri="{BB962C8B-B14F-4D97-AF65-F5344CB8AC3E}">
        <p14:creationId xmlns:p14="http://schemas.microsoft.com/office/powerpoint/2010/main" val="30166941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0" presetClass="entr" presetSubtype="0" fill="hold" grpId="0" nodeType="afterEffect">
                                  <p:stCondLst>
                                    <p:cond delay="0"/>
                                  </p:stCondLst>
                                  <p:iterate type="lt">
                                    <p:tmPct val="10000"/>
                                  </p:iterate>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anim calcmode="lin" valueType="num">
                                      <p:cBhvr>
                                        <p:cTn id="8" dur="500" fill="hold"/>
                                        <p:tgtEl>
                                          <p:spTgt spid="21"/>
                                        </p:tgtEl>
                                        <p:attrNameLst>
                                          <p:attrName>ppt_x</p:attrName>
                                        </p:attrNameLst>
                                      </p:cBhvr>
                                      <p:tavLst>
                                        <p:tav tm="0">
                                          <p:val>
                                            <p:strVal val="#ppt_x-.1"/>
                                          </p:val>
                                        </p:tav>
                                        <p:tav tm="100000">
                                          <p:val>
                                            <p:strVal val="#ppt_x"/>
                                          </p:val>
                                        </p:tav>
                                      </p:tavLst>
                                    </p:anim>
                                    <p:anim calcmode="lin" valueType="num">
                                      <p:cBhvr>
                                        <p:cTn id="9" dur="500" fill="hold"/>
                                        <p:tgtEl>
                                          <p:spTgt spid="21"/>
                                        </p:tgtEl>
                                        <p:attrNameLst>
                                          <p:attrName>ppt_y</p:attrName>
                                        </p:attrNameLst>
                                      </p:cBhvr>
                                      <p:tavLst>
                                        <p:tav tm="0">
                                          <p:val>
                                            <p:strVal val="#ppt_y"/>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 presetClass="exit" presetSubtype="0" fill="hold" nodeType="clickEffect">
                                  <p:stCondLst>
                                    <p:cond delay="0"/>
                                  </p:stCondLst>
                                  <p:childTnLst>
                                    <p:set>
                                      <p:cBhvr>
                                        <p:cTn id="13" dur="1" fill="hold">
                                          <p:stCondLst>
                                            <p:cond delay="0"/>
                                          </p:stCondLst>
                                        </p:cTn>
                                        <p:tgtEl>
                                          <p:spTgt spid="15"/>
                                        </p:tgtEl>
                                        <p:attrNameLst>
                                          <p:attrName>style.visibility</p:attrName>
                                        </p:attrNameLst>
                                      </p:cBhvr>
                                      <p:to>
                                        <p:strVal val="hidden"/>
                                      </p:to>
                                    </p:set>
                                  </p:childTnLst>
                                </p:cTn>
                              </p:par>
                              <p:par>
                                <p:cTn id="14" presetID="1" presetClass="exit" presetSubtype="0" fill="hold" grpId="0" nodeType="withEffect">
                                  <p:stCondLst>
                                    <p:cond delay="0"/>
                                  </p:stCondLst>
                                  <p:childTnLst>
                                    <p:set>
                                      <p:cBhvr>
                                        <p:cTn id="15" dur="1" fill="hold">
                                          <p:stCondLst>
                                            <p:cond delay="0"/>
                                          </p:stCondLst>
                                        </p:cTn>
                                        <p:tgtEl>
                                          <p:spTgt spid="23"/>
                                        </p:tgtEl>
                                        <p:attrNameLst>
                                          <p:attrName>style.visibility</p:attrName>
                                        </p:attrNameLst>
                                      </p:cBhvr>
                                      <p:to>
                                        <p:strVal val="hidden"/>
                                      </p:to>
                                    </p:set>
                                  </p:childTnLst>
                                </p:cTn>
                              </p:par>
                              <p:par>
                                <p:cTn id="16" presetID="6" presetClass="emph" presetSubtype="0" fill="hold" nodeType="withEffect">
                                  <p:stCondLst>
                                    <p:cond delay="0"/>
                                  </p:stCondLst>
                                  <p:childTnLst>
                                    <p:animScale>
                                      <p:cBhvr>
                                        <p:cTn id="17" dur="2000" fill="hold"/>
                                        <p:tgtEl>
                                          <p:spTgt spid="12"/>
                                        </p:tgtEl>
                                      </p:cBhvr>
                                      <p:by x="1000" y="100000"/>
                                    </p:animScale>
                                  </p:childTnLst>
                                </p:cTn>
                              </p:par>
                              <p:par>
                                <p:cTn id="18" presetID="42" presetClass="path" presetSubtype="0" accel="50000" decel="50000" fill="hold" grpId="0" nodeType="withEffect">
                                  <p:stCondLst>
                                    <p:cond delay="0"/>
                                  </p:stCondLst>
                                  <p:childTnLst>
                                    <p:animMotion origin="layout" path="M 3.95833E-6 -4.44444E-6 L 0.23776 -0.00879 " pathEditMode="relative" rAng="0" ptsTypes="AA">
                                      <p:cBhvr>
                                        <p:cTn id="19" dur="2000" fill="hold"/>
                                        <p:tgtEl>
                                          <p:spTgt spid="29"/>
                                        </p:tgtEl>
                                        <p:attrNameLst>
                                          <p:attrName>ppt_x</p:attrName>
                                          <p:attrName>ppt_y</p:attrName>
                                        </p:attrNameLst>
                                      </p:cBhvr>
                                      <p:rCtr x="11888" y="-440"/>
                                    </p:animMotion>
                                  </p:childTnLst>
                                </p:cTn>
                              </p:par>
                              <p:par>
                                <p:cTn id="20" presetID="31" presetClass="exit" presetSubtype="0" fill="hold" grpId="1" nodeType="withEffect">
                                  <p:stCondLst>
                                    <p:cond delay="0"/>
                                  </p:stCondLst>
                                  <p:iterate type="lt">
                                    <p:tmPct val="0"/>
                                  </p:iterate>
                                  <p:childTnLst>
                                    <p:anim calcmode="lin" valueType="num">
                                      <p:cBhvr>
                                        <p:cTn id="21" dur="1000"/>
                                        <p:tgtEl>
                                          <p:spTgt spid="21"/>
                                        </p:tgtEl>
                                        <p:attrNameLst>
                                          <p:attrName>ppt_w</p:attrName>
                                        </p:attrNameLst>
                                      </p:cBhvr>
                                      <p:tavLst>
                                        <p:tav tm="0">
                                          <p:val>
                                            <p:strVal val="ppt_w"/>
                                          </p:val>
                                        </p:tav>
                                        <p:tav tm="100000">
                                          <p:val>
                                            <p:fltVal val="0"/>
                                          </p:val>
                                        </p:tav>
                                      </p:tavLst>
                                    </p:anim>
                                    <p:anim calcmode="lin" valueType="num">
                                      <p:cBhvr>
                                        <p:cTn id="22" dur="1000"/>
                                        <p:tgtEl>
                                          <p:spTgt spid="21"/>
                                        </p:tgtEl>
                                        <p:attrNameLst>
                                          <p:attrName>ppt_h</p:attrName>
                                        </p:attrNameLst>
                                      </p:cBhvr>
                                      <p:tavLst>
                                        <p:tav tm="0">
                                          <p:val>
                                            <p:strVal val="ppt_h"/>
                                          </p:val>
                                        </p:tav>
                                        <p:tav tm="100000">
                                          <p:val>
                                            <p:fltVal val="0"/>
                                          </p:val>
                                        </p:tav>
                                      </p:tavLst>
                                    </p:anim>
                                    <p:anim calcmode="lin" valueType="num">
                                      <p:cBhvr>
                                        <p:cTn id="23" dur="1000"/>
                                        <p:tgtEl>
                                          <p:spTgt spid="21"/>
                                        </p:tgtEl>
                                        <p:attrNameLst>
                                          <p:attrName>style.rotation</p:attrName>
                                        </p:attrNameLst>
                                      </p:cBhvr>
                                      <p:tavLst>
                                        <p:tav tm="0">
                                          <p:val>
                                            <p:fltVal val="0"/>
                                          </p:val>
                                        </p:tav>
                                        <p:tav tm="100000">
                                          <p:val>
                                            <p:fltVal val="90"/>
                                          </p:val>
                                        </p:tav>
                                      </p:tavLst>
                                    </p:anim>
                                    <p:animEffect transition="out" filter="fade">
                                      <p:cBhvr>
                                        <p:cTn id="24" dur="1000"/>
                                        <p:tgtEl>
                                          <p:spTgt spid="21"/>
                                        </p:tgtEl>
                                      </p:cBhvr>
                                    </p:animEffect>
                                    <p:set>
                                      <p:cBhvr>
                                        <p:cTn id="25" dur="1" fill="hold">
                                          <p:stCondLst>
                                            <p:cond delay="999"/>
                                          </p:stCondLst>
                                        </p:cTn>
                                        <p:tgtEl>
                                          <p:spTgt spid="21"/>
                                        </p:tgtEl>
                                        <p:attrNameLst>
                                          <p:attrName>style.visibility</p:attrName>
                                        </p:attrNameLst>
                                      </p:cBhvr>
                                      <p:to>
                                        <p:strVal val="hidden"/>
                                      </p:to>
                                    </p:set>
                                  </p:childTnLst>
                                </p:cTn>
                              </p:par>
                              <p:par>
                                <p:cTn id="26" presetID="63" presetClass="path" presetSubtype="0" accel="50000" decel="50000" fill="hold" nodeType="withEffect">
                                  <p:stCondLst>
                                    <p:cond delay="0"/>
                                  </p:stCondLst>
                                  <p:childTnLst>
                                    <p:animMotion origin="layout" path="M 3.125E-6 1.11111E-6 L 0.17539 0.00648 " pathEditMode="relative" rAng="0" ptsTypes="AA">
                                      <p:cBhvr>
                                        <p:cTn id="27" dur="2000" fill="hold"/>
                                        <p:tgtEl>
                                          <p:spTgt spid="12"/>
                                        </p:tgtEl>
                                        <p:attrNameLst>
                                          <p:attrName>ppt_x</p:attrName>
                                          <p:attrName>ppt_y</p:attrName>
                                        </p:attrNameLst>
                                      </p:cBhvr>
                                      <p:rCtr x="8763" y="324"/>
                                    </p:animMotion>
                                  </p:childTnLst>
                                </p:cTn>
                              </p:par>
                            </p:childTnLst>
                          </p:cTn>
                        </p:par>
                        <p:par>
                          <p:cTn id="28" fill="hold">
                            <p:stCondLst>
                              <p:cond delay="2000"/>
                            </p:stCondLst>
                            <p:childTnLst>
                              <p:par>
                                <p:cTn id="29" presetID="40" presetClass="entr" presetSubtype="0" fill="hold" grpId="0" nodeType="afterEffect">
                                  <p:stCondLst>
                                    <p:cond delay="0"/>
                                  </p:stCondLst>
                                  <p:iterate type="lt">
                                    <p:tmPct val="10000"/>
                                  </p:iterate>
                                  <p:childTnLst>
                                    <p:set>
                                      <p:cBhvr>
                                        <p:cTn id="30" dur="1" fill="hold">
                                          <p:stCondLst>
                                            <p:cond delay="0"/>
                                          </p:stCondLst>
                                        </p:cTn>
                                        <p:tgtEl>
                                          <p:spTgt spid="22"/>
                                        </p:tgtEl>
                                        <p:attrNameLst>
                                          <p:attrName>style.visibility</p:attrName>
                                        </p:attrNameLst>
                                      </p:cBhvr>
                                      <p:to>
                                        <p:strVal val="visible"/>
                                      </p:to>
                                    </p:set>
                                    <p:animEffect transition="in" filter="fade">
                                      <p:cBhvr>
                                        <p:cTn id="31" dur="500"/>
                                        <p:tgtEl>
                                          <p:spTgt spid="22"/>
                                        </p:tgtEl>
                                      </p:cBhvr>
                                    </p:animEffect>
                                    <p:anim calcmode="lin" valueType="num">
                                      <p:cBhvr>
                                        <p:cTn id="32" dur="500" fill="hold"/>
                                        <p:tgtEl>
                                          <p:spTgt spid="22"/>
                                        </p:tgtEl>
                                        <p:attrNameLst>
                                          <p:attrName>ppt_x</p:attrName>
                                        </p:attrNameLst>
                                      </p:cBhvr>
                                      <p:tavLst>
                                        <p:tav tm="0">
                                          <p:val>
                                            <p:strVal val="#ppt_x-.1"/>
                                          </p:val>
                                        </p:tav>
                                        <p:tav tm="100000">
                                          <p:val>
                                            <p:strVal val="#ppt_x"/>
                                          </p:val>
                                        </p:tav>
                                      </p:tavLst>
                                    </p:anim>
                                    <p:anim calcmode="lin" valueType="num">
                                      <p:cBhvr>
                                        <p:cTn id="33" dur="500" fill="hold"/>
                                        <p:tgtEl>
                                          <p:spTgt spid="22"/>
                                        </p:tgtEl>
                                        <p:attrNameLst>
                                          <p:attrName>ppt_y</p:attrName>
                                        </p:attrNameLst>
                                      </p:cBhvr>
                                      <p:tavLst>
                                        <p:tav tm="0">
                                          <p:val>
                                            <p:strVal val="#ppt_y"/>
                                          </p:val>
                                        </p:tav>
                                        <p:tav tm="100000">
                                          <p:val>
                                            <p:strVal val="#ppt_y"/>
                                          </p:val>
                                        </p:tav>
                                      </p:tavLst>
                                    </p:anim>
                                  </p:childTnLst>
                                </p:cTn>
                              </p:par>
                            </p:childTnLst>
                          </p:cTn>
                        </p:par>
                        <p:par>
                          <p:cTn id="34" fill="hold">
                            <p:stCondLst>
                              <p:cond delay="4000"/>
                            </p:stCondLst>
                            <p:childTnLst>
                              <p:par>
                                <p:cTn id="35" presetID="10" presetClass="entr" presetSubtype="0" fill="hold" nodeType="after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500"/>
                                        <p:tgtEl>
                                          <p:spTgt spid="25"/>
                                        </p:tgtEl>
                                      </p:cBhvr>
                                    </p:animEffec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nodeType="clickEffect">
                                  <p:stCondLst>
                                    <p:cond delay="0"/>
                                  </p:stCondLst>
                                  <p:childTnLst>
                                    <p:set>
                                      <p:cBhvr>
                                        <p:cTn id="41"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1" grpId="1"/>
      <p:bldP spid="22" grpId="0"/>
      <p:bldP spid="23" grpId="0" animBg="1"/>
      <p:bldP spid="29"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1"/>
          <p:cNvSpPr>
            <a:spLocks noChangeArrowheads="1"/>
          </p:cNvSpPr>
          <p:nvPr/>
        </p:nvSpPr>
        <p:spPr bwMode="auto">
          <a:xfrm>
            <a:off x="247251" y="1985840"/>
            <a:ext cx="11944749" cy="5744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20" tIns="60960" rIns="121920" bIns="60960" numCol="1" anchor="ctr" anchorCtr="0" compatLnSpc="1">
            <a:prstTxWarp prst="textNoShape">
              <a:avLst/>
            </a:prstTxWarp>
            <a:spAutoFit/>
          </a:bodyPr>
          <a:lstStyle/>
          <a:p>
            <a:pPr defTabSz="1219170" eaLnBrk="0" fontAlgn="base" hangingPunct="0">
              <a:spcBef>
                <a:spcPct val="0"/>
              </a:spcBef>
              <a:spcAft>
                <a:spcPct val="0"/>
              </a:spcAft>
            </a:pPr>
            <a:endParaRPr lang="fr-FR" sz="2933" dirty="0"/>
          </a:p>
        </p:txBody>
      </p:sp>
      <p:sp>
        <p:nvSpPr>
          <p:cNvPr id="2" name="Titre 1"/>
          <p:cNvSpPr>
            <a:spLocks noGrp="1"/>
          </p:cNvSpPr>
          <p:nvPr>
            <p:ph type="title"/>
          </p:nvPr>
        </p:nvSpPr>
        <p:spPr>
          <a:xfrm>
            <a:off x="334434" y="567533"/>
            <a:ext cx="8606367" cy="332399"/>
          </a:xfrm>
        </p:spPr>
        <p:txBody>
          <a:bodyPr/>
          <a:lstStyle/>
          <a:p>
            <a:r>
              <a:rPr lang="fr-FR" dirty="0"/>
              <a:t>2- Consommation mondiale d’énergie</a:t>
            </a:r>
          </a:p>
        </p:txBody>
      </p:sp>
      <p:sp>
        <p:nvSpPr>
          <p:cNvPr id="4" name="Espace réservé du texte 3"/>
          <p:cNvSpPr>
            <a:spLocks noGrp="1"/>
          </p:cNvSpPr>
          <p:nvPr>
            <p:ph type="body" sz="quarter" idx="13"/>
          </p:nvPr>
        </p:nvSpPr>
        <p:spPr>
          <a:xfrm>
            <a:off x="334432" y="214644"/>
            <a:ext cx="8606368" cy="205184"/>
          </a:xfrm>
        </p:spPr>
        <p:txBody>
          <a:bodyPr/>
          <a:lstStyle/>
          <a:p>
            <a:endParaRPr lang="fr-FR" cap="all" dirty="0"/>
          </a:p>
        </p:txBody>
      </p:sp>
      <p:sp>
        <p:nvSpPr>
          <p:cNvPr id="8" name="Espace réservé du numéro de diapositive 7"/>
          <p:cNvSpPr>
            <a:spLocks noGrp="1"/>
          </p:cNvSpPr>
          <p:nvPr>
            <p:ph type="sldNum" sz="quarter" idx="17"/>
          </p:nvPr>
        </p:nvSpPr>
        <p:spPr/>
        <p:txBody>
          <a:bodyPr/>
          <a:lstStyle/>
          <a:p>
            <a:fld id="{4D2FDC22-80BD-4979-B76F-73272F05F8A8}" type="slidenum">
              <a:rPr lang="fr-FR" smtClean="0">
                <a:solidFill>
                  <a:srgbClr val="B4B4B4"/>
                </a:solidFill>
              </a:rPr>
              <a:pPr/>
              <a:t>7</a:t>
            </a:fld>
            <a:endParaRPr lang="fr-FR" dirty="0">
              <a:solidFill>
                <a:srgbClr val="B4B4B4"/>
              </a:solidFill>
            </a:endParaRPr>
          </a:p>
        </p:txBody>
      </p:sp>
      <p:grpSp>
        <p:nvGrpSpPr>
          <p:cNvPr id="36" name="Groupe 35">
            <a:extLst>
              <a:ext uri="{FF2B5EF4-FFF2-40B4-BE49-F238E27FC236}">
                <a16:creationId xmlns:a16="http://schemas.microsoft.com/office/drawing/2014/main" id="{72367C38-B6D5-43B2-93EF-548F4E7F1A65}"/>
              </a:ext>
            </a:extLst>
          </p:cNvPr>
          <p:cNvGrpSpPr/>
          <p:nvPr/>
        </p:nvGrpSpPr>
        <p:grpSpPr>
          <a:xfrm>
            <a:off x="10729993" y="1708481"/>
            <a:ext cx="1443812" cy="3712191"/>
            <a:chOff x="10311252" y="2529215"/>
            <a:chExt cx="2042792" cy="3020024"/>
          </a:xfrm>
        </p:grpSpPr>
        <p:sp>
          <p:nvSpPr>
            <p:cNvPr id="37" name="ZoneTexte 36"/>
            <p:cNvSpPr txBox="1"/>
            <p:nvPr/>
          </p:nvSpPr>
          <p:spPr>
            <a:xfrm>
              <a:off x="10968466" y="3721486"/>
              <a:ext cx="1385578" cy="575739"/>
            </a:xfrm>
            <a:prstGeom prst="rect">
              <a:avLst/>
            </a:prstGeom>
            <a:noFill/>
          </p:spPr>
          <p:txBody>
            <a:bodyPr wrap="square" rtlCol="0">
              <a:spAutoFit/>
            </a:bodyPr>
            <a:lstStyle/>
            <a:p>
              <a:pPr algn="ctr"/>
              <a:r>
                <a:rPr lang="fr-FR" sz="1333" b="1" dirty="0">
                  <a:solidFill>
                    <a:schemeClr val="tx1"/>
                  </a:solidFill>
                </a:rPr>
                <a:t>80% </a:t>
              </a:r>
              <a:r>
                <a:rPr lang="fr-FR" sz="1333" dirty="0">
                  <a:solidFill>
                    <a:schemeClr val="tx1"/>
                  </a:solidFill>
                </a:rPr>
                <a:t>d’énergie fossile</a:t>
              </a:r>
            </a:p>
          </p:txBody>
        </p:sp>
        <p:sp>
          <p:nvSpPr>
            <p:cNvPr id="38" name="Accolade fermante 37"/>
            <p:cNvSpPr/>
            <p:nvPr/>
          </p:nvSpPr>
          <p:spPr>
            <a:xfrm>
              <a:off x="10311252" y="2529215"/>
              <a:ext cx="592685" cy="3020024"/>
            </a:xfrm>
            <a:prstGeom prst="rightBrace">
              <a:avLst/>
            </a:prstGeom>
            <a:ln w="25400" cmpd="sng">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867"/>
            </a:p>
          </p:txBody>
        </p:sp>
      </p:grpSp>
      <p:pic>
        <p:nvPicPr>
          <p:cNvPr id="6" name="Imag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99" y="908877"/>
            <a:ext cx="10714667" cy="5567208"/>
          </a:xfrm>
          <a:prstGeom prst="rect">
            <a:avLst/>
          </a:prstGeom>
        </p:spPr>
      </p:pic>
    </p:spTree>
    <p:extLst>
      <p:ext uri="{BB962C8B-B14F-4D97-AF65-F5344CB8AC3E}">
        <p14:creationId xmlns:p14="http://schemas.microsoft.com/office/powerpoint/2010/main" val="6274704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idx="12"/>
          </p:nvPr>
        </p:nvSpPr>
        <p:spPr/>
        <p:txBody>
          <a:bodyPr/>
          <a:lstStyle/>
          <a:p>
            <a:pPr marL="0" lvl="0" indent="0" algn="r" rtl="0">
              <a:spcBef>
                <a:spcPts val="0"/>
              </a:spcBef>
              <a:spcAft>
                <a:spcPts val="0"/>
              </a:spcAft>
              <a:buNone/>
            </a:pPr>
            <a:fld id="{00000000-1234-1234-1234-123412341234}" type="slidenum">
              <a:rPr lang="fr-FR" smtClean="0"/>
              <a:t>8</a:t>
            </a:fld>
            <a:endParaRPr lang="fr-FR"/>
          </a:p>
        </p:txBody>
      </p:sp>
      <p:sp>
        <p:nvSpPr>
          <p:cNvPr id="3" name="Titre 2"/>
          <p:cNvSpPr>
            <a:spLocks noGrp="1"/>
          </p:cNvSpPr>
          <p:nvPr>
            <p:ph type="title"/>
          </p:nvPr>
        </p:nvSpPr>
        <p:spPr/>
        <p:txBody>
          <a:bodyPr>
            <a:normAutofit/>
          </a:bodyPr>
          <a:lstStyle/>
          <a:p>
            <a:pPr indent="-12700"/>
            <a:r>
              <a:rPr lang="fr-FR" dirty="0"/>
              <a:t>Transformer l’économie française, avec ou sans nucléaire ?</a:t>
            </a:r>
          </a:p>
        </p:txBody>
      </p:sp>
      <p:sp>
        <p:nvSpPr>
          <p:cNvPr id="4" name="Espace réservé du texte 3"/>
          <p:cNvSpPr>
            <a:spLocks noGrp="1"/>
          </p:cNvSpPr>
          <p:nvPr>
            <p:ph type="body" idx="1"/>
          </p:nvPr>
        </p:nvSpPr>
        <p:spPr>
          <a:xfrm>
            <a:off x="695325" y="1348303"/>
            <a:ext cx="11392597" cy="4952137"/>
          </a:xfrm>
        </p:spPr>
        <p:txBody>
          <a:bodyPr/>
          <a:lstStyle/>
          <a:p>
            <a:endParaRPr lang="fr-FR" dirty="0"/>
          </a:p>
          <a:p>
            <a:pPr marL="228600" indent="0"/>
            <a:r>
              <a:rPr lang="fr-FR" dirty="0">
                <a:solidFill>
                  <a:schemeClr val="tx2">
                    <a:lumMod val="20000"/>
                    <a:lumOff val="80000"/>
                  </a:schemeClr>
                </a:solidFill>
              </a:rPr>
              <a:t>1- Contexte : émissions anthropiques de CO2 depuis 1850 (5 min) </a:t>
            </a:r>
          </a:p>
          <a:p>
            <a:pPr marL="228600" indent="0"/>
            <a:br>
              <a:rPr lang="fr-FR" dirty="0">
                <a:solidFill>
                  <a:schemeClr val="tx2">
                    <a:lumMod val="20000"/>
                    <a:lumOff val="80000"/>
                  </a:schemeClr>
                </a:solidFill>
              </a:rPr>
            </a:br>
            <a:r>
              <a:rPr lang="fr-FR" dirty="0">
                <a:solidFill>
                  <a:schemeClr val="tx2">
                    <a:lumMod val="20000"/>
                    <a:lumOff val="80000"/>
                  </a:schemeClr>
                </a:solidFill>
              </a:rPr>
              <a:t>2- Consommation mondiale d’énergie (5 min)</a:t>
            </a:r>
          </a:p>
          <a:p>
            <a:pPr marL="228600" indent="0"/>
            <a:br>
              <a:rPr lang="fr-FR" dirty="0">
                <a:solidFill>
                  <a:schemeClr val="tx2">
                    <a:lumMod val="20000"/>
                    <a:lumOff val="80000"/>
                  </a:schemeClr>
                </a:solidFill>
              </a:rPr>
            </a:br>
            <a:r>
              <a:rPr lang="fr-FR" dirty="0"/>
              <a:t>3- Panorama du nucléaire civil dans le monde (5 min)</a:t>
            </a:r>
          </a:p>
          <a:p>
            <a:endParaRPr lang="fr-FR" dirty="0"/>
          </a:p>
        </p:txBody>
      </p:sp>
    </p:spTree>
    <p:extLst>
      <p:ext uri="{BB962C8B-B14F-4D97-AF65-F5344CB8AC3E}">
        <p14:creationId xmlns:p14="http://schemas.microsoft.com/office/powerpoint/2010/main" val="27692781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3" name="Gruppieren 257"/>
          <p:cNvGrpSpPr>
            <a:grpSpLocks noChangeAspect="1"/>
          </p:cNvGrpSpPr>
          <p:nvPr/>
        </p:nvGrpSpPr>
        <p:grpSpPr bwMode="gray">
          <a:xfrm>
            <a:off x="607599" y="1320260"/>
            <a:ext cx="10243197" cy="5144708"/>
            <a:chOff x="141288" y="1547813"/>
            <a:chExt cx="8858258" cy="4321173"/>
          </a:xfrm>
          <a:solidFill>
            <a:srgbClr val="404040"/>
          </a:solidFill>
          <a:effectLst/>
        </p:grpSpPr>
        <p:sp>
          <p:nvSpPr>
            <p:cNvPr id="44" name="USA (Alaska)" descr="© INSCALE GmbH, 05.05.2010&#10;http://www.presentationload.com/"/>
            <p:cNvSpPr>
              <a:spLocks noEditPoints="1"/>
            </p:cNvSpPr>
            <p:nvPr/>
          </p:nvSpPr>
          <p:spPr bwMode="gray">
            <a:xfrm>
              <a:off x="141288" y="1836738"/>
              <a:ext cx="1236663" cy="534988"/>
            </a:xfrm>
            <a:custGeom>
              <a:avLst/>
              <a:gdLst>
                <a:gd name="T0" fmla="*/ 2147483647 w 3072"/>
                <a:gd name="T1" fmla="*/ 2147483647 h 1332"/>
                <a:gd name="T2" fmla="*/ 2147483647 w 3072"/>
                <a:gd name="T3" fmla="*/ 2147483647 h 1332"/>
                <a:gd name="T4" fmla="*/ 2147483647 w 3072"/>
                <a:gd name="T5" fmla="*/ 2147483647 h 1332"/>
                <a:gd name="T6" fmla="*/ 2147483647 w 3072"/>
                <a:gd name="T7" fmla="*/ 2147483647 h 1332"/>
                <a:gd name="T8" fmla="*/ 2147483647 w 3072"/>
                <a:gd name="T9" fmla="*/ 2147483647 h 1332"/>
                <a:gd name="T10" fmla="*/ 2147483647 w 3072"/>
                <a:gd name="T11" fmla="*/ 2147483647 h 1332"/>
                <a:gd name="T12" fmla="*/ 2147483647 w 3072"/>
                <a:gd name="T13" fmla="*/ 2147483647 h 1332"/>
                <a:gd name="T14" fmla="*/ 2147483647 w 3072"/>
                <a:gd name="T15" fmla="*/ 2147483647 h 1332"/>
                <a:gd name="T16" fmla="*/ 2147483647 w 3072"/>
                <a:gd name="T17" fmla="*/ 2147483647 h 1332"/>
                <a:gd name="T18" fmla="*/ 2147483647 w 3072"/>
                <a:gd name="T19" fmla="*/ 2147483647 h 1332"/>
                <a:gd name="T20" fmla="*/ 2147483647 w 3072"/>
                <a:gd name="T21" fmla="*/ 2147483647 h 1332"/>
                <a:gd name="T22" fmla="*/ 2147483647 w 3072"/>
                <a:gd name="T23" fmla="*/ 0 h 1332"/>
                <a:gd name="T24" fmla="*/ 2147483647 w 3072"/>
                <a:gd name="T25" fmla="*/ 2147483647 h 1332"/>
                <a:gd name="T26" fmla="*/ 2147483647 w 3072"/>
                <a:gd name="T27" fmla="*/ 2147483647 h 1332"/>
                <a:gd name="T28" fmla="*/ 2147483647 w 3072"/>
                <a:gd name="T29" fmla="*/ 2147483647 h 1332"/>
                <a:gd name="T30" fmla="*/ 2147483647 w 3072"/>
                <a:gd name="T31" fmla="*/ 2147483647 h 1332"/>
                <a:gd name="T32" fmla="*/ 2147483647 w 3072"/>
                <a:gd name="T33" fmla="*/ 2147483647 h 1332"/>
                <a:gd name="T34" fmla="*/ 2147483647 w 3072"/>
                <a:gd name="T35" fmla="*/ 2147483647 h 1332"/>
                <a:gd name="T36" fmla="*/ 2147483647 w 3072"/>
                <a:gd name="T37" fmla="*/ 2147483647 h 1332"/>
                <a:gd name="T38" fmla="*/ 2147483647 w 3072"/>
                <a:gd name="T39" fmla="*/ 2147483647 h 1332"/>
                <a:gd name="T40" fmla="*/ 2147483647 w 3072"/>
                <a:gd name="T41" fmla="*/ 2147483647 h 1332"/>
                <a:gd name="T42" fmla="*/ 2147483647 w 3072"/>
                <a:gd name="T43" fmla="*/ 2147483647 h 1332"/>
                <a:gd name="T44" fmla="*/ 2147483647 w 3072"/>
                <a:gd name="T45" fmla="*/ 2147483647 h 1332"/>
                <a:gd name="T46" fmla="*/ 2147483647 w 3072"/>
                <a:gd name="T47" fmla="*/ 2147483647 h 1332"/>
                <a:gd name="T48" fmla="*/ 2147483647 w 3072"/>
                <a:gd name="T49" fmla="*/ 2147483647 h 1332"/>
                <a:gd name="T50" fmla="*/ 2147483647 w 3072"/>
                <a:gd name="T51" fmla="*/ 2147483647 h 1332"/>
                <a:gd name="T52" fmla="*/ 2147483647 w 3072"/>
                <a:gd name="T53" fmla="*/ 2147483647 h 1332"/>
                <a:gd name="T54" fmla="*/ 2147483647 w 3072"/>
                <a:gd name="T55" fmla="*/ 2147483647 h 1332"/>
                <a:gd name="T56" fmla="*/ 2147483647 w 3072"/>
                <a:gd name="T57" fmla="*/ 2147483647 h 1332"/>
                <a:gd name="T58" fmla="*/ 2147483647 w 3072"/>
                <a:gd name="T59" fmla="*/ 2147483647 h 1332"/>
                <a:gd name="T60" fmla="*/ 2147483647 w 3072"/>
                <a:gd name="T61" fmla="*/ 2147483647 h 1332"/>
                <a:gd name="T62" fmla="*/ 2147483647 w 3072"/>
                <a:gd name="T63" fmla="*/ 2147483647 h 1332"/>
                <a:gd name="T64" fmla="*/ 2147483647 w 3072"/>
                <a:gd name="T65" fmla="*/ 2147483647 h 1332"/>
                <a:gd name="T66" fmla="*/ 2147483647 w 3072"/>
                <a:gd name="T67" fmla="*/ 2147483647 h 1332"/>
                <a:gd name="T68" fmla="*/ 2147483647 w 3072"/>
                <a:gd name="T69" fmla="*/ 2147483647 h 1332"/>
                <a:gd name="T70" fmla="*/ 2147483647 w 3072"/>
                <a:gd name="T71" fmla="*/ 2147483647 h 1332"/>
                <a:gd name="T72" fmla="*/ 2147483647 w 3072"/>
                <a:gd name="T73" fmla="*/ 2147483647 h 1332"/>
                <a:gd name="T74" fmla="*/ 2147483647 w 3072"/>
                <a:gd name="T75" fmla="*/ 2147483647 h 1332"/>
                <a:gd name="T76" fmla="*/ 2147483647 w 3072"/>
                <a:gd name="T77" fmla="*/ 2147483647 h 1332"/>
                <a:gd name="T78" fmla="*/ 2147483647 w 3072"/>
                <a:gd name="T79" fmla="*/ 2147483647 h 1332"/>
                <a:gd name="T80" fmla="*/ 2147483647 w 3072"/>
                <a:gd name="T81" fmla="*/ 2147483647 h 1332"/>
                <a:gd name="T82" fmla="*/ 2147483647 w 3072"/>
                <a:gd name="T83" fmla="*/ 2147483647 h 1332"/>
                <a:gd name="T84" fmla="*/ 2147483647 w 3072"/>
                <a:gd name="T85" fmla="*/ 2147483647 h 1332"/>
                <a:gd name="T86" fmla="*/ 2147483647 w 3072"/>
                <a:gd name="T87" fmla="*/ 2147483647 h 1332"/>
                <a:gd name="T88" fmla="*/ 2147483647 w 3072"/>
                <a:gd name="T89" fmla="*/ 2147483647 h 1332"/>
                <a:gd name="T90" fmla="*/ 2147483647 w 3072"/>
                <a:gd name="T91" fmla="*/ 2147483647 h 1332"/>
                <a:gd name="T92" fmla="*/ 2147483647 w 3072"/>
                <a:gd name="T93" fmla="*/ 2147483647 h 1332"/>
                <a:gd name="T94" fmla="*/ 2147483647 w 3072"/>
                <a:gd name="T95" fmla="*/ 2147483647 h 1332"/>
                <a:gd name="T96" fmla="*/ 2147483647 w 3072"/>
                <a:gd name="T97" fmla="*/ 2147483647 h 1332"/>
                <a:gd name="T98" fmla="*/ 2147483647 w 3072"/>
                <a:gd name="T99" fmla="*/ 2147483647 h 1332"/>
                <a:gd name="T100" fmla="*/ 2147483647 w 3072"/>
                <a:gd name="T101" fmla="*/ 2147483647 h 1332"/>
                <a:gd name="T102" fmla="*/ 2147483647 w 3072"/>
                <a:gd name="T103" fmla="*/ 2147483647 h 1332"/>
                <a:gd name="T104" fmla="*/ 2147483647 w 3072"/>
                <a:gd name="T105" fmla="*/ 2147483647 h 1332"/>
                <a:gd name="T106" fmla="*/ 2147483647 w 3072"/>
                <a:gd name="T107" fmla="*/ 2147483647 h 1332"/>
                <a:gd name="T108" fmla="*/ 2147483647 w 3072"/>
                <a:gd name="T109" fmla="*/ 2147483647 h 1332"/>
                <a:gd name="T110" fmla="*/ 2147483647 w 3072"/>
                <a:gd name="T111" fmla="*/ 2147483647 h 1332"/>
                <a:gd name="T112" fmla="*/ 2147483647 w 3072"/>
                <a:gd name="T113" fmla="*/ 2147483647 h 1332"/>
                <a:gd name="T114" fmla="*/ 2147483647 w 3072"/>
                <a:gd name="T115" fmla="*/ 2147483647 h 1332"/>
                <a:gd name="T116" fmla="*/ 2147483647 w 3072"/>
                <a:gd name="T117" fmla="*/ 2147483647 h 1332"/>
                <a:gd name="T118" fmla="*/ 2147483647 w 3072"/>
                <a:gd name="T119" fmla="*/ 2147483647 h 1332"/>
                <a:gd name="T120" fmla="*/ 2147483647 w 3072"/>
                <a:gd name="T121" fmla="*/ 2147483647 h 133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72"/>
                <a:gd name="T184" fmla="*/ 0 h 1332"/>
                <a:gd name="T185" fmla="*/ 3072 w 3072"/>
                <a:gd name="T186" fmla="*/ 1332 h 133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72" h="1332">
                  <a:moveTo>
                    <a:pt x="2454" y="930"/>
                  </a:moveTo>
                  <a:lnTo>
                    <a:pt x="2418" y="966"/>
                  </a:lnTo>
                  <a:lnTo>
                    <a:pt x="2400" y="1002"/>
                  </a:lnTo>
                  <a:lnTo>
                    <a:pt x="2412" y="1002"/>
                  </a:lnTo>
                  <a:lnTo>
                    <a:pt x="2448" y="984"/>
                  </a:lnTo>
                  <a:lnTo>
                    <a:pt x="2460" y="972"/>
                  </a:lnTo>
                  <a:lnTo>
                    <a:pt x="2460" y="954"/>
                  </a:lnTo>
                  <a:lnTo>
                    <a:pt x="2472" y="942"/>
                  </a:lnTo>
                  <a:lnTo>
                    <a:pt x="2460" y="930"/>
                  </a:lnTo>
                  <a:lnTo>
                    <a:pt x="2454" y="930"/>
                  </a:lnTo>
                  <a:close/>
                  <a:moveTo>
                    <a:pt x="2400" y="930"/>
                  </a:moveTo>
                  <a:lnTo>
                    <a:pt x="2388" y="930"/>
                  </a:lnTo>
                  <a:lnTo>
                    <a:pt x="2376" y="936"/>
                  </a:lnTo>
                  <a:lnTo>
                    <a:pt x="2364" y="948"/>
                  </a:lnTo>
                  <a:lnTo>
                    <a:pt x="2364" y="954"/>
                  </a:lnTo>
                  <a:lnTo>
                    <a:pt x="2370" y="966"/>
                  </a:lnTo>
                  <a:lnTo>
                    <a:pt x="2376" y="972"/>
                  </a:lnTo>
                  <a:lnTo>
                    <a:pt x="2406" y="972"/>
                  </a:lnTo>
                  <a:lnTo>
                    <a:pt x="2412" y="960"/>
                  </a:lnTo>
                  <a:lnTo>
                    <a:pt x="2418" y="954"/>
                  </a:lnTo>
                  <a:lnTo>
                    <a:pt x="2418" y="942"/>
                  </a:lnTo>
                  <a:lnTo>
                    <a:pt x="2406" y="936"/>
                  </a:lnTo>
                  <a:lnTo>
                    <a:pt x="2400" y="930"/>
                  </a:lnTo>
                  <a:close/>
                  <a:moveTo>
                    <a:pt x="2316" y="1188"/>
                  </a:moveTo>
                  <a:lnTo>
                    <a:pt x="2328" y="1188"/>
                  </a:lnTo>
                  <a:lnTo>
                    <a:pt x="2340" y="1152"/>
                  </a:lnTo>
                  <a:lnTo>
                    <a:pt x="2322" y="1158"/>
                  </a:lnTo>
                  <a:lnTo>
                    <a:pt x="2316" y="1188"/>
                  </a:lnTo>
                  <a:close/>
                  <a:moveTo>
                    <a:pt x="2388" y="1074"/>
                  </a:moveTo>
                  <a:lnTo>
                    <a:pt x="2370" y="1086"/>
                  </a:lnTo>
                  <a:lnTo>
                    <a:pt x="2382" y="1098"/>
                  </a:lnTo>
                  <a:lnTo>
                    <a:pt x="2388" y="1098"/>
                  </a:lnTo>
                  <a:lnTo>
                    <a:pt x="2382" y="1104"/>
                  </a:lnTo>
                  <a:lnTo>
                    <a:pt x="2376" y="1104"/>
                  </a:lnTo>
                  <a:lnTo>
                    <a:pt x="2364" y="1116"/>
                  </a:lnTo>
                  <a:lnTo>
                    <a:pt x="2358" y="1116"/>
                  </a:lnTo>
                  <a:lnTo>
                    <a:pt x="2352" y="1122"/>
                  </a:lnTo>
                  <a:lnTo>
                    <a:pt x="2352" y="1152"/>
                  </a:lnTo>
                  <a:lnTo>
                    <a:pt x="2358" y="1164"/>
                  </a:lnTo>
                  <a:lnTo>
                    <a:pt x="2358" y="1188"/>
                  </a:lnTo>
                  <a:lnTo>
                    <a:pt x="2370" y="1182"/>
                  </a:lnTo>
                  <a:lnTo>
                    <a:pt x="2376" y="1170"/>
                  </a:lnTo>
                  <a:lnTo>
                    <a:pt x="2388" y="1164"/>
                  </a:lnTo>
                  <a:lnTo>
                    <a:pt x="2394" y="1158"/>
                  </a:lnTo>
                  <a:lnTo>
                    <a:pt x="2394" y="1146"/>
                  </a:lnTo>
                  <a:lnTo>
                    <a:pt x="2382" y="1134"/>
                  </a:lnTo>
                  <a:lnTo>
                    <a:pt x="2394" y="1134"/>
                  </a:lnTo>
                  <a:lnTo>
                    <a:pt x="2412" y="1116"/>
                  </a:lnTo>
                  <a:lnTo>
                    <a:pt x="2412" y="1098"/>
                  </a:lnTo>
                  <a:lnTo>
                    <a:pt x="2388" y="1074"/>
                  </a:lnTo>
                  <a:close/>
                  <a:moveTo>
                    <a:pt x="2562" y="1080"/>
                  </a:moveTo>
                  <a:lnTo>
                    <a:pt x="2550" y="1080"/>
                  </a:lnTo>
                  <a:lnTo>
                    <a:pt x="2550" y="1074"/>
                  </a:lnTo>
                  <a:lnTo>
                    <a:pt x="2544" y="1068"/>
                  </a:lnTo>
                  <a:lnTo>
                    <a:pt x="2538" y="1068"/>
                  </a:lnTo>
                  <a:lnTo>
                    <a:pt x="2532" y="1062"/>
                  </a:lnTo>
                  <a:lnTo>
                    <a:pt x="2520" y="1056"/>
                  </a:lnTo>
                  <a:lnTo>
                    <a:pt x="2514" y="1050"/>
                  </a:lnTo>
                  <a:lnTo>
                    <a:pt x="2514" y="1044"/>
                  </a:lnTo>
                  <a:lnTo>
                    <a:pt x="2520" y="1032"/>
                  </a:lnTo>
                  <a:lnTo>
                    <a:pt x="2520" y="1020"/>
                  </a:lnTo>
                  <a:lnTo>
                    <a:pt x="2526" y="1008"/>
                  </a:lnTo>
                  <a:lnTo>
                    <a:pt x="2532" y="1002"/>
                  </a:lnTo>
                  <a:lnTo>
                    <a:pt x="2532" y="960"/>
                  </a:lnTo>
                  <a:lnTo>
                    <a:pt x="2550" y="924"/>
                  </a:lnTo>
                  <a:lnTo>
                    <a:pt x="2550" y="906"/>
                  </a:lnTo>
                  <a:lnTo>
                    <a:pt x="2544" y="894"/>
                  </a:lnTo>
                  <a:lnTo>
                    <a:pt x="2526" y="876"/>
                  </a:lnTo>
                  <a:lnTo>
                    <a:pt x="2538" y="864"/>
                  </a:lnTo>
                  <a:lnTo>
                    <a:pt x="2538" y="834"/>
                  </a:lnTo>
                  <a:lnTo>
                    <a:pt x="2544" y="828"/>
                  </a:lnTo>
                  <a:lnTo>
                    <a:pt x="2550" y="828"/>
                  </a:lnTo>
                  <a:lnTo>
                    <a:pt x="2556" y="822"/>
                  </a:lnTo>
                  <a:lnTo>
                    <a:pt x="2550" y="816"/>
                  </a:lnTo>
                  <a:lnTo>
                    <a:pt x="2532" y="810"/>
                  </a:lnTo>
                  <a:lnTo>
                    <a:pt x="2520" y="810"/>
                  </a:lnTo>
                  <a:lnTo>
                    <a:pt x="2502" y="816"/>
                  </a:lnTo>
                  <a:lnTo>
                    <a:pt x="2490" y="816"/>
                  </a:lnTo>
                  <a:lnTo>
                    <a:pt x="2484" y="822"/>
                  </a:lnTo>
                  <a:lnTo>
                    <a:pt x="2478" y="822"/>
                  </a:lnTo>
                  <a:lnTo>
                    <a:pt x="2478" y="834"/>
                  </a:lnTo>
                  <a:lnTo>
                    <a:pt x="2460" y="834"/>
                  </a:lnTo>
                  <a:lnTo>
                    <a:pt x="2454" y="840"/>
                  </a:lnTo>
                  <a:lnTo>
                    <a:pt x="2442" y="846"/>
                  </a:lnTo>
                  <a:lnTo>
                    <a:pt x="2430" y="846"/>
                  </a:lnTo>
                  <a:lnTo>
                    <a:pt x="2418" y="852"/>
                  </a:lnTo>
                  <a:lnTo>
                    <a:pt x="2406" y="852"/>
                  </a:lnTo>
                  <a:lnTo>
                    <a:pt x="2400" y="858"/>
                  </a:lnTo>
                  <a:lnTo>
                    <a:pt x="2394" y="858"/>
                  </a:lnTo>
                  <a:lnTo>
                    <a:pt x="2388" y="864"/>
                  </a:lnTo>
                  <a:lnTo>
                    <a:pt x="2376" y="870"/>
                  </a:lnTo>
                  <a:lnTo>
                    <a:pt x="2370" y="876"/>
                  </a:lnTo>
                  <a:lnTo>
                    <a:pt x="2364" y="876"/>
                  </a:lnTo>
                  <a:lnTo>
                    <a:pt x="2364" y="864"/>
                  </a:lnTo>
                  <a:lnTo>
                    <a:pt x="2382" y="846"/>
                  </a:lnTo>
                  <a:lnTo>
                    <a:pt x="2376" y="840"/>
                  </a:lnTo>
                  <a:lnTo>
                    <a:pt x="2364" y="834"/>
                  </a:lnTo>
                  <a:lnTo>
                    <a:pt x="2358" y="828"/>
                  </a:lnTo>
                  <a:lnTo>
                    <a:pt x="2358" y="810"/>
                  </a:lnTo>
                  <a:lnTo>
                    <a:pt x="2352" y="798"/>
                  </a:lnTo>
                  <a:lnTo>
                    <a:pt x="2352" y="792"/>
                  </a:lnTo>
                  <a:lnTo>
                    <a:pt x="2376" y="768"/>
                  </a:lnTo>
                  <a:lnTo>
                    <a:pt x="2340" y="768"/>
                  </a:lnTo>
                  <a:lnTo>
                    <a:pt x="2328" y="780"/>
                  </a:lnTo>
                  <a:lnTo>
                    <a:pt x="2274" y="780"/>
                  </a:lnTo>
                  <a:lnTo>
                    <a:pt x="2274" y="768"/>
                  </a:lnTo>
                  <a:lnTo>
                    <a:pt x="2280" y="756"/>
                  </a:lnTo>
                  <a:lnTo>
                    <a:pt x="2292" y="750"/>
                  </a:lnTo>
                  <a:lnTo>
                    <a:pt x="2298" y="744"/>
                  </a:lnTo>
                  <a:lnTo>
                    <a:pt x="3072" y="108"/>
                  </a:lnTo>
                  <a:lnTo>
                    <a:pt x="3054" y="108"/>
                  </a:lnTo>
                  <a:lnTo>
                    <a:pt x="3054" y="102"/>
                  </a:lnTo>
                  <a:lnTo>
                    <a:pt x="3048" y="90"/>
                  </a:lnTo>
                  <a:lnTo>
                    <a:pt x="3036" y="84"/>
                  </a:lnTo>
                  <a:lnTo>
                    <a:pt x="3030" y="78"/>
                  </a:lnTo>
                  <a:lnTo>
                    <a:pt x="3012" y="78"/>
                  </a:lnTo>
                  <a:lnTo>
                    <a:pt x="2988" y="84"/>
                  </a:lnTo>
                  <a:lnTo>
                    <a:pt x="2964" y="84"/>
                  </a:lnTo>
                  <a:lnTo>
                    <a:pt x="2928" y="96"/>
                  </a:lnTo>
                  <a:lnTo>
                    <a:pt x="2916" y="96"/>
                  </a:lnTo>
                  <a:lnTo>
                    <a:pt x="2892" y="84"/>
                  </a:lnTo>
                  <a:lnTo>
                    <a:pt x="2886" y="78"/>
                  </a:lnTo>
                  <a:lnTo>
                    <a:pt x="2874" y="72"/>
                  </a:lnTo>
                  <a:lnTo>
                    <a:pt x="2784" y="72"/>
                  </a:lnTo>
                  <a:lnTo>
                    <a:pt x="2772" y="66"/>
                  </a:lnTo>
                  <a:lnTo>
                    <a:pt x="2766" y="60"/>
                  </a:lnTo>
                  <a:lnTo>
                    <a:pt x="2748" y="60"/>
                  </a:lnTo>
                  <a:lnTo>
                    <a:pt x="2736" y="54"/>
                  </a:lnTo>
                  <a:lnTo>
                    <a:pt x="2598" y="54"/>
                  </a:lnTo>
                  <a:lnTo>
                    <a:pt x="2598" y="42"/>
                  </a:lnTo>
                  <a:lnTo>
                    <a:pt x="2604" y="36"/>
                  </a:lnTo>
                  <a:lnTo>
                    <a:pt x="2592" y="36"/>
                  </a:lnTo>
                  <a:lnTo>
                    <a:pt x="2574" y="30"/>
                  </a:lnTo>
                  <a:lnTo>
                    <a:pt x="2562" y="30"/>
                  </a:lnTo>
                  <a:lnTo>
                    <a:pt x="2550" y="24"/>
                  </a:lnTo>
                  <a:lnTo>
                    <a:pt x="2532" y="24"/>
                  </a:lnTo>
                  <a:lnTo>
                    <a:pt x="2520" y="30"/>
                  </a:lnTo>
                  <a:lnTo>
                    <a:pt x="2496" y="30"/>
                  </a:lnTo>
                  <a:lnTo>
                    <a:pt x="2490" y="36"/>
                  </a:lnTo>
                  <a:lnTo>
                    <a:pt x="2484" y="36"/>
                  </a:lnTo>
                  <a:lnTo>
                    <a:pt x="2514" y="0"/>
                  </a:lnTo>
                  <a:lnTo>
                    <a:pt x="2430" y="36"/>
                  </a:lnTo>
                  <a:lnTo>
                    <a:pt x="2460" y="0"/>
                  </a:lnTo>
                  <a:lnTo>
                    <a:pt x="2430" y="0"/>
                  </a:lnTo>
                  <a:lnTo>
                    <a:pt x="2418" y="6"/>
                  </a:lnTo>
                  <a:lnTo>
                    <a:pt x="2412" y="12"/>
                  </a:lnTo>
                  <a:lnTo>
                    <a:pt x="2358" y="30"/>
                  </a:lnTo>
                  <a:lnTo>
                    <a:pt x="2232" y="30"/>
                  </a:lnTo>
                  <a:lnTo>
                    <a:pt x="2214" y="36"/>
                  </a:lnTo>
                  <a:lnTo>
                    <a:pt x="2208" y="42"/>
                  </a:lnTo>
                  <a:lnTo>
                    <a:pt x="2184" y="54"/>
                  </a:lnTo>
                  <a:lnTo>
                    <a:pt x="2172" y="54"/>
                  </a:lnTo>
                  <a:lnTo>
                    <a:pt x="2166" y="60"/>
                  </a:lnTo>
                  <a:lnTo>
                    <a:pt x="2046" y="60"/>
                  </a:lnTo>
                  <a:lnTo>
                    <a:pt x="2004" y="72"/>
                  </a:lnTo>
                  <a:lnTo>
                    <a:pt x="1956" y="102"/>
                  </a:lnTo>
                  <a:lnTo>
                    <a:pt x="1902" y="132"/>
                  </a:lnTo>
                  <a:lnTo>
                    <a:pt x="1854" y="144"/>
                  </a:lnTo>
                  <a:lnTo>
                    <a:pt x="1758" y="156"/>
                  </a:lnTo>
                  <a:lnTo>
                    <a:pt x="1722" y="162"/>
                  </a:lnTo>
                  <a:lnTo>
                    <a:pt x="1704" y="162"/>
                  </a:lnTo>
                  <a:lnTo>
                    <a:pt x="1698" y="168"/>
                  </a:lnTo>
                  <a:lnTo>
                    <a:pt x="1644" y="186"/>
                  </a:lnTo>
                  <a:lnTo>
                    <a:pt x="1632" y="192"/>
                  </a:lnTo>
                  <a:lnTo>
                    <a:pt x="1620" y="192"/>
                  </a:lnTo>
                  <a:lnTo>
                    <a:pt x="1620" y="198"/>
                  </a:lnTo>
                  <a:lnTo>
                    <a:pt x="1626" y="204"/>
                  </a:lnTo>
                  <a:lnTo>
                    <a:pt x="1638" y="210"/>
                  </a:lnTo>
                  <a:lnTo>
                    <a:pt x="1650" y="222"/>
                  </a:lnTo>
                  <a:lnTo>
                    <a:pt x="1656" y="222"/>
                  </a:lnTo>
                  <a:lnTo>
                    <a:pt x="1662" y="234"/>
                  </a:lnTo>
                  <a:lnTo>
                    <a:pt x="1662" y="240"/>
                  </a:lnTo>
                  <a:lnTo>
                    <a:pt x="1668" y="252"/>
                  </a:lnTo>
                  <a:lnTo>
                    <a:pt x="1668" y="264"/>
                  </a:lnTo>
                  <a:lnTo>
                    <a:pt x="1662" y="264"/>
                  </a:lnTo>
                  <a:lnTo>
                    <a:pt x="1650" y="270"/>
                  </a:lnTo>
                  <a:lnTo>
                    <a:pt x="1644" y="282"/>
                  </a:lnTo>
                  <a:lnTo>
                    <a:pt x="1734" y="282"/>
                  </a:lnTo>
                  <a:lnTo>
                    <a:pt x="1704" y="318"/>
                  </a:lnTo>
                  <a:lnTo>
                    <a:pt x="1770" y="318"/>
                  </a:lnTo>
                  <a:lnTo>
                    <a:pt x="1764" y="336"/>
                  </a:lnTo>
                  <a:lnTo>
                    <a:pt x="1710" y="336"/>
                  </a:lnTo>
                  <a:lnTo>
                    <a:pt x="1698" y="348"/>
                  </a:lnTo>
                  <a:lnTo>
                    <a:pt x="1632" y="348"/>
                  </a:lnTo>
                  <a:lnTo>
                    <a:pt x="1614" y="354"/>
                  </a:lnTo>
                  <a:lnTo>
                    <a:pt x="1560" y="354"/>
                  </a:lnTo>
                  <a:lnTo>
                    <a:pt x="1554" y="348"/>
                  </a:lnTo>
                  <a:lnTo>
                    <a:pt x="1548" y="348"/>
                  </a:lnTo>
                  <a:lnTo>
                    <a:pt x="1554" y="342"/>
                  </a:lnTo>
                  <a:lnTo>
                    <a:pt x="1560" y="342"/>
                  </a:lnTo>
                  <a:lnTo>
                    <a:pt x="1572" y="330"/>
                  </a:lnTo>
                  <a:lnTo>
                    <a:pt x="1566" y="324"/>
                  </a:lnTo>
                  <a:lnTo>
                    <a:pt x="1458" y="324"/>
                  </a:lnTo>
                  <a:lnTo>
                    <a:pt x="1452" y="330"/>
                  </a:lnTo>
                  <a:lnTo>
                    <a:pt x="1452" y="348"/>
                  </a:lnTo>
                  <a:lnTo>
                    <a:pt x="1434" y="348"/>
                  </a:lnTo>
                  <a:lnTo>
                    <a:pt x="1422" y="354"/>
                  </a:lnTo>
                  <a:lnTo>
                    <a:pt x="1404" y="354"/>
                  </a:lnTo>
                  <a:lnTo>
                    <a:pt x="1386" y="360"/>
                  </a:lnTo>
                  <a:lnTo>
                    <a:pt x="1338" y="360"/>
                  </a:lnTo>
                  <a:lnTo>
                    <a:pt x="1308" y="366"/>
                  </a:lnTo>
                  <a:lnTo>
                    <a:pt x="1254" y="384"/>
                  </a:lnTo>
                  <a:lnTo>
                    <a:pt x="1254" y="390"/>
                  </a:lnTo>
                  <a:lnTo>
                    <a:pt x="1272" y="396"/>
                  </a:lnTo>
                  <a:lnTo>
                    <a:pt x="1284" y="402"/>
                  </a:lnTo>
                  <a:lnTo>
                    <a:pt x="1314" y="402"/>
                  </a:lnTo>
                  <a:lnTo>
                    <a:pt x="1272" y="420"/>
                  </a:lnTo>
                  <a:lnTo>
                    <a:pt x="1260" y="462"/>
                  </a:lnTo>
                  <a:lnTo>
                    <a:pt x="1272" y="462"/>
                  </a:lnTo>
                  <a:lnTo>
                    <a:pt x="1290" y="468"/>
                  </a:lnTo>
                  <a:lnTo>
                    <a:pt x="1338" y="468"/>
                  </a:lnTo>
                  <a:lnTo>
                    <a:pt x="1350" y="462"/>
                  </a:lnTo>
                  <a:lnTo>
                    <a:pt x="1362" y="462"/>
                  </a:lnTo>
                  <a:lnTo>
                    <a:pt x="1410" y="474"/>
                  </a:lnTo>
                  <a:lnTo>
                    <a:pt x="1422" y="456"/>
                  </a:lnTo>
                  <a:lnTo>
                    <a:pt x="1434" y="474"/>
                  </a:lnTo>
                  <a:lnTo>
                    <a:pt x="1446" y="468"/>
                  </a:lnTo>
                  <a:lnTo>
                    <a:pt x="1452" y="462"/>
                  </a:lnTo>
                  <a:lnTo>
                    <a:pt x="1476" y="450"/>
                  </a:lnTo>
                  <a:lnTo>
                    <a:pt x="1482" y="444"/>
                  </a:lnTo>
                  <a:lnTo>
                    <a:pt x="1494" y="444"/>
                  </a:lnTo>
                  <a:lnTo>
                    <a:pt x="1506" y="450"/>
                  </a:lnTo>
                  <a:lnTo>
                    <a:pt x="1524" y="450"/>
                  </a:lnTo>
                  <a:lnTo>
                    <a:pt x="1536" y="444"/>
                  </a:lnTo>
                  <a:lnTo>
                    <a:pt x="1542" y="438"/>
                  </a:lnTo>
                  <a:lnTo>
                    <a:pt x="1554" y="432"/>
                  </a:lnTo>
                  <a:lnTo>
                    <a:pt x="1560" y="432"/>
                  </a:lnTo>
                  <a:lnTo>
                    <a:pt x="1566" y="426"/>
                  </a:lnTo>
                  <a:lnTo>
                    <a:pt x="1566" y="450"/>
                  </a:lnTo>
                  <a:lnTo>
                    <a:pt x="1560" y="462"/>
                  </a:lnTo>
                  <a:lnTo>
                    <a:pt x="1554" y="468"/>
                  </a:lnTo>
                  <a:lnTo>
                    <a:pt x="1500" y="468"/>
                  </a:lnTo>
                  <a:lnTo>
                    <a:pt x="1506" y="498"/>
                  </a:lnTo>
                  <a:lnTo>
                    <a:pt x="1494" y="504"/>
                  </a:lnTo>
                  <a:lnTo>
                    <a:pt x="1488" y="516"/>
                  </a:lnTo>
                  <a:lnTo>
                    <a:pt x="1476" y="522"/>
                  </a:lnTo>
                  <a:lnTo>
                    <a:pt x="1464" y="534"/>
                  </a:lnTo>
                  <a:lnTo>
                    <a:pt x="1446" y="540"/>
                  </a:lnTo>
                  <a:lnTo>
                    <a:pt x="1380" y="540"/>
                  </a:lnTo>
                  <a:lnTo>
                    <a:pt x="1362" y="522"/>
                  </a:lnTo>
                  <a:lnTo>
                    <a:pt x="1344" y="534"/>
                  </a:lnTo>
                  <a:lnTo>
                    <a:pt x="1344" y="546"/>
                  </a:lnTo>
                  <a:lnTo>
                    <a:pt x="1338" y="546"/>
                  </a:lnTo>
                  <a:lnTo>
                    <a:pt x="1332" y="552"/>
                  </a:lnTo>
                  <a:lnTo>
                    <a:pt x="1320" y="558"/>
                  </a:lnTo>
                  <a:lnTo>
                    <a:pt x="1302" y="564"/>
                  </a:lnTo>
                  <a:lnTo>
                    <a:pt x="1290" y="570"/>
                  </a:lnTo>
                  <a:lnTo>
                    <a:pt x="1266" y="570"/>
                  </a:lnTo>
                  <a:lnTo>
                    <a:pt x="1242" y="558"/>
                  </a:lnTo>
                  <a:lnTo>
                    <a:pt x="1236" y="558"/>
                  </a:lnTo>
                  <a:lnTo>
                    <a:pt x="1140" y="606"/>
                  </a:lnTo>
                  <a:lnTo>
                    <a:pt x="1122" y="624"/>
                  </a:lnTo>
                  <a:lnTo>
                    <a:pt x="1116" y="606"/>
                  </a:lnTo>
                  <a:lnTo>
                    <a:pt x="1080" y="624"/>
                  </a:lnTo>
                  <a:lnTo>
                    <a:pt x="1068" y="624"/>
                  </a:lnTo>
                  <a:lnTo>
                    <a:pt x="1044" y="636"/>
                  </a:lnTo>
                  <a:lnTo>
                    <a:pt x="1020" y="660"/>
                  </a:lnTo>
                  <a:lnTo>
                    <a:pt x="990" y="648"/>
                  </a:lnTo>
                  <a:lnTo>
                    <a:pt x="990" y="672"/>
                  </a:lnTo>
                  <a:lnTo>
                    <a:pt x="984" y="666"/>
                  </a:lnTo>
                  <a:lnTo>
                    <a:pt x="972" y="666"/>
                  </a:lnTo>
                  <a:lnTo>
                    <a:pt x="966" y="672"/>
                  </a:lnTo>
                  <a:lnTo>
                    <a:pt x="966" y="690"/>
                  </a:lnTo>
                  <a:lnTo>
                    <a:pt x="954" y="708"/>
                  </a:lnTo>
                  <a:lnTo>
                    <a:pt x="1014" y="684"/>
                  </a:lnTo>
                  <a:lnTo>
                    <a:pt x="990" y="702"/>
                  </a:lnTo>
                  <a:lnTo>
                    <a:pt x="990" y="714"/>
                  </a:lnTo>
                  <a:lnTo>
                    <a:pt x="972" y="726"/>
                  </a:lnTo>
                  <a:lnTo>
                    <a:pt x="1026" y="726"/>
                  </a:lnTo>
                  <a:lnTo>
                    <a:pt x="1032" y="732"/>
                  </a:lnTo>
                  <a:lnTo>
                    <a:pt x="1032" y="738"/>
                  </a:lnTo>
                  <a:lnTo>
                    <a:pt x="1020" y="744"/>
                  </a:lnTo>
                  <a:lnTo>
                    <a:pt x="984" y="744"/>
                  </a:lnTo>
                  <a:lnTo>
                    <a:pt x="960" y="750"/>
                  </a:lnTo>
                  <a:lnTo>
                    <a:pt x="972" y="738"/>
                  </a:lnTo>
                  <a:lnTo>
                    <a:pt x="960" y="732"/>
                  </a:lnTo>
                  <a:lnTo>
                    <a:pt x="954" y="732"/>
                  </a:lnTo>
                  <a:lnTo>
                    <a:pt x="948" y="738"/>
                  </a:lnTo>
                  <a:lnTo>
                    <a:pt x="936" y="744"/>
                  </a:lnTo>
                  <a:lnTo>
                    <a:pt x="930" y="750"/>
                  </a:lnTo>
                  <a:lnTo>
                    <a:pt x="924" y="750"/>
                  </a:lnTo>
                  <a:lnTo>
                    <a:pt x="918" y="756"/>
                  </a:lnTo>
                  <a:lnTo>
                    <a:pt x="924" y="756"/>
                  </a:lnTo>
                  <a:lnTo>
                    <a:pt x="930" y="762"/>
                  </a:lnTo>
                  <a:lnTo>
                    <a:pt x="930" y="768"/>
                  </a:lnTo>
                  <a:lnTo>
                    <a:pt x="924" y="774"/>
                  </a:lnTo>
                  <a:lnTo>
                    <a:pt x="924" y="780"/>
                  </a:lnTo>
                  <a:lnTo>
                    <a:pt x="918" y="792"/>
                  </a:lnTo>
                  <a:lnTo>
                    <a:pt x="918" y="804"/>
                  </a:lnTo>
                  <a:lnTo>
                    <a:pt x="990" y="804"/>
                  </a:lnTo>
                  <a:lnTo>
                    <a:pt x="1038" y="774"/>
                  </a:lnTo>
                  <a:lnTo>
                    <a:pt x="1104" y="750"/>
                  </a:lnTo>
                  <a:lnTo>
                    <a:pt x="1098" y="750"/>
                  </a:lnTo>
                  <a:lnTo>
                    <a:pt x="1092" y="756"/>
                  </a:lnTo>
                  <a:lnTo>
                    <a:pt x="1080" y="762"/>
                  </a:lnTo>
                  <a:lnTo>
                    <a:pt x="1062" y="768"/>
                  </a:lnTo>
                  <a:lnTo>
                    <a:pt x="1050" y="780"/>
                  </a:lnTo>
                  <a:lnTo>
                    <a:pt x="1038" y="786"/>
                  </a:lnTo>
                  <a:lnTo>
                    <a:pt x="1026" y="798"/>
                  </a:lnTo>
                  <a:lnTo>
                    <a:pt x="1026" y="816"/>
                  </a:lnTo>
                  <a:lnTo>
                    <a:pt x="1020" y="828"/>
                  </a:lnTo>
                  <a:lnTo>
                    <a:pt x="990" y="828"/>
                  </a:lnTo>
                  <a:lnTo>
                    <a:pt x="978" y="834"/>
                  </a:lnTo>
                  <a:lnTo>
                    <a:pt x="972" y="852"/>
                  </a:lnTo>
                  <a:lnTo>
                    <a:pt x="966" y="864"/>
                  </a:lnTo>
                  <a:lnTo>
                    <a:pt x="954" y="870"/>
                  </a:lnTo>
                  <a:lnTo>
                    <a:pt x="942" y="882"/>
                  </a:lnTo>
                  <a:lnTo>
                    <a:pt x="930" y="888"/>
                  </a:lnTo>
                  <a:lnTo>
                    <a:pt x="924" y="894"/>
                  </a:lnTo>
                  <a:lnTo>
                    <a:pt x="978" y="888"/>
                  </a:lnTo>
                  <a:lnTo>
                    <a:pt x="972" y="906"/>
                  </a:lnTo>
                  <a:lnTo>
                    <a:pt x="978" y="894"/>
                  </a:lnTo>
                  <a:lnTo>
                    <a:pt x="990" y="888"/>
                  </a:lnTo>
                  <a:lnTo>
                    <a:pt x="1002" y="876"/>
                  </a:lnTo>
                  <a:lnTo>
                    <a:pt x="1026" y="864"/>
                  </a:lnTo>
                  <a:lnTo>
                    <a:pt x="1038" y="864"/>
                  </a:lnTo>
                  <a:lnTo>
                    <a:pt x="1050" y="870"/>
                  </a:lnTo>
                  <a:lnTo>
                    <a:pt x="1056" y="870"/>
                  </a:lnTo>
                  <a:lnTo>
                    <a:pt x="1056" y="876"/>
                  </a:lnTo>
                  <a:lnTo>
                    <a:pt x="1050" y="876"/>
                  </a:lnTo>
                  <a:lnTo>
                    <a:pt x="1074" y="870"/>
                  </a:lnTo>
                  <a:lnTo>
                    <a:pt x="1068" y="876"/>
                  </a:lnTo>
                  <a:lnTo>
                    <a:pt x="1068" y="906"/>
                  </a:lnTo>
                  <a:lnTo>
                    <a:pt x="1074" y="912"/>
                  </a:lnTo>
                  <a:lnTo>
                    <a:pt x="1092" y="912"/>
                  </a:lnTo>
                  <a:lnTo>
                    <a:pt x="1098" y="900"/>
                  </a:lnTo>
                  <a:lnTo>
                    <a:pt x="1110" y="894"/>
                  </a:lnTo>
                  <a:lnTo>
                    <a:pt x="1116" y="888"/>
                  </a:lnTo>
                  <a:lnTo>
                    <a:pt x="1122" y="876"/>
                  </a:lnTo>
                  <a:lnTo>
                    <a:pt x="1164" y="858"/>
                  </a:lnTo>
                  <a:lnTo>
                    <a:pt x="1176" y="870"/>
                  </a:lnTo>
                  <a:lnTo>
                    <a:pt x="1146" y="870"/>
                  </a:lnTo>
                  <a:lnTo>
                    <a:pt x="1140" y="876"/>
                  </a:lnTo>
                  <a:lnTo>
                    <a:pt x="1140" y="882"/>
                  </a:lnTo>
                  <a:lnTo>
                    <a:pt x="1134" y="888"/>
                  </a:lnTo>
                  <a:lnTo>
                    <a:pt x="1134" y="894"/>
                  </a:lnTo>
                  <a:lnTo>
                    <a:pt x="1152" y="894"/>
                  </a:lnTo>
                  <a:lnTo>
                    <a:pt x="1164" y="888"/>
                  </a:lnTo>
                  <a:lnTo>
                    <a:pt x="1182" y="888"/>
                  </a:lnTo>
                  <a:lnTo>
                    <a:pt x="1200" y="882"/>
                  </a:lnTo>
                  <a:lnTo>
                    <a:pt x="1218" y="882"/>
                  </a:lnTo>
                  <a:lnTo>
                    <a:pt x="1224" y="876"/>
                  </a:lnTo>
                  <a:lnTo>
                    <a:pt x="1230" y="876"/>
                  </a:lnTo>
                  <a:lnTo>
                    <a:pt x="1272" y="858"/>
                  </a:lnTo>
                  <a:lnTo>
                    <a:pt x="1224" y="882"/>
                  </a:lnTo>
                  <a:lnTo>
                    <a:pt x="1224" y="894"/>
                  </a:lnTo>
                  <a:lnTo>
                    <a:pt x="1212" y="894"/>
                  </a:lnTo>
                  <a:lnTo>
                    <a:pt x="1200" y="900"/>
                  </a:lnTo>
                  <a:lnTo>
                    <a:pt x="1188" y="900"/>
                  </a:lnTo>
                  <a:lnTo>
                    <a:pt x="1176" y="906"/>
                  </a:lnTo>
                  <a:lnTo>
                    <a:pt x="1170" y="912"/>
                  </a:lnTo>
                  <a:lnTo>
                    <a:pt x="1158" y="918"/>
                  </a:lnTo>
                  <a:lnTo>
                    <a:pt x="1152" y="930"/>
                  </a:lnTo>
                  <a:lnTo>
                    <a:pt x="1122" y="930"/>
                  </a:lnTo>
                  <a:lnTo>
                    <a:pt x="1086" y="960"/>
                  </a:lnTo>
                  <a:lnTo>
                    <a:pt x="1086" y="978"/>
                  </a:lnTo>
                  <a:lnTo>
                    <a:pt x="1038" y="978"/>
                  </a:lnTo>
                  <a:lnTo>
                    <a:pt x="1032" y="984"/>
                  </a:lnTo>
                  <a:lnTo>
                    <a:pt x="1020" y="984"/>
                  </a:lnTo>
                  <a:lnTo>
                    <a:pt x="1002" y="990"/>
                  </a:lnTo>
                  <a:lnTo>
                    <a:pt x="990" y="996"/>
                  </a:lnTo>
                  <a:lnTo>
                    <a:pt x="978" y="996"/>
                  </a:lnTo>
                  <a:lnTo>
                    <a:pt x="966" y="1008"/>
                  </a:lnTo>
                  <a:lnTo>
                    <a:pt x="966" y="1020"/>
                  </a:lnTo>
                  <a:lnTo>
                    <a:pt x="960" y="1026"/>
                  </a:lnTo>
                  <a:lnTo>
                    <a:pt x="960" y="1038"/>
                  </a:lnTo>
                  <a:lnTo>
                    <a:pt x="876" y="1038"/>
                  </a:lnTo>
                  <a:lnTo>
                    <a:pt x="858" y="1044"/>
                  </a:lnTo>
                  <a:lnTo>
                    <a:pt x="828" y="1062"/>
                  </a:lnTo>
                  <a:lnTo>
                    <a:pt x="804" y="1080"/>
                  </a:lnTo>
                  <a:lnTo>
                    <a:pt x="780" y="1092"/>
                  </a:lnTo>
                  <a:lnTo>
                    <a:pt x="774" y="1098"/>
                  </a:lnTo>
                  <a:lnTo>
                    <a:pt x="750" y="1104"/>
                  </a:lnTo>
                  <a:lnTo>
                    <a:pt x="738" y="1122"/>
                  </a:lnTo>
                  <a:lnTo>
                    <a:pt x="732" y="1104"/>
                  </a:lnTo>
                  <a:lnTo>
                    <a:pt x="672" y="1104"/>
                  </a:lnTo>
                  <a:lnTo>
                    <a:pt x="648" y="1116"/>
                  </a:lnTo>
                  <a:lnTo>
                    <a:pt x="630" y="1122"/>
                  </a:lnTo>
                  <a:lnTo>
                    <a:pt x="624" y="1128"/>
                  </a:lnTo>
                  <a:lnTo>
                    <a:pt x="606" y="1128"/>
                  </a:lnTo>
                  <a:lnTo>
                    <a:pt x="606" y="1140"/>
                  </a:lnTo>
                  <a:lnTo>
                    <a:pt x="576" y="1146"/>
                  </a:lnTo>
                  <a:lnTo>
                    <a:pt x="564" y="1152"/>
                  </a:lnTo>
                  <a:lnTo>
                    <a:pt x="540" y="1152"/>
                  </a:lnTo>
                  <a:lnTo>
                    <a:pt x="516" y="1170"/>
                  </a:lnTo>
                  <a:lnTo>
                    <a:pt x="522" y="1182"/>
                  </a:lnTo>
                  <a:lnTo>
                    <a:pt x="540" y="1164"/>
                  </a:lnTo>
                  <a:lnTo>
                    <a:pt x="558" y="1176"/>
                  </a:lnTo>
                  <a:lnTo>
                    <a:pt x="582" y="1158"/>
                  </a:lnTo>
                  <a:lnTo>
                    <a:pt x="582" y="1170"/>
                  </a:lnTo>
                  <a:lnTo>
                    <a:pt x="594" y="1170"/>
                  </a:lnTo>
                  <a:lnTo>
                    <a:pt x="606" y="1164"/>
                  </a:lnTo>
                  <a:lnTo>
                    <a:pt x="618" y="1164"/>
                  </a:lnTo>
                  <a:lnTo>
                    <a:pt x="642" y="1140"/>
                  </a:lnTo>
                  <a:lnTo>
                    <a:pt x="654" y="1134"/>
                  </a:lnTo>
                  <a:lnTo>
                    <a:pt x="666" y="1122"/>
                  </a:lnTo>
                  <a:lnTo>
                    <a:pt x="684" y="1122"/>
                  </a:lnTo>
                  <a:lnTo>
                    <a:pt x="684" y="1134"/>
                  </a:lnTo>
                  <a:lnTo>
                    <a:pt x="690" y="1140"/>
                  </a:lnTo>
                  <a:lnTo>
                    <a:pt x="708" y="1140"/>
                  </a:lnTo>
                  <a:lnTo>
                    <a:pt x="732" y="1128"/>
                  </a:lnTo>
                  <a:lnTo>
                    <a:pt x="744" y="1128"/>
                  </a:lnTo>
                  <a:lnTo>
                    <a:pt x="756" y="1122"/>
                  </a:lnTo>
                  <a:lnTo>
                    <a:pt x="762" y="1116"/>
                  </a:lnTo>
                  <a:lnTo>
                    <a:pt x="768" y="1116"/>
                  </a:lnTo>
                  <a:lnTo>
                    <a:pt x="804" y="1128"/>
                  </a:lnTo>
                  <a:lnTo>
                    <a:pt x="822" y="1110"/>
                  </a:lnTo>
                  <a:lnTo>
                    <a:pt x="834" y="1110"/>
                  </a:lnTo>
                  <a:lnTo>
                    <a:pt x="852" y="1104"/>
                  </a:lnTo>
                  <a:lnTo>
                    <a:pt x="870" y="1104"/>
                  </a:lnTo>
                  <a:lnTo>
                    <a:pt x="894" y="1092"/>
                  </a:lnTo>
                  <a:lnTo>
                    <a:pt x="918" y="1068"/>
                  </a:lnTo>
                  <a:lnTo>
                    <a:pt x="942" y="1056"/>
                  </a:lnTo>
                  <a:lnTo>
                    <a:pt x="972" y="1056"/>
                  </a:lnTo>
                  <a:lnTo>
                    <a:pt x="978" y="1044"/>
                  </a:lnTo>
                  <a:lnTo>
                    <a:pt x="1014" y="1044"/>
                  </a:lnTo>
                  <a:lnTo>
                    <a:pt x="1026" y="1038"/>
                  </a:lnTo>
                  <a:lnTo>
                    <a:pt x="1032" y="1038"/>
                  </a:lnTo>
                  <a:lnTo>
                    <a:pt x="1038" y="1032"/>
                  </a:lnTo>
                  <a:lnTo>
                    <a:pt x="1050" y="1032"/>
                  </a:lnTo>
                  <a:lnTo>
                    <a:pt x="1086" y="1020"/>
                  </a:lnTo>
                  <a:lnTo>
                    <a:pt x="1110" y="1008"/>
                  </a:lnTo>
                  <a:lnTo>
                    <a:pt x="1122" y="996"/>
                  </a:lnTo>
                  <a:lnTo>
                    <a:pt x="1134" y="990"/>
                  </a:lnTo>
                  <a:lnTo>
                    <a:pt x="1140" y="984"/>
                  </a:lnTo>
                  <a:lnTo>
                    <a:pt x="1206" y="972"/>
                  </a:lnTo>
                  <a:lnTo>
                    <a:pt x="1260" y="942"/>
                  </a:lnTo>
                  <a:lnTo>
                    <a:pt x="1296" y="942"/>
                  </a:lnTo>
                  <a:lnTo>
                    <a:pt x="1314" y="936"/>
                  </a:lnTo>
                  <a:lnTo>
                    <a:pt x="1326" y="936"/>
                  </a:lnTo>
                  <a:lnTo>
                    <a:pt x="1338" y="930"/>
                  </a:lnTo>
                  <a:lnTo>
                    <a:pt x="1368" y="900"/>
                  </a:lnTo>
                  <a:lnTo>
                    <a:pt x="1380" y="900"/>
                  </a:lnTo>
                  <a:lnTo>
                    <a:pt x="1404" y="888"/>
                  </a:lnTo>
                  <a:lnTo>
                    <a:pt x="1416" y="888"/>
                  </a:lnTo>
                  <a:lnTo>
                    <a:pt x="1428" y="882"/>
                  </a:lnTo>
                  <a:lnTo>
                    <a:pt x="1434" y="876"/>
                  </a:lnTo>
                  <a:lnTo>
                    <a:pt x="1434" y="864"/>
                  </a:lnTo>
                  <a:lnTo>
                    <a:pt x="1422" y="864"/>
                  </a:lnTo>
                  <a:lnTo>
                    <a:pt x="1428" y="858"/>
                  </a:lnTo>
                  <a:lnTo>
                    <a:pt x="1452" y="846"/>
                  </a:lnTo>
                  <a:lnTo>
                    <a:pt x="1458" y="840"/>
                  </a:lnTo>
                  <a:lnTo>
                    <a:pt x="1470" y="834"/>
                  </a:lnTo>
                  <a:lnTo>
                    <a:pt x="1476" y="828"/>
                  </a:lnTo>
                  <a:lnTo>
                    <a:pt x="1488" y="828"/>
                  </a:lnTo>
                  <a:lnTo>
                    <a:pt x="1500" y="822"/>
                  </a:lnTo>
                  <a:lnTo>
                    <a:pt x="1512" y="822"/>
                  </a:lnTo>
                  <a:lnTo>
                    <a:pt x="1518" y="816"/>
                  </a:lnTo>
                  <a:lnTo>
                    <a:pt x="1524" y="816"/>
                  </a:lnTo>
                  <a:lnTo>
                    <a:pt x="1596" y="786"/>
                  </a:lnTo>
                  <a:lnTo>
                    <a:pt x="1590" y="768"/>
                  </a:lnTo>
                  <a:lnTo>
                    <a:pt x="1602" y="768"/>
                  </a:lnTo>
                  <a:lnTo>
                    <a:pt x="1608" y="774"/>
                  </a:lnTo>
                  <a:lnTo>
                    <a:pt x="1626" y="774"/>
                  </a:lnTo>
                  <a:lnTo>
                    <a:pt x="1638" y="762"/>
                  </a:lnTo>
                  <a:lnTo>
                    <a:pt x="1650" y="762"/>
                  </a:lnTo>
                  <a:lnTo>
                    <a:pt x="1674" y="750"/>
                  </a:lnTo>
                  <a:lnTo>
                    <a:pt x="1680" y="744"/>
                  </a:lnTo>
                  <a:lnTo>
                    <a:pt x="1704" y="732"/>
                  </a:lnTo>
                  <a:lnTo>
                    <a:pt x="1740" y="720"/>
                  </a:lnTo>
                  <a:lnTo>
                    <a:pt x="1770" y="708"/>
                  </a:lnTo>
                  <a:lnTo>
                    <a:pt x="1794" y="702"/>
                  </a:lnTo>
                  <a:lnTo>
                    <a:pt x="1812" y="702"/>
                  </a:lnTo>
                  <a:lnTo>
                    <a:pt x="1818" y="708"/>
                  </a:lnTo>
                  <a:lnTo>
                    <a:pt x="1842" y="720"/>
                  </a:lnTo>
                  <a:lnTo>
                    <a:pt x="1848" y="726"/>
                  </a:lnTo>
                  <a:lnTo>
                    <a:pt x="1812" y="726"/>
                  </a:lnTo>
                  <a:lnTo>
                    <a:pt x="1794" y="714"/>
                  </a:lnTo>
                  <a:lnTo>
                    <a:pt x="1758" y="738"/>
                  </a:lnTo>
                  <a:lnTo>
                    <a:pt x="1728" y="738"/>
                  </a:lnTo>
                  <a:lnTo>
                    <a:pt x="1722" y="744"/>
                  </a:lnTo>
                  <a:lnTo>
                    <a:pt x="1710" y="750"/>
                  </a:lnTo>
                  <a:lnTo>
                    <a:pt x="1704" y="762"/>
                  </a:lnTo>
                  <a:lnTo>
                    <a:pt x="1692" y="768"/>
                  </a:lnTo>
                  <a:lnTo>
                    <a:pt x="1686" y="774"/>
                  </a:lnTo>
                  <a:lnTo>
                    <a:pt x="1680" y="774"/>
                  </a:lnTo>
                  <a:lnTo>
                    <a:pt x="1668" y="780"/>
                  </a:lnTo>
                  <a:lnTo>
                    <a:pt x="1656" y="780"/>
                  </a:lnTo>
                  <a:lnTo>
                    <a:pt x="1638" y="786"/>
                  </a:lnTo>
                  <a:lnTo>
                    <a:pt x="1614" y="798"/>
                  </a:lnTo>
                  <a:lnTo>
                    <a:pt x="1614" y="804"/>
                  </a:lnTo>
                  <a:lnTo>
                    <a:pt x="1620" y="810"/>
                  </a:lnTo>
                  <a:lnTo>
                    <a:pt x="1632" y="816"/>
                  </a:lnTo>
                  <a:lnTo>
                    <a:pt x="1650" y="816"/>
                  </a:lnTo>
                  <a:lnTo>
                    <a:pt x="1644" y="816"/>
                  </a:lnTo>
                  <a:lnTo>
                    <a:pt x="1638" y="822"/>
                  </a:lnTo>
                  <a:lnTo>
                    <a:pt x="1632" y="822"/>
                  </a:lnTo>
                  <a:lnTo>
                    <a:pt x="1620" y="828"/>
                  </a:lnTo>
                  <a:lnTo>
                    <a:pt x="1572" y="828"/>
                  </a:lnTo>
                  <a:lnTo>
                    <a:pt x="1566" y="834"/>
                  </a:lnTo>
                  <a:lnTo>
                    <a:pt x="1560" y="834"/>
                  </a:lnTo>
                  <a:lnTo>
                    <a:pt x="1560" y="846"/>
                  </a:lnTo>
                  <a:lnTo>
                    <a:pt x="1572" y="858"/>
                  </a:lnTo>
                  <a:lnTo>
                    <a:pt x="1584" y="858"/>
                  </a:lnTo>
                  <a:lnTo>
                    <a:pt x="1596" y="852"/>
                  </a:lnTo>
                  <a:lnTo>
                    <a:pt x="1638" y="834"/>
                  </a:lnTo>
                  <a:lnTo>
                    <a:pt x="1680" y="810"/>
                  </a:lnTo>
                  <a:lnTo>
                    <a:pt x="1722" y="798"/>
                  </a:lnTo>
                  <a:lnTo>
                    <a:pt x="1788" y="798"/>
                  </a:lnTo>
                  <a:lnTo>
                    <a:pt x="1818" y="792"/>
                  </a:lnTo>
                  <a:lnTo>
                    <a:pt x="1824" y="786"/>
                  </a:lnTo>
                  <a:lnTo>
                    <a:pt x="1848" y="774"/>
                  </a:lnTo>
                  <a:lnTo>
                    <a:pt x="1854" y="762"/>
                  </a:lnTo>
                  <a:lnTo>
                    <a:pt x="1866" y="756"/>
                  </a:lnTo>
                  <a:lnTo>
                    <a:pt x="1872" y="750"/>
                  </a:lnTo>
                  <a:lnTo>
                    <a:pt x="1866" y="738"/>
                  </a:lnTo>
                  <a:lnTo>
                    <a:pt x="1878" y="732"/>
                  </a:lnTo>
                  <a:lnTo>
                    <a:pt x="1908" y="720"/>
                  </a:lnTo>
                  <a:lnTo>
                    <a:pt x="1944" y="714"/>
                  </a:lnTo>
                  <a:lnTo>
                    <a:pt x="1962" y="708"/>
                  </a:lnTo>
                  <a:lnTo>
                    <a:pt x="1968" y="708"/>
                  </a:lnTo>
                  <a:lnTo>
                    <a:pt x="1980" y="720"/>
                  </a:lnTo>
                  <a:lnTo>
                    <a:pt x="1980" y="726"/>
                  </a:lnTo>
                  <a:lnTo>
                    <a:pt x="2046" y="702"/>
                  </a:lnTo>
                  <a:lnTo>
                    <a:pt x="2004" y="738"/>
                  </a:lnTo>
                  <a:lnTo>
                    <a:pt x="2022" y="744"/>
                  </a:lnTo>
                  <a:lnTo>
                    <a:pt x="2022" y="762"/>
                  </a:lnTo>
                  <a:lnTo>
                    <a:pt x="2028" y="762"/>
                  </a:lnTo>
                  <a:lnTo>
                    <a:pt x="2034" y="756"/>
                  </a:lnTo>
                  <a:lnTo>
                    <a:pt x="2094" y="726"/>
                  </a:lnTo>
                  <a:lnTo>
                    <a:pt x="2082" y="732"/>
                  </a:lnTo>
                  <a:lnTo>
                    <a:pt x="2076" y="744"/>
                  </a:lnTo>
                  <a:lnTo>
                    <a:pt x="2064" y="750"/>
                  </a:lnTo>
                  <a:lnTo>
                    <a:pt x="2058" y="762"/>
                  </a:lnTo>
                  <a:lnTo>
                    <a:pt x="2046" y="774"/>
                  </a:lnTo>
                  <a:lnTo>
                    <a:pt x="2052" y="780"/>
                  </a:lnTo>
                  <a:lnTo>
                    <a:pt x="2064" y="780"/>
                  </a:lnTo>
                  <a:lnTo>
                    <a:pt x="2076" y="786"/>
                  </a:lnTo>
                  <a:lnTo>
                    <a:pt x="2106" y="786"/>
                  </a:lnTo>
                  <a:lnTo>
                    <a:pt x="2208" y="798"/>
                  </a:lnTo>
                  <a:lnTo>
                    <a:pt x="2238" y="780"/>
                  </a:lnTo>
                  <a:lnTo>
                    <a:pt x="2232" y="786"/>
                  </a:lnTo>
                  <a:lnTo>
                    <a:pt x="2232" y="810"/>
                  </a:lnTo>
                  <a:lnTo>
                    <a:pt x="2298" y="810"/>
                  </a:lnTo>
                  <a:lnTo>
                    <a:pt x="2334" y="804"/>
                  </a:lnTo>
                  <a:lnTo>
                    <a:pt x="2328" y="804"/>
                  </a:lnTo>
                  <a:lnTo>
                    <a:pt x="2322" y="810"/>
                  </a:lnTo>
                  <a:lnTo>
                    <a:pt x="2310" y="810"/>
                  </a:lnTo>
                  <a:lnTo>
                    <a:pt x="2286" y="822"/>
                  </a:lnTo>
                  <a:lnTo>
                    <a:pt x="2280" y="828"/>
                  </a:lnTo>
                  <a:lnTo>
                    <a:pt x="2280" y="834"/>
                  </a:lnTo>
                  <a:lnTo>
                    <a:pt x="2292" y="846"/>
                  </a:lnTo>
                  <a:lnTo>
                    <a:pt x="2304" y="852"/>
                  </a:lnTo>
                  <a:lnTo>
                    <a:pt x="2310" y="858"/>
                  </a:lnTo>
                  <a:lnTo>
                    <a:pt x="2310" y="882"/>
                  </a:lnTo>
                  <a:lnTo>
                    <a:pt x="2316" y="888"/>
                  </a:lnTo>
                  <a:lnTo>
                    <a:pt x="2316" y="900"/>
                  </a:lnTo>
                  <a:lnTo>
                    <a:pt x="2322" y="912"/>
                  </a:lnTo>
                  <a:lnTo>
                    <a:pt x="2358" y="912"/>
                  </a:lnTo>
                  <a:lnTo>
                    <a:pt x="2370" y="906"/>
                  </a:lnTo>
                  <a:lnTo>
                    <a:pt x="2388" y="906"/>
                  </a:lnTo>
                  <a:lnTo>
                    <a:pt x="2382" y="876"/>
                  </a:lnTo>
                  <a:lnTo>
                    <a:pt x="2400" y="870"/>
                  </a:lnTo>
                  <a:lnTo>
                    <a:pt x="2412" y="888"/>
                  </a:lnTo>
                  <a:lnTo>
                    <a:pt x="2442" y="876"/>
                  </a:lnTo>
                  <a:lnTo>
                    <a:pt x="2430" y="888"/>
                  </a:lnTo>
                  <a:lnTo>
                    <a:pt x="2430" y="900"/>
                  </a:lnTo>
                  <a:lnTo>
                    <a:pt x="2424" y="906"/>
                  </a:lnTo>
                  <a:lnTo>
                    <a:pt x="2424" y="912"/>
                  </a:lnTo>
                  <a:lnTo>
                    <a:pt x="2430" y="918"/>
                  </a:lnTo>
                  <a:lnTo>
                    <a:pt x="2436" y="918"/>
                  </a:lnTo>
                  <a:lnTo>
                    <a:pt x="2448" y="912"/>
                  </a:lnTo>
                  <a:lnTo>
                    <a:pt x="2454" y="906"/>
                  </a:lnTo>
                  <a:lnTo>
                    <a:pt x="2460" y="894"/>
                  </a:lnTo>
                  <a:lnTo>
                    <a:pt x="2466" y="888"/>
                  </a:lnTo>
                  <a:lnTo>
                    <a:pt x="2472" y="876"/>
                  </a:lnTo>
                  <a:lnTo>
                    <a:pt x="2502" y="834"/>
                  </a:lnTo>
                  <a:lnTo>
                    <a:pt x="2478" y="900"/>
                  </a:lnTo>
                  <a:lnTo>
                    <a:pt x="2484" y="924"/>
                  </a:lnTo>
                  <a:lnTo>
                    <a:pt x="2520" y="912"/>
                  </a:lnTo>
                  <a:lnTo>
                    <a:pt x="2496" y="936"/>
                  </a:lnTo>
                  <a:lnTo>
                    <a:pt x="2520" y="954"/>
                  </a:lnTo>
                  <a:lnTo>
                    <a:pt x="2502" y="954"/>
                  </a:lnTo>
                  <a:lnTo>
                    <a:pt x="2502" y="972"/>
                  </a:lnTo>
                  <a:lnTo>
                    <a:pt x="2472" y="990"/>
                  </a:lnTo>
                  <a:lnTo>
                    <a:pt x="2454" y="1002"/>
                  </a:lnTo>
                  <a:lnTo>
                    <a:pt x="2484" y="1020"/>
                  </a:lnTo>
                  <a:lnTo>
                    <a:pt x="2478" y="1050"/>
                  </a:lnTo>
                  <a:lnTo>
                    <a:pt x="2460" y="1068"/>
                  </a:lnTo>
                  <a:lnTo>
                    <a:pt x="2478" y="1080"/>
                  </a:lnTo>
                  <a:lnTo>
                    <a:pt x="2460" y="1098"/>
                  </a:lnTo>
                  <a:lnTo>
                    <a:pt x="2490" y="1098"/>
                  </a:lnTo>
                  <a:lnTo>
                    <a:pt x="2526" y="1086"/>
                  </a:lnTo>
                  <a:lnTo>
                    <a:pt x="2496" y="1122"/>
                  </a:lnTo>
                  <a:lnTo>
                    <a:pt x="2478" y="1140"/>
                  </a:lnTo>
                  <a:lnTo>
                    <a:pt x="2502" y="1146"/>
                  </a:lnTo>
                  <a:lnTo>
                    <a:pt x="2454" y="1164"/>
                  </a:lnTo>
                  <a:lnTo>
                    <a:pt x="2436" y="1176"/>
                  </a:lnTo>
                  <a:lnTo>
                    <a:pt x="2454" y="1188"/>
                  </a:lnTo>
                  <a:lnTo>
                    <a:pt x="2454" y="1200"/>
                  </a:lnTo>
                  <a:lnTo>
                    <a:pt x="2472" y="1188"/>
                  </a:lnTo>
                  <a:lnTo>
                    <a:pt x="2490" y="1182"/>
                  </a:lnTo>
                  <a:lnTo>
                    <a:pt x="2502" y="1170"/>
                  </a:lnTo>
                  <a:lnTo>
                    <a:pt x="2514" y="1164"/>
                  </a:lnTo>
                  <a:lnTo>
                    <a:pt x="2532" y="1146"/>
                  </a:lnTo>
                  <a:lnTo>
                    <a:pt x="2538" y="1134"/>
                  </a:lnTo>
                  <a:lnTo>
                    <a:pt x="2538" y="1122"/>
                  </a:lnTo>
                  <a:lnTo>
                    <a:pt x="2550" y="1116"/>
                  </a:lnTo>
                  <a:lnTo>
                    <a:pt x="2562" y="1104"/>
                  </a:lnTo>
                  <a:lnTo>
                    <a:pt x="2574" y="1098"/>
                  </a:lnTo>
                  <a:lnTo>
                    <a:pt x="2574" y="1086"/>
                  </a:lnTo>
                  <a:lnTo>
                    <a:pt x="2568" y="1080"/>
                  </a:lnTo>
                  <a:lnTo>
                    <a:pt x="2562" y="1080"/>
                  </a:lnTo>
                  <a:close/>
                  <a:moveTo>
                    <a:pt x="2394" y="1056"/>
                  </a:moveTo>
                  <a:lnTo>
                    <a:pt x="2400" y="1062"/>
                  </a:lnTo>
                  <a:lnTo>
                    <a:pt x="2418" y="1062"/>
                  </a:lnTo>
                  <a:lnTo>
                    <a:pt x="2436" y="1044"/>
                  </a:lnTo>
                  <a:lnTo>
                    <a:pt x="2460" y="1038"/>
                  </a:lnTo>
                  <a:lnTo>
                    <a:pt x="2454" y="1020"/>
                  </a:lnTo>
                  <a:lnTo>
                    <a:pt x="2430" y="1020"/>
                  </a:lnTo>
                  <a:lnTo>
                    <a:pt x="2418" y="1026"/>
                  </a:lnTo>
                  <a:lnTo>
                    <a:pt x="2412" y="1032"/>
                  </a:lnTo>
                  <a:lnTo>
                    <a:pt x="2406" y="1044"/>
                  </a:lnTo>
                  <a:lnTo>
                    <a:pt x="2394" y="1050"/>
                  </a:lnTo>
                  <a:lnTo>
                    <a:pt x="2394" y="1056"/>
                  </a:lnTo>
                  <a:close/>
                  <a:moveTo>
                    <a:pt x="2376" y="984"/>
                  </a:moveTo>
                  <a:lnTo>
                    <a:pt x="2358" y="984"/>
                  </a:lnTo>
                  <a:lnTo>
                    <a:pt x="2346" y="990"/>
                  </a:lnTo>
                  <a:lnTo>
                    <a:pt x="2334" y="1002"/>
                  </a:lnTo>
                  <a:lnTo>
                    <a:pt x="2334" y="1014"/>
                  </a:lnTo>
                  <a:lnTo>
                    <a:pt x="2322" y="1026"/>
                  </a:lnTo>
                  <a:lnTo>
                    <a:pt x="2322" y="1044"/>
                  </a:lnTo>
                  <a:lnTo>
                    <a:pt x="2310" y="1056"/>
                  </a:lnTo>
                  <a:lnTo>
                    <a:pt x="2310" y="1074"/>
                  </a:lnTo>
                  <a:lnTo>
                    <a:pt x="2316" y="1080"/>
                  </a:lnTo>
                  <a:lnTo>
                    <a:pt x="2322" y="1074"/>
                  </a:lnTo>
                  <a:lnTo>
                    <a:pt x="2328" y="1062"/>
                  </a:lnTo>
                  <a:lnTo>
                    <a:pt x="2340" y="1050"/>
                  </a:lnTo>
                  <a:lnTo>
                    <a:pt x="2352" y="1044"/>
                  </a:lnTo>
                  <a:lnTo>
                    <a:pt x="2376" y="1020"/>
                  </a:lnTo>
                  <a:lnTo>
                    <a:pt x="2382" y="1008"/>
                  </a:lnTo>
                  <a:lnTo>
                    <a:pt x="2382" y="990"/>
                  </a:lnTo>
                  <a:lnTo>
                    <a:pt x="2376" y="984"/>
                  </a:lnTo>
                  <a:close/>
                  <a:moveTo>
                    <a:pt x="786" y="810"/>
                  </a:moveTo>
                  <a:lnTo>
                    <a:pt x="798" y="810"/>
                  </a:lnTo>
                  <a:lnTo>
                    <a:pt x="834" y="798"/>
                  </a:lnTo>
                  <a:lnTo>
                    <a:pt x="858" y="786"/>
                  </a:lnTo>
                  <a:lnTo>
                    <a:pt x="864" y="780"/>
                  </a:lnTo>
                  <a:lnTo>
                    <a:pt x="870" y="780"/>
                  </a:lnTo>
                  <a:lnTo>
                    <a:pt x="864" y="774"/>
                  </a:lnTo>
                  <a:lnTo>
                    <a:pt x="828" y="762"/>
                  </a:lnTo>
                  <a:lnTo>
                    <a:pt x="810" y="762"/>
                  </a:lnTo>
                  <a:lnTo>
                    <a:pt x="798" y="768"/>
                  </a:lnTo>
                  <a:lnTo>
                    <a:pt x="792" y="774"/>
                  </a:lnTo>
                  <a:lnTo>
                    <a:pt x="786" y="768"/>
                  </a:lnTo>
                  <a:lnTo>
                    <a:pt x="774" y="768"/>
                  </a:lnTo>
                  <a:lnTo>
                    <a:pt x="768" y="774"/>
                  </a:lnTo>
                  <a:lnTo>
                    <a:pt x="768" y="804"/>
                  </a:lnTo>
                  <a:lnTo>
                    <a:pt x="774" y="810"/>
                  </a:lnTo>
                  <a:lnTo>
                    <a:pt x="786" y="810"/>
                  </a:lnTo>
                  <a:close/>
                  <a:moveTo>
                    <a:pt x="0" y="1332"/>
                  </a:moveTo>
                  <a:lnTo>
                    <a:pt x="60" y="1320"/>
                  </a:lnTo>
                  <a:lnTo>
                    <a:pt x="72" y="1302"/>
                  </a:lnTo>
                  <a:lnTo>
                    <a:pt x="132" y="1296"/>
                  </a:lnTo>
                  <a:lnTo>
                    <a:pt x="114" y="1272"/>
                  </a:lnTo>
                  <a:lnTo>
                    <a:pt x="0" y="1332"/>
                  </a:lnTo>
                  <a:close/>
                  <a:moveTo>
                    <a:pt x="1362" y="954"/>
                  </a:moveTo>
                  <a:lnTo>
                    <a:pt x="1350" y="954"/>
                  </a:lnTo>
                  <a:lnTo>
                    <a:pt x="1338" y="960"/>
                  </a:lnTo>
                  <a:lnTo>
                    <a:pt x="1332" y="954"/>
                  </a:lnTo>
                  <a:lnTo>
                    <a:pt x="1314" y="954"/>
                  </a:lnTo>
                  <a:lnTo>
                    <a:pt x="1314" y="978"/>
                  </a:lnTo>
                  <a:lnTo>
                    <a:pt x="1290" y="996"/>
                  </a:lnTo>
                  <a:lnTo>
                    <a:pt x="1290" y="972"/>
                  </a:lnTo>
                  <a:lnTo>
                    <a:pt x="1278" y="966"/>
                  </a:lnTo>
                  <a:lnTo>
                    <a:pt x="1272" y="966"/>
                  </a:lnTo>
                  <a:lnTo>
                    <a:pt x="1248" y="978"/>
                  </a:lnTo>
                  <a:lnTo>
                    <a:pt x="1242" y="978"/>
                  </a:lnTo>
                  <a:lnTo>
                    <a:pt x="1230" y="990"/>
                  </a:lnTo>
                  <a:lnTo>
                    <a:pt x="1224" y="1002"/>
                  </a:lnTo>
                  <a:lnTo>
                    <a:pt x="1218" y="1008"/>
                  </a:lnTo>
                  <a:lnTo>
                    <a:pt x="1218" y="1014"/>
                  </a:lnTo>
                  <a:lnTo>
                    <a:pt x="1224" y="1014"/>
                  </a:lnTo>
                  <a:lnTo>
                    <a:pt x="1230" y="1020"/>
                  </a:lnTo>
                  <a:lnTo>
                    <a:pt x="1278" y="1020"/>
                  </a:lnTo>
                  <a:lnTo>
                    <a:pt x="1296" y="1014"/>
                  </a:lnTo>
                  <a:lnTo>
                    <a:pt x="1308" y="1014"/>
                  </a:lnTo>
                  <a:lnTo>
                    <a:pt x="1320" y="1008"/>
                  </a:lnTo>
                  <a:lnTo>
                    <a:pt x="1320" y="996"/>
                  </a:lnTo>
                  <a:lnTo>
                    <a:pt x="1350" y="990"/>
                  </a:lnTo>
                  <a:lnTo>
                    <a:pt x="1350" y="984"/>
                  </a:lnTo>
                  <a:lnTo>
                    <a:pt x="1386" y="978"/>
                  </a:lnTo>
                  <a:lnTo>
                    <a:pt x="1398" y="954"/>
                  </a:lnTo>
                  <a:lnTo>
                    <a:pt x="1380" y="960"/>
                  </a:lnTo>
                  <a:lnTo>
                    <a:pt x="1374" y="954"/>
                  </a:lnTo>
                  <a:lnTo>
                    <a:pt x="1362" y="954"/>
                  </a:lnTo>
                  <a:close/>
                  <a:moveTo>
                    <a:pt x="162" y="1290"/>
                  </a:moveTo>
                  <a:lnTo>
                    <a:pt x="204" y="1290"/>
                  </a:lnTo>
                  <a:lnTo>
                    <a:pt x="240" y="1260"/>
                  </a:lnTo>
                  <a:lnTo>
                    <a:pt x="228" y="1242"/>
                  </a:lnTo>
                  <a:lnTo>
                    <a:pt x="162" y="1290"/>
                  </a:lnTo>
                  <a:close/>
                  <a:moveTo>
                    <a:pt x="2466" y="1140"/>
                  </a:moveTo>
                  <a:lnTo>
                    <a:pt x="2472" y="1128"/>
                  </a:lnTo>
                  <a:lnTo>
                    <a:pt x="2454" y="1110"/>
                  </a:lnTo>
                  <a:lnTo>
                    <a:pt x="2448" y="1110"/>
                  </a:lnTo>
                  <a:lnTo>
                    <a:pt x="2436" y="1122"/>
                  </a:lnTo>
                  <a:lnTo>
                    <a:pt x="2430" y="1134"/>
                  </a:lnTo>
                  <a:lnTo>
                    <a:pt x="2424" y="1152"/>
                  </a:lnTo>
                  <a:lnTo>
                    <a:pt x="2418" y="1164"/>
                  </a:lnTo>
                  <a:lnTo>
                    <a:pt x="2418" y="1176"/>
                  </a:lnTo>
                  <a:lnTo>
                    <a:pt x="2436" y="1158"/>
                  </a:lnTo>
                  <a:lnTo>
                    <a:pt x="2454" y="1158"/>
                  </a:lnTo>
                  <a:lnTo>
                    <a:pt x="2460" y="1152"/>
                  </a:lnTo>
                  <a:lnTo>
                    <a:pt x="2466" y="1140"/>
                  </a:lnTo>
                  <a:close/>
                  <a:moveTo>
                    <a:pt x="1428" y="912"/>
                  </a:moveTo>
                  <a:lnTo>
                    <a:pt x="1404" y="924"/>
                  </a:lnTo>
                  <a:lnTo>
                    <a:pt x="1386" y="942"/>
                  </a:lnTo>
                  <a:lnTo>
                    <a:pt x="1386" y="948"/>
                  </a:lnTo>
                  <a:lnTo>
                    <a:pt x="1398" y="954"/>
                  </a:lnTo>
                  <a:lnTo>
                    <a:pt x="1410" y="954"/>
                  </a:lnTo>
                  <a:lnTo>
                    <a:pt x="1422" y="948"/>
                  </a:lnTo>
                  <a:lnTo>
                    <a:pt x="1428" y="948"/>
                  </a:lnTo>
                  <a:lnTo>
                    <a:pt x="1440" y="942"/>
                  </a:lnTo>
                  <a:lnTo>
                    <a:pt x="1446" y="930"/>
                  </a:lnTo>
                  <a:lnTo>
                    <a:pt x="1470" y="930"/>
                  </a:lnTo>
                  <a:lnTo>
                    <a:pt x="1470" y="924"/>
                  </a:lnTo>
                  <a:lnTo>
                    <a:pt x="1458" y="912"/>
                  </a:lnTo>
                  <a:lnTo>
                    <a:pt x="1452" y="912"/>
                  </a:lnTo>
                  <a:lnTo>
                    <a:pt x="1440" y="906"/>
                  </a:lnTo>
                  <a:lnTo>
                    <a:pt x="1428" y="912"/>
                  </a:lnTo>
                  <a:close/>
                  <a:moveTo>
                    <a:pt x="498" y="1164"/>
                  </a:moveTo>
                  <a:lnTo>
                    <a:pt x="486" y="1164"/>
                  </a:lnTo>
                  <a:lnTo>
                    <a:pt x="474" y="1170"/>
                  </a:lnTo>
                  <a:lnTo>
                    <a:pt x="462" y="1170"/>
                  </a:lnTo>
                  <a:lnTo>
                    <a:pt x="450" y="1176"/>
                  </a:lnTo>
                  <a:lnTo>
                    <a:pt x="444" y="1182"/>
                  </a:lnTo>
                  <a:lnTo>
                    <a:pt x="432" y="1182"/>
                  </a:lnTo>
                  <a:lnTo>
                    <a:pt x="426" y="1188"/>
                  </a:lnTo>
                  <a:lnTo>
                    <a:pt x="414" y="1188"/>
                  </a:lnTo>
                  <a:lnTo>
                    <a:pt x="390" y="1200"/>
                  </a:lnTo>
                  <a:lnTo>
                    <a:pt x="384" y="1206"/>
                  </a:lnTo>
                  <a:lnTo>
                    <a:pt x="384" y="1218"/>
                  </a:lnTo>
                  <a:lnTo>
                    <a:pt x="402" y="1218"/>
                  </a:lnTo>
                  <a:lnTo>
                    <a:pt x="420" y="1212"/>
                  </a:lnTo>
                  <a:lnTo>
                    <a:pt x="432" y="1206"/>
                  </a:lnTo>
                  <a:lnTo>
                    <a:pt x="504" y="1206"/>
                  </a:lnTo>
                  <a:lnTo>
                    <a:pt x="510" y="1200"/>
                  </a:lnTo>
                  <a:lnTo>
                    <a:pt x="510" y="1176"/>
                  </a:lnTo>
                  <a:lnTo>
                    <a:pt x="498" y="1164"/>
                  </a:lnTo>
                  <a:close/>
                  <a:moveTo>
                    <a:pt x="330" y="1242"/>
                  </a:moveTo>
                  <a:lnTo>
                    <a:pt x="330" y="1224"/>
                  </a:lnTo>
                  <a:lnTo>
                    <a:pt x="276" y="1242"/>
                  </a:lnTo>
                  <a:lnTo>
                    <a:pt x="330" y="1242"/>
                  </a:lnTo>
                  <a:close/>
                </a:path>
              </a:pathLst>
            </a:custGeom>
            <a:solidFill>
              <a:srgbClr val="658B26"/>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45" name="Zimbabwe" descr="© INSCALE GmbH, 05.05.2010&#10;http://www.presentationload.com/"/>
            <p:cNvSpPr>
              <a:spLocks/>
            </p:cNvSpPr>
            <p:nvPr/>
          </p:nvSpPr>
          <p:spPr bwMode="gray">
            <a:xfrm>
              <a:off x="4930780" y="4584700"/>
              <a:ext cx="222249" cy="222250"/>
            </a:xfrm>
            <a:custGeom>
              <a:avLst/>
              <a:gdLst>
                <a:gd name="T0" fmla="*/ 2147483647 w 552"/>
                <a:gd name="T1" fmla="*/ 2147483647 h 552"/>
                <a:gd name="T2" fmla="*/ 2147483647 w 552"/>
                <a:gd name="T3" fmla="*/ 2147483647 h 552"/>
                <a:gd name="T4" fmla="*/ 2147483647 w 552"/>
                <a:gd name="T5" fmla="*/ 2147483647 h 552"/>
                <a:gd name="T6" fmla="*/ 2147483647 w 552"/>
                <a:gd name="T7" fmla="*/ 2147483647 h 552"/>
                <a:gd name="T8" fmla="*/ 2147483647 w 552"/>
                <a:gd name="T9" fmla="*/ 2147483647 h 552"/>
                <a:gd name="T10" fmla="*/ 2147483647 w 552"/>
                <a:gd name="T11" fmla="*/ 2147483647 h 552"/>
                <a:gd name="T12" fmla="*/ 2147483647 w 552"/>
                <a:gd name="T13" fmla="*/ 2147483647 h 552"/>
                <a:gd name="T14" fmla="*/ 2147483647 w 552"/>
                <a:gd name="T15" fmla="*/ 2147483647 h 552"/>
                <a:gd name="T16" fmla="*/ 2147483647 w 552"/>
                <a:gd name="T17" fmla="*/ 2147483647 h 552"/>
                <a:gd name="T18" fmla="*/ 2147483647 w 552"/>
                <a:gd name="T19" fmla="*/ 2147483647 h 552"/>
                <a:gd name="T20" fmla="*/ 2147483647 w 552"/>
                <a:gd name="T21" fmla="*/ 2147483647 h 552"/>
                <a:gd name="T22" fmla="*/ 2147483647 w 552"/>
                <a:gd name="T23" fmla="*/ 2147483647 h 552"/>
                <a:gd name="T24" fmla="*/ 2147483647 w 552"/>
                <a:gd name="T25" fmla="*/ 2147483647 h 552"/>
                <a:gd name="T26" fmla="*/ 2147483647 w 552"/>
                <a:gd name="T27" fmla="*/ 2147483647 h 552"/>
                <a:gd name="T28" fmla="*/ 2147483647 w 552"/>
                <a:gd name="T29" fmla="*/ 2147483647 h 552"/>
                <a:gd name="T30" fmla="*/ 2147483647 w 552"/>
                <a:gd name="T31" fmla="*/ 2147483647 h 552"/>
                <a:gd name="T32" fmla="*/ 2147483647 w 552"/>
                <a:gd name="T33" fmla="*/ 2147483647 h 552"/>
                <a:gd name="T34" fmla="*/ 2147483647 w 552"/>
                <a:gd name="T35" fmla="*/ 2147483647 h 552"/>
                <a:gd name="T36" fmla="*/ 2147483647 w 552"/>
                <a:gd name="T37" fmla="*/ 2147483647 h 552"/>
                <a:gd name="T38" fmla="*/ 2147483647 w 552"/>
                <a:gd name="T39" fmla="*/ 2147483647 h 552"/>
                <a:gd name="T40" fmla="*/ 2147483647 w 552"/>
                <a:gd name="T41" fmla="*/ 2147483647 h 552"/>
                <a:gd name="T42" fmla="*/ 2147483647 w 552"/>
                <a:gd name="T43" fmla="*/ 2147483647 h 552"/>
                <a:gd name="T44" fmla="*/ 2147483647 w 552"/>
                <a:gd name="T45" fmla="*/ 2147483647 h 552"/>
                <a:gd name="T46" fmla="*/ 2147483647 w 552"/>
                <a:gd name="T47" fmla="*/ 2147483647 h 552"/>
                <a:gd name="T48" fmla="*/ 2147483647 w 552"/>
                <a:gd name="T49" fmla="*/ 2147483647 h 552"/>
                <a:gd name="T50" fmla="*/ 2147483647 w 552"/>
                <a:gd name="T51" fmla="*/ 2147483647 h 552"/>
                <a:gd name="T52" fmla="*/ 2147483647 w 552"/>
                <a:gd name="T53" fmla="*/ 2147483647 h 552"/>
                <a:gd name="T54" fmla="*/ 2147483647 w 552"/>
                <a:gd name="T55" fmla="*/ 2147483647 h 552"/>
                <a:gd name="T56" fmla="*/ 2147483647 w 552"/>
                <a:gd name="T57" fmla="*/ 2147483647 h 552"/>
                <a:gd name="T58" fmla="*/ 2147483647 w 552"/>
                <a:gd name="T59" fmla="*/ 2147483647 h 552"/>
                <a:gd name="T60" fmla="*/ 2147483647 w 552"/>
                <a:gd name="T61" fmla="*/ 2147483647 h 552"/>
                <a:gd name="T62" fmla="*/ 2147483647 w 552"/>
                <a:gd name="T63" fmla="*/ 2147483647 h 552"/>
                <a:gd name="T64" fmla="*/ 2147483647 w 552"/>
                <a:gd name="T65" fmla="*/ 2147483647 h 552"/>
                <a:gd name="T66" fmla="*/ 2147483647 w 552"/>
                <a:gd name="T67" fmla="*/ 2147483647 h 552"/>
                <a:gd name="T68" fmla="*/ 2147483647 w 552"/>
                <a:gd name="T69" fmla="*/ 2147483647 h 552"/>
                <a:gd name="T70" fmla="*/ 2147483647 w 552"/>
                <a:gd name="T71" fmla="*/ 2147483647 h 552"/>
                <a:gd name="T72" fmla="*/ 2147483647 w 552"/>
                <a:gd name="T73" fmla="*/ 2147483647 h 552"/>
                <a:gd name="T74" fmla="*/ 2147483647 w 552"/>
                <a:gd name="T75" fmla="*/ 0 h 552"/>
                <a:gd name="T76" fmla="*/ 2147483647 w 552"/>
                <a:gd name="T77" fmla="*/ 2147483647 h 552"/>
                <a:gd name="T78" fmla="*/ 2147483647 w 552"/>
                <a:gd name="T79" fmla="*/ 2147483647 h 552"/>
                <a:gd name="T80" fmla="*/ 2147483647 w 552"/>
                <a:gd name="T81" fmla="*/ 2147483647 h 552"/>
                <a:gd name="T82" fmla="*/ 2147483647 w 552"/>
                <a:gd name="T83" fmla="*/ 2147483647 h 552"/>
                <a:gd name="T84" fmla="*/ 2147483647 w 552"/>
                <a:gd name="T85" fmla="*/ 2147483647 h 552"/>
                <a:gd name="T86" fmla="*/ 2147483647 w 552"/>
                <a:gd name="T87" fmla="*/ 2147483647 h 552"/>
                <a:gd name="T88" fmla="*/ 2147483647 w 552"/>
                <a:gd name="T89" fmla="*/ 2147483647 h 552"/>
                <a:gd name="T90" fmla="*/ 2147483647 w 552"/>
                <a:gd name="T91" fmla="*/ 2147483647 h 552"/>
                <a:gd name="T92" fmla="*/ 2147483647 w 552"/>
                <a:gd name="T93" fmla="*/ 2147483647 h 552"/>
                <a:gd name="T94" fmla="*/ 2147483647 w 552"/>
                <a:gd name="T95" fmla="*/ 2147483647 h 552"/>
                <a:gd name="T96" fmla="*/ 2147483647 w 552"/>
                <a:gd name="T97" fmla="*/ 2147483647 h 552"/>
                <a:gd name="T98" fmla="*/ 2147483647 w 552"/>
                <a:gd name="T99" fmla="*/ 2147483647 h 552"/>
                <a:gd name="T100" fmla="*/ 2147483647 w 552"/>
                <a:gd name="T101" fmla="*/ 2147483647 h 552"/>
                <a:gd name="T102" fmla="*/ 2147483647 w 552"/>
                <a:gd name="T103" fmla="*/ 2147483647 h 55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52"/>
                <a:gd name="T157" fmla="*/ 0 h 552"/>
                <a:gd name="T158" fmla="*/ 552 w 552"/>
                <a:gd name="T159" fmla="*/ 552 h 55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52" h="552">
                  <a:moveTo>
                    <a:pt x="18" y="204"/>
                  </a:moveTo>
                  <a:lnTo>
                    <a:pt x="18" y="234"/>
                  </a:lnTo>
                  <a:lnTo>
                    <a:pt x="30" y="234"/>
                  </a:lnTo>
                  <a:lnTo>
                    <a:pt x="36" y="240"/>
                  </a:lnTo>
                  <a:lnTo>
                    <a:pt x="48" y="264"/>
                  </a:lnTo>
                  <a:lnTo>
                    <a:pt x="54" y="270"/>
                  </a:lnTo>
                  <a:lnTo>
                    <a:pt x="54" y="294"/>
                  </a:lnTo>
                  <a:lnTo>
                    <a:pt x="72" y="330"/>
                  </a:lnTo>
                  <a:lnTo>
                    <a:pt x="84" y="336"/>
                  </a:lnTo>
                  <a:lnTo>
                    <a:pt x="102" y="354"/>
                  </a:lnTo>
                  <a:lnTo>
                    <a:pt x="132" y="354"/>
                  </a:lnTo>
                  <a:lnTo>
                    <a:pt x="138" y="360"/>
                  </a:lnTo>
                  <a:lnTo>
                    <a:pt x="138" y="390"/>
                  </a:lnTo>
                  <a:lnTo>
                    <a:pt x="168" y="390"/>
                  </a:lnTo>
                  <a:lnTo>
                    <a:pt x="174" y="414"/>
                  </a:lnTo>
                  <a:lnTo>
                    <a:pt x="168" y="420"/>
                  </a:lnTo>
                  <a:lnTo>
                    <a:pt x="168" y="450"/>
                  </a:lnTo>
                  <a:lnTo>
                    <a:pt x="186" y="450"/>
                  </a:lnTo>
                  <a:lnTo>
                    <a:pt x="186" y="480"/>
                  </a:lnTo>
                  <a:lnTo>
                    <a:pt x="198" y="480"/>
                  </a:lnTo>
                  <a:lnTo>
                    <a:pt x="216" y="486"/>
                  </a:lnTo>
                  <a:lnTo>
                    <a:pt x="228" y="486"/>
                  </a:lnTo>
                  <a:lnTo>
                    <a:pt x="246" y="492"/>
                  </a:lnTo>
                  <a:lnTo>
                    <a:pt x="264" y="510"/>
                  </a:lnTo>
                  <a:lnTo>
                    <a:pt x="270" y="522"/>
                  </a:lnTo>
                  <a:lnTo>
                    <a:pt x="270" y="528"/>
                  </a:lnTo>
                  <a:lnTo>
                    <a:pt x="252" y="528"/>
                  </a:lnTo>
                  <a:lnTo>
                    <a:pt x="312" y="528"/>
                  </a:lnTo>
                  <a:lnTo>
                    <a:pt x="324" y="534"/>
                  </a:lnTo>
                  <a:lnTo>
                    <a:pt x="330" y="534"/>
                  </a:lnTo>
                  <a:lnTo>
                    <a:pt x="342" y="540"/>
                  </a:lnTo>
                  <a:lnTo>
                    <a:pt x="402" y="540"/>
                  </a:lnTo>
                  <a:lnTo>
                    <a:pt x="420" y="552"/>
                  </a:lnTo>
                  <a:lnTo>
                    <a:pt x="486" y="468"/>
                  </a:lnTo>
                  <a:lnTo>
                    <a:pt x="504" y="462"/>
                  </a:lnTo>
                  <a:lnTo>
                    <a:pt x="492" y="444"/>
                  </a:lnTo>
                  <a:lnTo>
                    <a:pt x="504" y="432"/>
                  </a:lnTo>
                  <a:lnTo>
                    <a:pt x="504" y="402"/>
                  </a:lnTo>
                  <a:lnTo>
                    <a:pt x="516" y="396"/>
                  </a:lnTo>
                  <a:lnTo>
                    <a:pt x="528" y="384"/>
                  </a:lnTo>
                  <a:lnTo>
                    <a:pt x="528" y="372"/>
                  </a:lnTo>
                  <a:lnTo>
                    <a:pt x="540" y="360"/>
                  </a:lnTo>
                  <a:lnTo>
                    <a:pt x="546" y="348"/>
                  </a:lnTo>
                  <a:lnTo>
                    <a:pt x="546" y="342"/>
                  </a:lnTo>
                  <a:lnTo>
                    <a:pt x="522" y="318"/>
                  </a:lnTo>
                  <a:lnTo>
                    <a:pt x="522" y="306"/>
                  </a:lnTo>
                  <a:lnTo>
                    <a:pt x="540" y="288"/>
                  </a:lnTo>
                  <a:lnTo>
                    <a:pt x="522" y="264"/>
                  </a:lnTo>
                  <a:lnTo>
                    <a:pt x="540" y="252"/>
                  </a:lnTo>
                  <a:lnTo>
                    <a:pt x="540" y="240"/>
                  </a:lnTo>
                  <a:lnTo>
                    <a:pt x="546" y="240"/>
                  </a:lnTo>
                  <a:lnTo>
                    <a:pt x="546" y="234"/>
                  </a:lnTo>
                  <a:lnTo>
                    <a:pt x="552" y="228"/>
                  </a:lnTo>
                  <a:lnTo>
                    <a:pt x="552" y="216"/>
                  </a:lnTo>
                  <a:lnTo>
                    <a:pt x="540" y="192"/>
                  </a:lnTo>
                  <a:lnTo>
                    <a:pt x="540" y="180"/>
                  </a:lnTo>
                  <a:lnTo>
                    <a:pt x="546" y="174"/>
                  </a:lnTo>
                  <a:lnTo>
                    <a:pt x="546" y="168"/>
                  </a:lnTo>
                  <a:lnTo>
                    <a:pt x="552" y="162"/>
                  </a:lnTo>
                  <a:lnTo>
                    <a:pt x="540" y="150"/>
                  </a:lnTo>
                  <a:lnTo>
                    <a:pt x="552" y="138"/>
                  </a:lnTo>
                  <a:lnTo>
                    <a:pt x="540" y="120"/>
                  </a:lnTo>
                  <a:lnTo>
                    <a:pt x="546" y="114"/>
                  </a:lnTo>
                  <a:lnTo>
                    <a:pt x="552" y="102"/>
                  </a:lnTo>
                  <a:lnTo>
                    <a:pt x="552" y="96"/>
                  </a:lnTo>
                  <a:lnTo>
                    <a:pt x="540" y="84"/>
                  </a:lnTo>
                  <a:lnTo>
                    <a:pt x="528" y="84"/>
                  </a:lnTo>
                  <a:lnTo>
                    <a:pt x="510" y="66"/>
                  </a:lnTo>
                  <a:lnTo>
                    <a:pt x="498" y="66"/>
                  </a:lnTo>
                  <a:lnTo>
                    <a:pt x="486" y="72"/>
                  </a:lnTo>
                  <a:lnTo>
                    <a:pt x="480" y="72"/>
                  </a:lnTo>
                  <a:lnTo>
                    <a:pt x="462" y="48"/>
                  </a:lnTo>
                  <a:lnTo>
                    <a:pt x="444" y="48"/>
                  </a:lnTo>
                  <a:lnTo>
                    <a:pt x="432" y="30"/>
                  </a:lnTo>
                  <a:lnTo>
                    <a:pt x="372" y="30"/>
                  </a:lnTo>
                  <a:lnTo>
                    <a:pt x="366" y="0"/>
                  </a:lnTo>
                  <a:lnTo>
                    <a:pt x="330" y="0"/>
                  </a:lnTo>
                  <a:lnTo>
                    <a:pt x="294" y="12"/>
                  </a:lnTo>
                  <a:lnTo>
                    <a:pt x="282" y="24"/>
                  </a:lnTo>
                  <a:lnTo>
                    <a:pt x="258" y="36"/>
                  </a:lnTo>
                  <a:lnTo>
                    <a:pt x="258" y="72"/>
                  </a:lnTo>
                  <a:lnTo>
                    <a:pt x="252" y="78"/>
                  </a:lnTo>
                  <a:lnTo>
                    <a:pt x="240" y="78"/>
                  </a:lnTo>
                  <a:lnTo>
                    <a:pt x="228" y="84"/>
                  </a:lnTo>
                  <a:lnTo>
                    <a:pt x="210" y="90"/>
                  </a:lnTo>
                  <a:lnTo>
                    <a:pt x="198" y="96"/>
                  </a:lnTo>
                  <a:lnTo>
                    <a:pt x="192" y="102"/>
                  </a:lnTo>
                  <a:lnTo>
                    <a:pt x="180" y="126"/>
                  </a:lnTo>
                  <a:lnTo>
                    <a:pt x="174" y="132"/>
                  </a:lnTo>
                  <a:lnTo>
                    <a:pt x="174" y="138"/>
                  </a:lnTo>
                  <a:lnTo>
                    <a:pt x="168" y="144"/>
                  </a:lnTo>
                  <a:lnTo>
                    <a:pt x="162" y="156"/>
                  </a:lnTo>
                  <a:lnTo>
                    <a:pt x="132" y="186"/>
                  </a:lnTo>
                  <a:lnTo>
                    <a:pt x="108" y="198"/>
                  </a:lnTo>
                  <a:lnTo>
                    <a:pt x="90" y="198"/>
                  </a:lnTo>
                  <a:lnTo>
                    <a:pt x="90" y="192"/>
                  </a:lnTo>
                  <a:lnTo>
                    <a:pt x="78" y="180"/>
                  </a:lnTo>
                  <a:lnTo>
                    <a:pt x="66" y="180"/>
                  </a:lnTo>
                  <a:lnTo>
                    <a:pt x="66" y="192"/>
                  </a:lnTo>
                  <a:lnTo>
                    <a:pt x="54" y="192"/>
                  </a:lnTo>
                  <a:lnTo>
                    <a:pt x="42" y="180"/>
                  </a:lnTo>
                  <a:lnTo>
                    <a:pt x="42" y="174"/>
                  </a:lnTo>
                  <a:lnTo>
                    <a:pt x="0" y="174"/>
                  </a:lnTo>
                  <a:lnTo>
                    <a:pt x="6" y="192"/>
                  </a:lnTo>
                  <a:lnTo>
                    <a:pt x="18" y="204"/>
                  </a:lnTo>
                  <a:close/>
                </a:path>
              </a:pathLst>
            </a:custGeom>
            <a:solidFill>
              <a:srgbClr val="692864"/>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46" name="Zambia" descr="© INSCALE GmbH, 05.05.2010&#10;http://www.presentationload.com/"/>
            <p:cNvSpPr>
              <a:spLocks/>
            </p:cNvSpPr>
            <p:nvPr/>
          </p:nvSpPr>
          <p:spPr bwMode="gray">
            <a:xfrm>
              <a:off x="4841879" y="4341812"/>
              <a:ext cx="334962" cy="322264"/>
            </a:xfrm>
            <a:custGeom>
              <a:avLst/>
              <a:gdLst>
                <a:gd name="T0" fmla="*/ 2147483647 w 834"/>
                <a:gd name="T1" fmla="*/ 2147483647 h 798"/>
                <a:gd name="T2" fmla="*/ 2147483647 w 834"/>
                <a:gd name="T3" fmla="*/ 2147483647 h 798"/>
                <a:gd name="T4" fmla="*/ 2147483647 w 834"/>
                <a:gd name="T5" fmla="*/ 2147483647 h 798"/>
                <a:gd name="T6" fmla="*/ 2147483647 w 834"/>
                <a:gd name="T7" fmla="*/ 2147483647 h 798"/>
                <a:gd name="T8" fmla="*/ 2147483647 w 834"/>
                <a:gd name="T9" fmla="*/ 2147483647 h 798"/>
                <a:gd name="T10" fmla="*/ 2147483647 w 834"/>
                <a:gd name="T11" fmla="*/ 2147483647 h 798"/>
                <a:gd name="T12" fmla="*/ 2147483647 w 834"/>
                <a:gd name="T13" fmla="*/ 2147483647 h 798"/>
                <a:gd name="T14" fmla="*/ 2147483647 w 834"/>
                <a:gd name="T15" fmla="*/ 2147483647 h 798"/>
                <a:gd name="T16" fmla="*/ 2147483647 w 834"/>
                <a:gd name="T17" fmla="*/ 2147483647 h 798"/>
                <a:gd name="T18" fmla="*/ 2147483647 w 834"/>
                <a:gd name="T19" fmla="*/ 2147483647 h 798"/>
                <a:gd name="T20" fmla="*/ 2147483647 w 834"/>
                <a:gd name="T21" fmla="*/ 2147483647 h 798"/>
                <a:gd name="T22" fmla="*/ 2147483647 w 834"/>
                <a:gd name="T23" fmla="*/ 2147483647 h 798"/>
                <a:gd name="T24" fmla="*/ 2147483647 w 834"/>
                <a:gd name="T25" fmla="*/ 2147483647 h 798"/>
                <a:gd name="T26" fmla="*/ 2147483647 w 834"/>
                <a:gd name="T27" fmla="*/ 2147483647 h 798"/>
                <a:gd name="T28" fmla="*/ 2147483647 w 834"/>
                <a:gd name="T29" fmla="*/ 2147483647 h 798"/>
                <a:gd name="T30" fmla="*/ 2147483647 w 834"/>
                <a:gd name="T31" fmla="*/ 2147483647 h 798"/>
                <a:gd name="T32" fmla="*/ 2147483647 w 834"/>
                <a:gd name="T33" fmla="*/ 2147483647 h 798"/>
                <a:gd name="T34" fmla="*/ 2147483647 w 834"/>
                <a:gd name="T35" fmla="*/ 2147483647 h 798"/>
                <a:gd name="T36" fmla="*/ 2147483647 w 834"/>
                <a:gd name="T37" fmla="*/ 2147483647 h 798"/>
                <a:gd name="T38" fmla="*/ 2147483647 w 834"/>
                <a:gd name="T39" fmla="*/ 2147483647 h 798"/>
                <a:gd name="T40" fmla="*/ 2147483647 w 834"/>
                <a:gd name="T41" fmla="*/ 2147483647 h 798"/>
                <a:gd name="T42" fmla="*/ 2147483647 w 834"/>
                <a:gd name="T43" fmla="*/ 2147483647 h 798"/>
                <a:gd name="T44" fmla="*/ 2147483647 w 834"/>
                <a:gd name="T45" fmla="*/ 2147483647 h 798"/>
                <a:gd name="T46" fmla="*/ 2147483647 w 834"/>
                <a:gd name="T47" fmla="*/ 2147483647 h 798"/>
                <a:gd name="T48" fmla="*/ 2147483647 w 834"/>
                <a:gd name="T49" fmla="*/ 2147483647 h 798"/>
                <a:gd name="T50" fmla="*/ 2147483647 w 834"/>
                <a:gd name="T51" fmla="*/ 2147483647 h 798"/>
                <a:gd name="T52" fmla="*/ 2147483647 w 834"/>
                <a:gd name="T53" fmla="*/ 2147483647 h 798"/>
                <a:gd name="T54" fmla="*/ 2147483647 w 834"/>
                <a:gd name="T55" fmla="*/ 2147483647 h 798"/>
                <a:gd name="T56" fmla="*/ 2147483647 w 834"/>
                <a:gd name="T57" fmla="*/ 2147483647 h 798"/>
                <a:gd name="T58" fmla="*/ 2147483647 w 834"/>
                <a:gd name="T59" fmla="*/ 2147483647 h 798"/>
                <a:gd name="T60" fmla="*/ 2147483647 w 834"/>
                <a:gd name="T61" fmla="*/ 2147483647 h 798"/>
                <a:gd name="T62" fmla="*/ 2147483647 w 834"/>
                <a:gd name="T63" fmla="*/ 2147483647 h 798"/>
                <a:gd name="T64" fmla="*/ 2147483647 w 834"/>
                <a:gd name="T65" fmla="*/ 2147483647 h 798"/>
                <a:gd name="T66" fmla="*/ 2147483647 w 834"/>
                <a:gd name="T67" fmla="*/ 2147483647 h 798"/>
                <a:gd name="T68" fmla="*/ 2147483647 w 834"/>
                <a:gd name="T69" fmla="*/ 2147483647 h 798"/>
                <a:gd name="T70" fmla="*/ 2147483647 w 834"/>
                <a:gd name="T71" fmla="*/ 2147483647 h 798"/>
                <a:gd name="T72" fmla="*/ 2147483647 w 834"/>
                <a:gd name="T73" fmla="*/ 2147483647 h 798"/>
                <a:gd name="T74" fmla="*/ 2147483647 w 834"/>
                <a:gd name="T75" fmla="*/ 2147483647 h 798"/>
                <a:gd name="T76" fmla="*/ 2147483647 w 834"/>
                <a:gd name="T77" fmla="*/ 2147483647 h 798"/>
                <a:gd name="T78" fmla="*/ 2147483647 w 834"/>
                <a:gd name="T79" fmla="*/ 2147483647 h 798"/>
                <a:gd name="T80" fmla="*/ 2147483647 w 834"/>
                <a:gd name="T81" fmla="*/ 2147483647 h 798"/>
                <a:gd name="T82" fmla="*/ 2147483647 w 834"/>
                <a:gd name="T83" fmla="*/ 2147483647 h 798"/>
                <a:gd name="T84" fmla="*/ 2147483647 w 834"/>
                <a:gd name="T85" fmla="*/ 2147483647 h 798"/>
                <a:gd name="T86" fmla="*/ 2147483647 w 834"/>
                <a:gd name="T87" fmla="*/ 2147483647 h 798"/>
                <a:gd name="T88" fmla="*/ 2147483647 w 834"/>
                <a:gd name="T89" fmla="*/ 2147483647 h 798"/>
                <a:gd name="T90" fmla="*/ 2147483647 w 834"/>
                <a:gd name="T91" fmla="*/ 2147483647 h 798"/>
                <a:gd name="T92" fmla="*/ 2147483647 w 834"/>
                <a:gd name="T93" fmla="*/ 2147483647 h 798"/>
                <a:gd name="T94" fmla="*/ 2147483647 w 834"/>
                <a:gd name="T95" fmla="*/ 2147483647 h 798"/>
                <a:gd name="T96" fmla="*/ 2147483647 w 834"/>
                <a:gd name="T97" fmla="*/ 2147483647 h 798"/>
                <a:gd name="T98" fmla="*/ 2147483647 w 834"/>
                <a:gd name="T99" fmla="*/ 2147483647 h 798"/>
                <a:gd name="T100" fmla="*/ 2147483647 w 834"/>
                <a:gd name="T101" fmla="*/ 2147483647 h 798"/>
                <a:gd name="T102" fmla="*/ 2147483647 w 834"/>
                <a:gd name="T103" fmla="*/ 2147483647 h 79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34"/>
                <a:gd name="T157" fmla="*/ 0 h 798"/>
                <a:gd name="T158" fmla="*/ 834 w 834"/>
                <a:gd name="T159" fmla="*/ 798 h 79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34" h="798">
                  <a:moveTo>
                    <a:pt x="822" y="186"/>
                  </a:moveTo>
                  <a:lnTo>
                    <a:pt x="822" y="162"/>
                  </a:lnTo>
                  <a:lnTo>
                    <a:pt x="816" y="168"/>
                  </a:lnTo>
                  <a:lnTo>
                    <a:pt x="810" y="168"/>
                  </a:lnTo>
                  <a:lnTo>
                    <a:pt x="810" y="126"/>
                  </a:lnTo>
                  <a:lnTo>
                    <a:pt x="798" y="114"/>
                  </a:lnTo>
                  <a:lnTo>
                    <a:pt x="786" y="114"/>
                  </a:lnTo>
                  <a:lnTo>
                    <a:pt x="786" y="102"/>
                  </a:lnTo>
                  <a:lnTo>
                    <a:pt x="768" y="90"/>
                  </a:lnTo>
                  <a:lnTo>
                    <a:pt x="750" y="90"/>
                  </a:lnTo>
                  <a:lnTo>
                    <a:pt x="750" y="72"/>
                  </a:lnTo>
                  <a:lnTo>
                    <a:pt x="738" y="78"/>
                  </a:lnTo>
                  <a:lnTo>
                    <a:pt x="726" y="78"/>
                  </a:lnTo>
                  <a:lnTo>
                    <a:pt x="708" y="60"/>
                  </a:lnTo>
                  <a:lnTo>
                    <a:pt x="690" y="60"/>
                  </a:lnTo>
                  <a:lnTo>
                    <a:pt x="684" y="54"/>
                  </a:lnTo>
                  <a:lnTo>
                    <a:pt x="684" y="36"/>
                  </a:lnTo>
                  <a:lnTo>
                    <a:pt x="672" y="42"/>
                  </a:lnTo>
                  <a:lnTo>
                    <a:pt x="654" y="42"/>
                  </a:lnTo>
                  <a:lnTo>
                    <a:pt x="648" y="54"/>
                  </a:lnTo>
                  <a:lnTo>
                    <a:pt x="642" y="60"/>
                  </a:lnTo>
                  <a:lnTo>
                    <a:pt x="636" y="60"/>
                  </a:lnTo>
                  <a:lnTo>
                    <a:pt x="624" y="48"/>
                  </a:lnTo>
                  <a:lnTo>
                    <a:pt x="624" y="36"/>
                  </a:lnTo>
                  <a:lnTo>
                    <a:pt x="618" y="30"/>
                  </a:lnTo>
                  <a:lnTo>
                    <a:pt x="606" y="30"/>
                  </a:lnTo>
                  <a:lnTo>
                    <a:pt x="600" y="24"/>
                  </a:lnTo>
                  <a:lnTo>
                    <a:pt x="594" y="24"/>
                  </a:lnTo>
                  <a:lnTo>
                    <a:pt x="594" y="6"/>
                  </a:lnTo>
                  <a:lnTo>
                    <a:pt x="600" y="0"/>
                  </a:lnTo>
                  <a:lnTo>
                    <a:pt x="576" y="12"/>
                  </a:lnTo>
                  <a:lnTo>
                    <a:pt x="558" y="12"/>
                  </a:lnTo>
                  <a:lnTo>
                    <a:pt x="546" y="18"/>
                  </a:lnTo>
                  <a:lnTo>
                    <a:pt x="528" y="18"/>
                  </a:lnTo>
                  <a:lnTo>
                    <a:pt x="510" y="24"/>
                  </a:lnTo>
                  <a:lnTo>
                    <a:pt x="498" y="24"/>
                  </a:lnTo>
                  <a:lnTo>
                    <a:pt x="498" y="54"/>
                  </a:lnTo>
                  <a:lnTo>
                    <a:pt x="480" y="72"/>
                  </a:lnTo>
                  <a:lnTo>
                    <a:pt x="468" y="78"/>
                  </a:lnTo>
                  <a:lnTo>
                    <a:pt x="462" y="84"/>
                  </a:lnTo>
                  <a:lnTo>
                    <a:pt x="456" y="84"/>
                  </a:lnTo>
                  <a:lnTo>
                    <a:pt x="468" y="96"/>
                  </a:lnTo>
                  <a:lnTo>
                    <a:pt x="468" y="102"/>
                  </a:lnTo>
                  <a:lnTo>
                    <a:pt x="474" y="108"/>
                  </a:lnTo>
                  <a:lnTo>
                    <a:pt x="474" y="114"/>
                  </a:lnTo>
                  <a:lnTo>
                    <a:pt x="480" y="120"/>
                  </a:lnTo>
                  <a:lnTo>
                    <a:pt x="480" y="144"/>
                  </a:lnTo>
                  <a:lnTo>
                    <a:pt x="486" y="162"/>
                  </a:lnTo>
                  <a:lnTo>
                    <a:pt x="486" y="216"/>
                  </a:lnTo>
                  <a:lnTo>
                    <a:pt x="474" y="228"/>
                  </a:lnTo>
                  <a:lnTo>
                    <a:pt x="468" y="240"/>
                  </a:lnTo>
                  <a:lnTo>
                    <a:pt x="462" y="258"/>
                  </a:lnTo>
                  <a:lnTo>
                    <a:pt x="456" y="270"/>
                  </a:lnTo>
                  <a:lnTo>
                    <a:pt x="456" y="294"/>
                  </a:lnTo>
                  <a:lnTo>
                    <a:pt x="468" y="306"/>
                  </a:lnTo>
                  <a:lnTo>
                    <a:pt x="474" y="306"/>
                  </a:lnTo>
                  <a:lnTo>
                    <a:pt x="474" y="312"/>
                  </a:lnTo>
                  <a:lnTo>
                    <a:pt x="480" y="312"/>
                  </a:lnTo>
                  <a:lnTo>
                    <a:pt x="510" y="342"/>
                  </a:lnTo>
                  <a:lnTo>
                    <a:pt x="522" y="348"/>
                  </a:lnTo>
                  <a:lnTo>
                    <a:pt x="528" y="348"/>
                  </a:lnTo>
                  <a:lnTo>
                    <a:pt x="534" y="342"/>
                  </a:lnTo>
                  <a:lnTo>
                    <a:pt x="534" y="324"/>
                  </a:lnTo>
                  <a:lnTo>
                    <a:pt x="558" y="324"/>
                  </a:lnTo>
                  <a:lnTo>
                    <a:pt x="558" y="372"/>
                  </a:lnTo>
                  <a:lnTo>
                    <a:pt x="552" y="408"/>
                  </a:lnTo>
                  <a:lnTo>
                    <a:pt x="546" y="426"/>
                  </a:lnTo>
                  <a:lnTo>
                    <a:pt x="540" y="426"/>
                  </a:lnTo>
                  <a:lnTo>
                    <a:pt x="540" y="420"/>
                  </a:lnTo>
                  <a:lnTo>
                    <a:pt x="534" y="408"/>
                  </a:lnTo>
                  <a:lnTo>
                    <a:pt x="516" y="420"/>
                  </a:lnTo>
                  <a:lnTo>
                    <a:pt x="498" y="420"/>
                  </a:lnTo>
                  <a:lnTo>
                    <a:pt x="498" y="408"/>
                  </a:lnTo>
                  <a:lnTo>
                    <a:pt x="492" y="396"/>
                  </a:lnTo>
                  <a:lnTo>
                    <a:pt x="492" y="384"/>
                  </a:lnTo>
                  <a:lnTo>
                    <a:pt x="480" y="372"/>
                  </a:lnTo>
                  <a:lnTo>
                    <a:pt x="468" y="372"/>
                  </a:lnTo>
                  <a:lnTo>
                    <a:pt x="462" y="360"/>
                  </a:lnTo>
                  <a:lnTo>
                    <a:pt x="462" y="354"/>
                  </a:lnTo>
                  <a:lnTo>
                    <a:pt x="456" y="342"/>
                  </a:lnTo>
                  <a:lnTo>
                    <a:pt x="450" y="336"/>
                  </a:lnTo>
                  <a:lnTo>
                    <a:pt x="444" y="336"/>
                  </a:lnTo>
                  <a:lnTo>
                    <a:pt x="438" y="342"/>
                  </a:lnTo>
                  <a:lnTo>
                    <a:pt x="426" y="342"/>
                  </a:lnTo>
                  <a:lnTo>
                    <a:pt x="426" y="330"/>
                  </a:lnTo>
                  <a:lnTo>
                    <a:pt x="420" y="324"/>
                  </a:lnTo>
                  <a:lnTo>
                    <a:pt x="390" y="324"/>
                  </a:lnTo>
                  <a:lnTo>
                    <a:pt x="390" y="312"/>
                  </a:lnTo>
                  <a:lnTo>
                    <a:pt x="396" y="312"/>
                  </a:lnTo>
                  <a:lnTo>
                    <a:pt x="396" y="300"/>
                  </a:lnTo>
                  <a:lnTo>
                    <a:pt x="384" y="300"/>
                  </a:lnTo>
                  <a:lnTo>
                    <a:pt x="378" y="294"/>
                  </a:lnTo>
                  <a:lnTo>
                    <a:pt x="378" y="282"/>
                  </a:lnTo>
                  <a:lnTo>
                    <a:pt x="366" y="270"/>
                  </a:lnTo>
                  <a:lnTo>
                    <a:pt x="360" y="270"/>
                  </a:lnTo>
                  <a:lnTo>
                    <a:pt x="354" y="276"/>
                  </a:lnTo>
                  <a:lnTo>
                    <a:pt x="354" y="294"/>
                  </a:lnTo>
                  <a:lnTo>
                    <a:pt x="348" y="300"/>
                  </a:lnTo>
                  <a:lnTo>
                    <a:pt x="348" y="306"/>
                  </a:lnTo>
                  <a:lnTo>
                    <a:pt x="330" y="306"/>
                  </a:lnTo>
                  <a:lnTo>
                    <a:pt x="300" y="300"/>
                  </a:lnTo>
                  <a:lnTo>
                    <a:pt x="264" y="294"/>
                  </a:lnTo>
                  <a:lnTo>
                    <a:pt x="246" y="282"/>
                  </a:lnTo>
                  <a:lnTo>
                    <a:pt x="240" y="276"/>
                  </a:lnTo>
                  <a:lnTo>
                    <a:pt x="234" y="264"/>
                  </a:lnTo>
                  <a:lnTo>
                    <a:pt x="234" y="246"/>
                  </a:lnTo>
                  <a:lnTo>
                    <a:pt x="192" y="252"/>
                  </a:lnTo>
                  <a:lnTo>
                    <a:pt x="198" y="258"/>
                  </a:lnTo>
                  <a:lnTo>
                    <a:pt x="198" y="264"/>
                  </a:lnTo>
                  <a:lnTo>
                    <a:pt x="180" y="264"/>
                  </a:lnTo>
                  <a:lnTo>
                    <a:pt x="174" y="258"/>
                  </a:lnTo>
                  <a:lnTo>
                    <a:pt x="174" y="228"/>
                  </a:lnTo>
                  <a:lnTo>
                    <a:pt x="156" y="228"/>
                  </a:lnTo>
                  <a:lnTo>
                    <a:pt x="150" y="216"/>
                  </a:lnTo>
                  <a:lnTo>
                    <a:pt x="144" y="234"/>
                  </a:lnTo>
                  <a:lnTo>
                    <a:pt x="144" y="240"/>
                  </a:lnTo>
                  <a:lnTo>
                    <a:pt x="156" y="252"/>
                  </a:lnTo>
                  <a:lnTo>
                    <a:pt x="156" y="270"/>
                  </a:lnTo>
                  <a:lnTo>
                    <a:pt x="150" y="276"/>
                  </a:lnTo>
                  <a:lnTo>
                    <a:pt x="144" y="276"/>
                  </a:lnTo>
                  <a:lnTo>
                    <a:pt x="144" y="330"/>
                  </a:lnTo>
                  <a:lnTo>
                    <a:pt x="156" y="342"/>
                  </a:lnTo>
                  <a:lnTo>
                    <a:pt x="138" y="348"/>
                  </a:lnTo>
                  <a:lnTo>
                    <a:pt x="138" y="354"/>
                  </a:lnTo>
                  <a:lnTo>
                    <a:pt x="144" y="360"/>
                  </a:lnTo>
                  <a:lnTo>
                    <a:pt x="144" y="384"/>
                  </a:lnTo>
                  <a:lnTo>
                    <a:pt x="132" y="396"/>
                  </a:lnTo>
                  <a:lnTo>
                    <a:pt x="126" y="396"/>
                  </a:lnTo>
                  <a:lnTo>
                    <a:pt x="0" y="390"/>
                  </a:lnTo>
                  <a:lnTo>
                    <a:pt x="0" y="642"/>
                  </a:lnTo>
                  <a:lnTo>
                    <a:pt x="6" y="654"/>
                  </a:lnTo>
                  <a:lnTo>
                    <a:pt x="6" y="672"/>
                  </a:lnTo>
                  <a:lnTo>
                    <a:pt x="96" y="762"/>
                  </a:lnTo>
                  <a:lnTo>
                    <a:pt x="114" y="768"/>
                  </a:lnTo>
                  <a:lnTo>
                    <a:pt x="138" y="756"/>
                  </a:lnTo>
                  <a:lnTo>
                    <a:pt x="144" y="756"/>
                  </a:lnTo>
                  <a:lnTo>
                    <a:pt x="150" y="750"/>
                  </a:lnTo>
                  <a:lnTo>
                    <a:pt x="168" y="750"/>
                  </a:lnTo>
                  <a:lnTo>
                    <a:pt x="174" y="756"/>
                  </a:lnTo>
                  <a:lnTo>
                    <a:pt x="174" y="762"/>
                  </a:lnTo>
                  <a:lnTo>
                    <a:pt x="204" y="756"/>
                  </a:lnTo>
                  <a:lnTo>
                    <a:pt x="222" y="774"/>
                  </a:lnTo>
                  <a:lnTo>
                    <a:pt x="264" y="774"/>
                  </a:lnTo>
                  <a:lnTo>
                    <a:pt x="264" y="780"/>
                  </a:lnTo>
                  <a:lnTo>
                    <a:pt x="276" y="792"/>
                  </a:lnTo>
                  <a:lnTo>
                    <a:pt x="288" y="792"/>
                  </a:lnTo>
                  <a:lnTo>
                    <a:pt x="288" y="780"/>
                  </a:lnTo>
                  <a:lnTo>
                    <a:pt x="300" y="780"/>
                  </a:lnTo>
                  <a:lnTo>
                    <a:pt x="312" y="792"/>
                  </a:lnTo>
                  <a:lnTo>
                    <a:pt x="312" y="798"/>
                  </a:lnTo>
                  <a:lnTo>
                    <a:pt x="330" y="798"/>
                  </a:lnTo>
                  <a:lnTo>
                    <a:pt x="354" y="786"/>
                  </a:lnTo>
                  <a:lnTo>
                    <a:pt x="384" y="756"/>
                  </a:lnTo>
                  <a:lnTo>
                    <a:pt x="390" y="744"/>
                  </a:lnTo>
                  <a:lnTo>
                    <a:pt x="396" y="738"/>
                  </a:lnTo>
                  <a:lnTo>
                    <a:pt x="396" y="732"/>
                  </a:lnTo>
                  <a:lnTo>
                    <a:pt x="402" y="726"/>
                  </a:lnTo>
                  <a:lnTo>
                    <a:pt x="414" y="702"/>
                  </a:lnTo>
                  <a:lnTo>
                    <a:pt x="420" y="696"/>
                  </a:lnTo>
                  <a:lnTo>
                    <a:pt x="432" y="690"/>
                  </a:lnTo>
                  <a:lnTo>
                    <a:pt x="450" y="684"/>
                  </a:lnTo>
                  <a:lnTo>
                    <a:pt x="462" y="678"/>
                  </a:lnTo>
                  <a:lnTo>
                    <a:pt x="474" y="678"/>
                  </a:lnTo>
                  <a:lnTo>
                    <a:pt x="480" y="672"/>
                  </a:lnTo>
                  <a:lnTo>
                    <a:pt x="480" y="636"/>
                  </a:lnTo>
                  <a:lnTo>
                    <a:pt x="504" y="624"/>
                  </a:lnTo>
                  <a:lnTo>
                    <a:pt x="516" y="612"/>
                  </a:lnTo>
                  <a:lnTo>
                    <a:pt x="552" y="600"/>
                  </a:lnTo>
                  <a:lnTo>
                    <a:pt x="588" y="600"/>
                  </a:lnTo>
                  <a:lnTo>
                    <a:pt x="588" y="576"/>
                  </a:lnTo>
                  <a:lnTo>
                    <a:pt x="570" y="558"/>
                  </a:lnTo>
                  <a:lnTo>
                    <a:pt x="582" y="546"/>
                  </a:lnTo>
                  <a:lnTo>
                    <a:pt x="612" y="546"/>
                  </a:lnTo>
                  <a:lnTo>
                    <a:pt x="630" y="528"/>
                  </a:lnTo>
                  <a:lnTo>
                    <a:pt x="642" y="528"/>
                  </a:lnTo>
                  <a:lnTo>
                    <a:pt x="654" y="522"/>
                  </a:lnTo>
                  <a:lnTo>
                    <a:pt x="672" y="522"/>
                  </a:lnTo>
                  <a:lnTo>
                    <a:pt x="690" y="516"/>
                  </a:lnTo>
                  <a:lnTo>
                    <a:pt x="702" y="510"/>
                  </a:lnTo>
                  <a:lnTo>
                    <a:pt x="708" y="510"/>
                  </a:lnTo>
                  <a:lnTo>
                    <a:pt x="732" y="498"/>
                  </a:lnTo>
                  <a:lnTo>
                    <a:pt x="750" y="486"/>
                  </a:lnTo>
                  <a:lnTo>
                    <a:pt x="762" y="480"/>
                  </a:lnTo>
                  <a:lnTo>
                    <a:pt x="780" y="474"/>
                  </a:lnTo>
                  <a:lnTo>
                    <a:pt x="786" y="468"/>
                  </a:lnTo>
                  <a:lnTo>
                    <a:pt x="792" y="468"/>
                  </a:lnTo>
                  <a:lnTo>
                    <a:pt x="780" y="462"/>
                  </a:lnTo>
                  <a:lnTo>
                    <a:pt x="768" y="450"/>
                  </a:lnTo>
                  <a:lnTo>
                    <a:pt x="756" y="444"/>
                  </a:lnTo>
                  <a:lnTo>
                    <a:pt x="756" y="438"/>
                  </a:lnTo>
                  <a:lnTo>
                    <a:pt x="762" y="432"/>
                  </a:lnTo>
                  <a:lnTo>
                    <a:pt x="768" y="420"/>
                  </a:lnTo>
                  <a:lnTo>
                    <a:pt x="774" y="414"/>
                  </a:lnTo>
                  <a:lnTo>
                    <a:pt x="780" y="402"/>
                  </a:lnTo>
                  <a:lnTo>
                    <a:pt x="774" y="366"/>
                  </a:lnTo>
                  <a:lnTo>
                    <a:pt x="780" y="366"/>
                  </a:lnTo>
                  <a:lnTo>
                    <a:pt x="786" y="360"/>
                  </a:lnTo>
                  <a:lnTo>
                    <a:pt x="798" y="354"/>
                  </a:lnTo>
                  <a:lnTo>
                    <a:pt x="816" y="336"/>
                  </a:lnTo>
                  <a:lnTo>
                    <a:pt x="816" y="330"/>
                  </a:lnTo>
                  <a:lnTo>
                    <a:pt x="804" y="330"/>
                  </a:lnTo>
                  <a:lnTo>
                    <a:pt x="804" y="258"/>
                  </a:lnTo>
                  <a:lnTo>
                    <a:pt x="810" y="240"/>
                  </a:lnTo>
                  <a:lnTo>
                    <a:pt x="798" y="234"/>
                  </a:lnTo>
                  <a:lnTo>
                    <a:pt x="798" y="216"/>
                  </a:lnTo>
                  <a:lnTo>
                    <a:pt x="804" y="216"/>
                  </a:lnTo>
                  <a:lnTo>
                    <a:pt x="810" y="210"/>
                  </a:lnTo>
                  <a:lnTo>
                    <a:pt x="834" y="198"/>
                  </a:lnTo>
                  <a:lnTo>
                    <a:pt x="834" y="186"/>
                  </a:lnTo>
                  <a:lnTo>
                    <a:pt x="822" y="186"/>
                  </a:lnTo>
                  <a:close/>
                </a:path>
              </a:pathLst>
            </a:custGeom>
            <a:solidFill>
              <a:srgbClr val="692864"/>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47" name="Yemen" descr="© INSCALE GmbH, 05.05.2010&#10;http://www.presentationload.com/"/>
            <p:cNvSpPr>
              <a:spLocks/>
            </p:cNvSpPr>
            <p:nvPr/>
          </p:nvSpPr>
          <p:spPr bwMode="gray">
            <a:xfrm>
              <a:off x="5424492" y="3460750"/>
              <a:ext cx="295276" cy="201613"/>
            </a:xfrm>
            <a:custGeom>
              <a:avLst/>
              <a:gdLst>
                <a:gd name="T0" fmla="*/ 2147483647 w 732"/>
                <a:gd name="T1" fmla="*/ 2147483647 h 498"/>
                <a:gd name="T2" fmla="*/ 2147483647 w 732"/>
                <a:gd name="T3" fmla="*/ 2147483647 h 498"/>
                <a:gd name="T4" fmla="*/ 2147483647 w 732"/>
                <a:gd name="T5" fmla="*/ 2147483647 h 498"/>
                <a:gd name="T6" fmla="*/ 2147483647 w 732"/>
                <a:gd name="T7" fmla="*/ 2147483647 h 498"/>
                <a:gd name="T8" fmla="*/ 2147483647 w 732"/>
                <a:gd name="T9" fmla="*/ 2147483647 h 498"/>
                <a:gd name="T10" fmla="*/ 2147483647 w 732"/>
                <a:gd name="T11" fmla="*/ 2147483647 h 498"/>
                <a:gd name="T12" fmla="*/ 2147483647 w 732"/>
                <a:gd name="T13" fmla="*/ 2147483647 h 498"/>
                <a:gd name="T14" fmla="*/ 2147483647 w 732"/>
                <a:gd name="T15" fmla="*/ 2147483647 h 498"/>
                <a:gd name="T16" fmla="*/ 2147483647 w 732"/>
                <a:gd name="T17" fmla="*/ 2147483647 h 498"/>
                <a:gd name="T18" fmla="*/ 2147483647 w 732"/>
                <a:gd name="T19" fmla="*/ 2147483647 h 498"/>
                <a:gd name="T20" fmla="*/ 2147483647 w 732"/>
                <a:gd name="T21" fmla="*/ 2147483647 h 498"/>
                <a:gd name="T22" fmla="*/ 2147483647 w 732"/>
                <a:gd name="T23" fmla="*/ 2147483647 h 498"/>
                <a:gd name="T24" fmla="*/ 2147483647 w 732"/>
                <a:gd name="T25" fmla="*/ 2147483647 h 498"/>
                <a:gd name="T26" fmla="*/ 2147483647 w 732"/>
                <a:gd name="T27" fmla="*/ 2147483647 h 498"/>
                <a:gd name="T28" fmla="*/ 2147483647 w 732"/>
                <a:gd name="T29" fmla="*/ 2147483647 h 498"/>
                <a:gd name="T30" fmla="*/ 0 w 732"/>
                <a:gd name="T31" fmla="*/ 2147483647 h 498"/>
                <a:gd name="T32" fmla="*/ 2147483647 w 732"/>
                <a:gd name="T33" fmla="*/ 2147483647 h 498"/>
                <a:gd name="T34" fmla="*/ 2147483647 w 732"/>
                <a:gd name="T35" fmla="*/ 2147483647 h 498"/>
                <a:gd name="T36" fmla="*/ 2147483647 w 732"/>
                <a:gd name="T37" fmla="*/ 2147483647 h 498"/>
                <a:gd name="T38" fmla="*/ 2147483647 w 732"/>
                <a:gd name="T39" fmla="*/ 2147483647 h 498"/>
                <a:gd name="T40" fmla="*/ 2147483647 w 732"/>
                <a:gd name="T41" fmla="*/ 2147483647 h 498"/>
                <a:gd name="T42" fmla="*/ 2147483647 w 732"/>
                <a:gd name="T43" fmla="*/ 2147483647 h 498"/>
                <a:gd name="T44" fmla="*/ 2147483647 w 732"/>
                <a:gd name="T45" fmla="*/ 2147483647 h 498"/>
                <a:gd name="T46" fmla="*/ 2147483647 w 732"/>
                <a:gd name="T47" fmla="*/ 2147483647 h 498"/>
                <a:gd name="T48" fmla="*/ 2147483647 w 732"/>
                <a:gd name="T49" fmla="*/ 2147483647 h 498"/>
                <a:gd name="T50" fmla="*/ 2147483647 w 732"/>
                <a:gd name="T51" fmla="*/ 2147483647 h 498"/>
                <a:gd name="T52" fmla="*/ 2147483647 w 732"/>
                <a:gd name="T53" fmla="*/ 2147483647 h 498"/>
                <a:gd name="T54" fmla="*/ 2147483647 w 732"/>
                <a:gd name="T55" fmla="*/ 2147483647 h 498"/>
                <a:gd name="T56" fmla="*/ 2147483647 w 732"/>
                <a:gd name="T57" fmla="*/ 2147483647 h 498"/>
                <a:gd name="T58" fmla="*/ 2147483647 w 732"/>
                <a:gd name="T59" fmla="*/ 2147483647 h 498"/>
                <a:gd name="T60" fmla="*/ 2147483647 w 732"/>
                <a:gd name="T61" fmla="*/ 2147483647 h 498"/>
                <a:gd name="T62" fmla="*/ 2147483647 w 732"/>
                <a:gd name="T63" fmla="*/ 2147483647 h 498"/>
                <a:gd name="T64" fmla="*/ 2147483647 w 732"/>
                <a:gd name="T65" fmla="*/ 2147483647 h 498"/>
                <a:gd name="T66" fmla="*/ 2147483647 w 732"/>
                <a:gd name="T67" fmla="*/ 2147483647 h 498"/>
                <a:gd name="T68" fmla="*/ 2147483647 w 732"/>
                <a:gd name="T69" fmla="*/ 2147483647 h 498"/>
                <a:gd name="T70" fmla="*/ 2147483647 w 732"/>
                <a:gd name="T71" fmla="*/ 2147483647 h 498"/>
                <a:gd name="T72" fmla="*/ 2147483647 w 732"/>
                <a:gd name="T73" fmla="*/ 2147483647 h 498"/>
                <a:gd name="T74" fmla="*/ 2147483647 w 732"/>
                <a:gd name="T75" fmla="*/ 2147483647 h 498"/>
                <a:gd name="T76" fmla="*/ 2147483647 w 732"/>
                <a:gd name="T77" fmla="*/ 0 h 498"/>
                <a:gd name="T78" fmla="*/ 2147483647 w 732"/>
                <a:gd name="T79" fmla="*/ 2147483647 h 498"/>
                <a:gd name="T80" fmla="*/ 2147483647 w 732"/>
                <a:gd name="T81" fmla="*/ 2147483647 h 4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32"/>
                <a:gd name="T124" fmla="*/ 0 h 498"/>
                <a:gd name="T125" fmla="*/ 732 w 732"/>
                <a:gd name="T126" fmla="*/ 498 h 4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32" h="498">
                  <a:moveTo>
                    <a:pt x="468" y="24"/>
                  </a:moveTo>
                  <a:lnTo>
                    <a:pt x="450" y="30"/>
                  </a:lnTo>
                  <a:lnTo>
                    <a:pt x="420" y="36"/>
                  </a:lnTo>
                  <a:lnTo>
                    <a:pt x="390" y="54"/>
                  </a:lnTo>
                  <a:lnTo>
                    <a:pt x="372" y="72"/>
                  </a:lnTo>
                  <a:lnTo>
                    <a:pt x="366" y="84"/>
                  </a:lnTo>
                  <a:lnTo>
                    <a:pt x="354" y="96"/>
                  </a:lnTo>
                  <a:lnTo>
                    <a:pt x="348" y="108"/>
                  </a:lnTo>
                  <a:lnTo>
                    <a:pt x="342" y="114"/>
                  </a:lnTo>
                  <a:lnTo>
                    <a:pt x="336" y="126"/>
                  </a:lnTo>
                  <a:lnTo>
                    <a:pt x="336" y="144"/>
                  </a:lnTo>
                  <a:lnTo>
                    <a:pt x="330" y="150"/>
                  </a:lnTo>
                  <a:lnTo>
                    <a:pt x="324" y="162"/>
                  </a:lnTo>
                  <a:lnTo>
                    <a:pt x="312" y="162"/>
                  </a:lnTo>
                  <a:lnTo>
                    <a:pt x="300" y="156"/>
                  </a:lnTo>
                  <a:lnTo>
                    <a:pt x="294" y="144"/>
                  </a:lnTo>
                  <a:lnTo>
                    <a:pt x="288" y="138"/>
                  </a:lnTo>
                  <a:lnTo>
                    <a:pt x="210" y="138"/>
                  </a:lnTo>
                  <a:lnTo>
                    <a:pt x="204" y="132"/>
                  </a:lnTo>
                  <a:lnTo>
                    <a:pt x="192" y="126"/>
                  </a:lnTo>
                  <a:lnTo>
                    <a:pt x="102" y="126"/>
                  </a:lnTo>
                  <a:lnTo>
                    <a:pt x="96" y="132"/>
                  </a:lnTo>
                  <a:lnTo>
                    <a:pt x="72" y="138"/>
                  </a:lnTo>
                  <a:lnTo>
                    <a:pt x="54" y="120"/>
                  </a:lnTo>
                  <a:lnTo>
                    <a:pt x="48" y="120"/>
                  </a:lnTo>
                  <a:lnTo>
                    <a:pt x="42" y="126"/>
                  </a:lnTo>
                  <a:lnTo>
                    <a:pt x="36" y="138"/>
                  </a:lnTo>
                  <a:lnTo>
                    <a:pt x="36" y="186"/>
                  </a:lnTo>
                  <a:lnTo>
                    <a:pt x="30" y="192"/>
                  </a:lnTo>
                  <a:lnTo>
                    <a:pt x="24" y="204"/>
                  </a:lnTo>
                  <a:lnTo>
                    <a:pt x="12" y="216"/>
                  </a:lnTo>
                  <a:lnTo>
                    <a:pt x="0" y="252"/>
                  </a:lnTo>
                  <a:lnTo>
                    <a:pt x="0" y="258"/>
                  </a:lnTo>
                  <a:lnTo>
                    <a:pt x="18" y="276"/>
                  </a:lnTo>
                  <a:lnTo>
                    <a:pt x="24" y="288"/>
                  </a:lnTo>
                  <a:lnTo>
                    <a:pt x="36" y="294"/>
                  </a:lnTo>
                  <a:lnTo>
                    <a:pt x="24" y="408"/>
                  </a:lnTo>
                  <a:lnTo>
                    <a:pt x="54" y="444"/>
                  </a:lnTo>
                  <a:lnTo>
                    <a:pt x="54" y="456"/>
                  </a:lnTo>
                  <a:lnTo>
                    <a:pt x="60" y="468"/>
                  </a:lnTo>
                  <a:lnTo>
                    <a:pt x="78" y="486"/>
                  </a:lnTo>
                  <a:lnTo>
                    <a:pt x="90" y="492"/>
                  </a:lnTo>
                  <a:lnTo>
                    <a:pt x="114" y="498"/>
                  </a:lnTo>
                  <a:lnTo>
                    <a:pt x="132" y="498"/>
                  </a:lnTo>
                  <a:lnTo>
                    <a:pt x="150" y="492"/>
                  </a:lnTo>
                  <a:lnTo>
                    <a:pt x="162" y="486"/>
                  </a:lnTo>
                  <a:lnTo>
                    <a:pt x="168" y="480"/>
                  </a:lnTo>
                  <a:lnTo>
                    <a:pt x="186" y="444"/>
                  </a:lnTo>
                  <a:lnTo>
                    <a:pt x="198" y="432"/>
                  </a:lnTo>
                  <a:lnTo>
                    <a:pt x="210" y="432"/>
                  </a:lnTo>
                  <a:lnTo>
                    <a:pt x="228" y="438"/>
                  </a:lnTo>
                  <a:lnTo>
                    <a:pt x="270" y="438"/>
                  </a:lnTo>
                  <a:lnTo>
                    <a:pt x="324" y="432"/>
                  </a:lnTo>
                  <a:lnTo>
                    <a:pt x="366" y="426"/>
                  </a:lnTo>
                  <a:lnTo>
                    <a:pt x="390" y="414"/>
                  </a:lnTo>
                  <a:lnTo>
                    <a:pt x="402" y="402"/>
                  </a:lnTo>
                  <a:lnTo>
                    <a:pt x="414" y="384"/>
                  </a:lnTo>
                  <a:lnTo>
                    <a:pt x="426" y="372"/>
                  </a:lnTo>
                  <a:lnTo>
                    <a:pt x="450" y="360"/>
                  </a:lnTo>
                  <a:lnTo>
                    <a:pt x="462" y="348"/>
                  </a:lnTo>
                  <a:lnTo>
                    <a:pt x="474" y="342"/>
                  </a:lnTo>
                  <a:lnTo>
                    <a:pt x="486" y="330"/>
                  </a:lnTo>
                  <a:lnTo>
                    <a:pt x="504" y="324"/>
                  </a:lnTo>
                  <a:lnTo>
                    <a:pt x="528" y="312"/>
                  </a:lnTo>
                  <a:lnTo>
                    <a:pt x="546" y="306"/>
                  </a:lnTo>
                  <a:lnTo>
                    <a:pt x="558" y="294"/>
                  </a:lnTo>
                  <a:lnTo>
                    <a:pt x="594" y="276"/>
                  </a:lnTo>
                  <a:lnTo>
                    <a:pt x="666" y="276"/>
                  </a:lnTo>
                  <a:lnTo>
                    <a:pt x="666" y="270"/>
                  </a:lnTo>
                  <a:lnTo>
                    <a:pt x="672" y="264"/>
                  </a:lnTo>
                  <a:lnTo>
                    <a:pt x="684" y="240"/>
                  </a:lnTo>
                  <a:lnTo>
                    <a:pt x="690" y="222"/>
                  </a:lnTo>
                  <a:lnTo>
                    <a:pt x="702" y="210"/>
                  </a:lnTo>
                  <a:lnTo>
                    <a:pt x="708" y="198"/>
                  </a:lnTo>
                  <a:lnTo>
                    <a:pt x="720" y="192"/>
                  </a:lnTo>
                  <a:lnTo>
                    <a:pt x="720" y="186"/>
                  </a:lnTo>
                  <a:lnTo>
                    <a:pt x="732" y="186"/>
                  </a:lnTo>
                  <a:lnTo>
                    <a:pt x="648" y="0"/>
                  </a:lnTo>
                  <a:lnTo>
                    <a:pt x="630" y="0"/>
                  </a:lnTo>
                  <a:lnTo>
                    <a:pt x="588" y="6"/>
                  </a:lnTo>
                  <a:lnTo>
                    <a:pt x="540" y="18"/>
                  </a:lnTo>
                  <a:lnTo>
                    <a:pt x="492" y="24"/>
                  </a:lnTo>
                  <a:lnTo>
                    <a:pt x="468" y="24"/>
                  </a:lnTo>
                  <a:close/>
                </a:path>
              </a:pathLst>
            </a:custGeom>
            <a:solidFill>
              <a:srgbClr val="FFC000"/>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48" name="Western Sahara" descr="© INSCALE GmbH, 05.05.2010&#10;http://www.presentationload.com/"/>
            <p:cNvSpPr>
              <a:spLocks/>
            </p:cNvSpPr>
            <p:nvPr/>
          </p:nvSpPr>
          <p:spPr bwMode="gray">
            <a:xfrm>
              <a:off x="3741741" y="3195975"/>
              <a:ext cx="241301" cy="206375"/>
            </a:xfrm>
            <a:custGeom>
              <a:avLst/>
              <a:gdLst>
                <a:gd name="T0" fmla="*/ 2147483647 w 600"/>
                <a:gd name="T1" fmla="*/ 0 h 510"/>
                <a:gd name="T2" fmla="*/ 2147483647 w 600"/>
                <a:gd name="T3" fmla="*/ 0 h 510"/>
                <a:gd name="T4" fmla="*/ 2147483647 w 600"/>
                <a:gd name="T5" fmla="*/ 2147483647 h 510"/>
                <a:gd name="T6" fmla="*/ 2147483647 w 600"/>
                <a:gd name="T7" fmla="*/ 2147483647 h 510"/>
                <a:gd name="T8" fmla="*/ 2147483647 w 600"/>
                <a:gd name="T9" fmla="*/ 2147483647 h 510"/>
                <a:gd name="T10" fmla="*/ 2147483647 w 600"/>
                <a:gd name="T11" fmla="*/ 2147483647 h 510"/>
                <a:gd name="T12" fmla="*/ 2147483647 w 600"/>
                <a:gd name="T13" fmla="*/ 2147483647 h 510"/>
                <a:gd name="T14" fmla="*/ 2147483647 w 600"/>
                <a:gd name="T15" fmla="*/ 2147483647 h 510"/>
                <a:gd name="T16" fmla="*/ 2147483647 w 600"/>
                <a:gd name="T17" fmla="*/ 2147483647 h 510"/>
                <a:gd name="T18" fmla="*/ 2147483647 w 600"/>
                <a:gd name="T19" fmla="*/ 2147483647 h 510"/>
                <a:gd name="T20" fmla="*/ 2147483647 w 600"/>
                <a:gd name="T21" fmla="*/ 2147483647 h 510"/>
                <a:gd name="T22" fmla="*/ 2147483647 w 600"/>
                <a:gd name="T23" fmla="*/ 2147483647 h 510"/>
                <a:gd name="T24" fmla="*/ 2147483647 w 600"/>
                <a:gd name="T25" fmla="*/ 2147483647 h 510"/>
                <a:gd name="T26" fmla="*/ 2147483647 w 600"/>
                <a:gd name="T27" fmla="*/ 2147483647 h 510"/>
                <a:gd name="T28" fmla="*/ 2147483647 w 600"/>
                <a:gd name="T29" fmla="*/ 2147483647 h 510"/>
                <a:gd name="T30" fmla="*/ 2147483647 w 600"/>
                <a:gd name="T31" fmla="*/ 2147483647 h 510"/>
                <a:gd name="T32" fmla="*/ 2147483647 w 600"/>
                <a:gd name="T33" fmla="*/ 2147483647 h 510"/>
                <a:gd name="T34" fmla="*/ 2147483647 w 600"/>
                <a:gd name="T35" fmla="*/ 2147483647 h 510"/>
                <a:gd name="T36" fmla="*/ 2147483647 w 600"/>
                <a:gd name="T37" fmla="*/ 2147483647 h 510"/>
                <a:gd name="T38" fmla="*/ 2147483647 w 600"/>
                <a:gd name="T39" fmla="*/ 2147483647 h 510"/>
                <a:gd name="T40" fmla="*/ 2147483647 w 600"/>
                <a:gd name="T41" fmla="*/ 2147483647 h 510"/>
                <a:gd name="T42" fmla="*/ 2147483647 w 600"/>
                <a:gd name="T43" fmla="*/ 2147483647 h 510"/>
                <a:gd name="T44" fmla="*/ 2147483647 w 600"/>
                <a:gd name="T45" fmla="*/ 2147483647 h 510"/>
                <a:gd name="T46" fmla="*/ 2147483647 w 600"/>
                <a:gd name="T47" fmla="*/ 2147483647 h 510"/>
                <a:gd name="T48" fmla="*/ 2147483647 w 600"/>
                <a:gd name="T49" fmla="*/ 2147483647 h 510"/>
                <a:gd name="T50" fmla="*/ 2147483647 w 600"/>
                <a:gd name="T51" fmla="*/ 2147483647 h 510"/>
                <a:gd name="T52" fmla="*/ 2147483647 w 600"/>
                <a:gd name="T53" fmla="*/ 2147483647 h 510"/>
                <a:gd name="T54" fmla="*/ 2147483647 w 600"/>
                <a:gd name="T55" fmla="*/ 2147483647 h 510"/>
                <a:gd name="T56" fmla="*/ 2147483647 w 600"/>
                <a:gd name="T57" fmla="*/ 2147483647 h 510"/>
                <a:gd name="T58" fmla="*/ 2147483647 w 600"/>
                <a:gd name="T59" fmla="*/ 2147483647 h 510"/>
                <a:gd name="T60" fmla="*/ 2147483647 w 600"/>
                <a:gd name="T61" fmla="*/ 2147483647 h 510"/>
                <a:gd name="T62" fmla="*/ 2147483647 w 600"/>
                <a:gd name="T63" fmla="*/ 2147483647 h 510"/>
                <a:gd name="T64" fmla="*/ 2147483647 w 600"/>
                <a:gd name="T65" fmla="*/ 2147483647 h 510"/>
                <a:gd name="T66" fmla="*/ 2147483647 w 600"/>
                <a:gd name="T67" fmla="*/ 2147483647 h 510"/>
                <a:gd name="T68" fmla="*/ 2147483647 w 600"/>
                <a:gd name="T69" fmla="*/ 2147483647 h 510"/>
                <a:gd name="T70" fmla="*/ 2147483647 w 600"/>
                <a:gd name="T71" fmla="*/ 2147483647 h 510"/>
                <a:gd name="T72" fmla="*/ 2147483647 w 600"/>
                <a:gd name="T73" fmla="*/ 2147483647 h 510"/>
                <a:gd name="T74" fmla="*/ 2147483647 w 600"/>
                <a:gd name="T75" fmla="*/ 2147483647 h 510"/>
                <a:gd name="T76" fmla="*/ 2147483647 w 600"/>
                <a:gd name="T77" fmla="*/ 2147483647 h 510"/>
                <a:gd name="T78" fmla="*/ 0 w 600"/>
                <a:gd name="T79" fmla="*/ 2147483647 h 510"/>
                <a:gd name="T80" fmla="*/ 0 w 600"/>
                <a:gd name="T81" fmla="*/ 2147483647 h 510"/>
                <a:gd name="T82" fmla="*/ 2147483647 w 600"/>
                <a:gd name="T83" fmla="*/ 2147483647 h 510"/>
                <a:gd name="T84" fmla="*/ 2147483647 w 600"/>
                <a:gd name="T85" fmla="*/ 2147483647 h 510"/>
                <a:gd name="T86" fmla="*/ 2147483647 w 600"/>
                <a:gd name="T87" fmla="*/ 2147483647 h 510"/>
                <a:gd name="T88" fmla="*/ 2147483647 w 600"/>
                <a:gd name="T89" fmla="*/ 2147483647 h 510"/>
                <a:gd name="T90" fmla="*/ 2147483647 w 600"/>
                <a:gd name="T91" fmla="*/ 2147483647 h 510"/>
                <a:gd name="T92" fmla="*/ 2147483647 w 600"/>
                <a:gd name="T93" fmla="*/ 2147483647 h 510"/>
                <a:gd name="T94" fmla="*/ 2147483647 w 600"/>
                <a:gd name="T95" fmla="*/ 2147483647 h 510"/>
                <a:gd name="T96" fmla="*/ 2147483647 w 600"/>
                <a:gd name="T97" fmla="*/ 2147483647 h 510"/>
                <a:gd name="T98" fmla="*/ 2147483647 w 600"/>
                <a:gd name="T99" fmla="*/ 2147483647 h 510"/>
                <a:gd name="T100" fmla="*/ 2147483647 w 600"/>
                <a:gd name="T101" fmla="*/ 2147483647 h 510"/>
                <a:gd name="T102" fmla="*/ 2147483647 w 600"/>
                <a:gd name="T103" fmla="*/ 2147483647 h 510"/>
                <a:gd name="T104" fmla="*/ 2147483647 w 600"/>
                <a:gd name="T105" fmla="*/ 2147483647 h 510"/>
                <a:gd name="T106" fmla="*/ 2147483647 w 600"/>
                <a:gd name="T107" fmla="*/ 2147483647 h 510"/>
                <a:gd name="T108" fmla="*/ 2147483647 w 600"/>
                <a:gd name="T109" fmla="*/ 2147483647 h 510"/>
                <a:gd name="T110" fmla="*/ 2147483647 w 600"/>
                <a:gd name="T111" fmla="*/ 2147483647 h 510"/>
                <a:gd name="T112" fmla="*/ 2147483647 w 600"/>
                <a:gd name="T113" fmla="*/ 0 h 510"/>
                <a:gd name="T114" fmla="*/ 2147483647 w 600"/>
                <a:gd name="T115" fmla="*/ 0 h 5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00"/>
                <a:gd name="T175" fmla="*/ 0 h 510"/>
                <a:gd name="T176" fmla="*/ 600 w 600"/>
                <a:gd name="T177" fmla="*/ 510 h 5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00" h="510">
                  <a:moveTo>
                    <a:pt x="546" y="0"/>
                  </a:moveTo>
                  <a:lnTo>
                    <a:pt x="288" y="0"/>
                  </a:lnTo>
                  <a:lnTo>
                    <a:pt x="282" y="6"/>
                  </a:lnTo>
                  <a:lnTo>
                    <a:pt x="270" y="30"/>
                  </a:lnTo>
                  <a:lnTo>
                    <a:pt x="270" y="42"/>
                  </a:lnTo>
                  <a:lnTo>
                    <a:pt x="264" y="54"/>
                  </a:lnTo>
                  <a:lnTo>
                    <a:pt x="264" y="66"/>
                  </a:lnTo>
                  <a:lnTo>
                    <a:pt x="234" y="96"/>
                  </a:lnTo>
                  <a:lnTo>
                    <a:pt x="198" y="96"/>
                  </a:lnTo>
                  <a:lnTo>
                    <a:pt x="186" y="108"/>
                  </a:lnTo>
                  <a:lnTo>
                    <a:pt x="186" y="144"/>
                  </a:lnTo>
                  <a:lnTo>
                    <a:pt x="156" y="174"/>
                  </a:lnTo>
                  <a:lnTo>
                    <a:pt x="156" y="186"/>
                  </a:lnTo>
                  <a:lnTo>
                    <a:pt x="168" y="210"/>
                  </a:lnTo>
                  <a:lnTo>
                    <a:pt x="168" y="222"/>
                  </a:lnTo>
                  <a:lnTo>
                    <a:pt x="156" y="246"/>
                  </a:lnTo>
                  <a:lnTo>
                    <a:pt x="144" y="252"/>
                  </a:lnTo>
                  <a:lnTo>
                    <a:pt x="138" y="252"/>
                  </a:lnTo>
                  <a:lnTo>
                    <a:pt x="132" y="258"/>
                  </a:lnTo>
                  <a:lnTo>
                    <a:pt x="126" y="270"/>
                  </a:lnTo>
                  <a:lnTo>
                    <a:pt x="114" y="282"/>
                  </a:lnTo>
                  <a:lnTo>
                    <a:pt x="102" y="288"/>
                  </a:lnTo>
                  <a:lnTo>
                    <a:pt x="96" y="294"/>
                  </a:lnTo>
                  <a:lnTo>
                    <a:pt x="84" y="300"/>
                  </a:lnTo>
                  <a:lnTo>
                    <a:pt x="78" y="306"/>
                  </a:lnTo>
                  <a:lnTo>
                    <a:pt x="78" y="318"/>
                  </a:lnTo>
                  <a:lnTo>
                    <a:pt x="90" y="324"/>
                  </a:lnTo>
                  <a:lnTo>
                    <a:pt x="78" y="330"/>
                  </a:lnTo>
                  <a:lnTo>
                    <a:pt x="60" y="366"/>
                  </a:lnTo>
                  <a:lnTo>
                    <a:pt x="60" y="384"/>
                  </a:lnTo>
                  <a:lnTo>
                    <a:pt x="48" y="384"/>
                  </a:lnTo>
                  <a:lnTo>
                    <a:pt x="48" y="390"/>
                  </a:lnTo>
                  <a:lnTo>
                    <a:pt x="54" y="396"/>
                  </a:lnTo>
                  <a:lnTo>
                    <a:pt x="54" y="408"/>
                  </a:lnTo>
                  <a:lnTo>
                    <a:pt x="48" y="420"/>
                  </a:lnTo>
                  <a:lnTo>
                    <a:pt x="36" y="426"/>
                  </a:lnTo>
                  <a:lnTo>
                    <a:pt x="24" y="426"/>
                  </a:lnTo>
                  <a:lnTo>
                    <a:pt x="18" y="432"/>
                  </a:lnTo>
                  <a:lnTo>
                    <a:pt x="6" y="456"/>
                  </a:lnTo>
                  <a:lnTo>
                    <a:pt x="0" y="462"/>
                  </a:lnTo>
                  <a:lnTo>
                    <a:pt x="0" y="510"/>
                  </a:lnTo>
                  <a:lnTo>
                    <a:pt x="276" y="510"/>
                  </a:lnTo>
                  <a:lnTo>
                    <a:pt x="282" y="408"/>
                  </a:lnTo>
                  <a:lnTo>
                    <a:pt x="276" y="396"/>
                  </a:lnTo>
                  <a:lnTo>
                    <a:pt x="276" y="378"/>
                  </a:lnTo>
                  <a:lnTo>
                    <a:pt x="282" y="366"/>
                  </a:lnTo>
                  <a:lnTo>
                    <a:pt x="306" y="354"/>
                  </a:lnTo>
                  <a:lnTo>
                    <a:pt x="336" y="354"/>
                  </a:lnTo>
                  <a:lnTo>
                    <a:pt x="348" y="348"/>
                  </a:lnTo>
                  <a:lnTo>
                    <a:pt x="354" y="342"/>
                  </a:lnTo>
                  <a:lnTo>
                    <a:pt x="354" y="150"/>
                  </a:lnTo>
                  <a:lnTo>
                    <a:pt x="366" y="144"/>
                  </a:lnTo>
                  <a:lnTo>
                    <a:pt x="366" y="132"/>
                  </a:lnTo>
                  <a:lnTo>
                    <a:pt x="588" y="126"/>
                  </a:lnTo>
                  <a:lnTo>
                    <a:pt x="588" y="90"/>
                  </a:lnTo>
                  <a:lnTo>
                    <a:pt x="594" y="84"/>
                  </a:lnTo>
                  <a:lnTo>
                    <a:pt x="600" y="0"/>
                  </a:lnTo>
                  <a:lnTo>
                    <a:pt x="546" y="0"/>
                  </a:lnTo>
                  <a:close/>
                </a:path>
              </a:pathLst>
            </a:custGeom>
            <a:solidFill>
              <a:srgbClr val="692864"/>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49" name="West Bank" descr="© INSCALE GmbH, 05.05.2010&#10;http://www.presentationload.com/"/>
            <p:cNvSpPr>
              <a:spLocks/>
            </p:cNvSpPr>
            <p:nvPr/>
          </p:nvSpPr>
          <p:spPr bwMode="gray">
            <a:xfrm>
              <a:off x="5184779" y="3025775"/>
              <a:ext cx="17462" cy="38100"/>
            </a:xfrm>
            <a:custGeom>
              <a:avLst/>
              <a:gdLst>
                <a:gd name="T0" fmla="*/ 2147483647 w 42"/>
                <a:gd name="T1" fmla="*/ 2147483647 h 96"/>
                <a:gd name="T2" fmla="*/ 2147483647 w 42"/>
                <a:gd name="T3" fmla="*/ 2147483647 h 96"/>
                <a:gd name="T4" fmla="*/ 2147483647 w 42"/>
                <a:gd name="T5" fmla="*/ 2147483647 h 96"/>
                <a:gd name="T6" fmla="*/ 2147483647 w 42"/>
                <a:gd name="T7" fmla="*/ 0 h 96"/>
                <a:gd name="T8" fmla="*/ 2147483647 w 42"/>
                <a:gd name="T9" fmla="*/ 0 h 96"/>
                <a:gd name="T10" fmla="*/ 0 w 42"/>
                <a:gd name="T11" fmla="*/ 2147483647 h 96"/>
                <a:gd name="T12" fmla="*/ 0 w 42"/>
                <a:gd name="T13" fmla="*/ 2147483647 h 96"/>
                <a:gd name="T14" fmla="*/ 2147483647 w 42"/>
                <a:gd name="T15" fmla="*/ 2147483647 h 96"/>
                <a:gd name="T16" fmla="*/ 2147483647 w 42"/>
                <a:gd name="T17" fmla="*/ 2147483647 h 96"/>
                <a:gd name="T18" fmla="*/ 2147483647 w 42"/>
                <a:gd name="T19" fmla="*/ 2147483647 h 96"/>
                <a:gd name="T20" fmla="*/ 2147483647 w 42"/>
                <a:gd name="T21" fmla="*/ 2147483647 h 96"/>
                <a:gd name="T22" fmla="*/ 2147483647 w 42"/>
                <a:gd name="T23" fmla="*/ 2147483647 h 9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2"/>
                <a:gd name="T37" fmla="*/ 0 h 96"/>
                <a:gd name="T38" fmla="*/ 42 w 42"/>
                <a:gd name="T39" fmla="*/ 96 h 9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2" h="96">
                  <a:moveTo>
                    <a:pt x="24" y="78"/>
                  </a:moveTo>
                  <a:lnTo>
                    <a:pt x="30" y="84"/>
                  </a:lnTo>
                  <a:lnTo>
                    <a:pt x="42" y="72"/>
                  </a:lnTo>
                  <a:lnTo>
                    <a:pt x="36" y="0"/>
                  </a:lnTo>
                  <a:lnTo>
                    <a:pt x="18" y="0"/>
                  </a:lnTo>
                  <a:lnTo>
                    <a:pt x="0" y="18"/>
                  </a:lnTo>
                  <a:lnTo>
                    <a:pt x="0" y="90"/>
                  </a:lnTo>
                  <a:lnTo>
                    <a:pt x="6" y="96"/>
                  </a:lnTo>
                  <a:lnTo>
                    <a:pt x="12" y="90"/>
                  </a:lnTo>
                  <a:lnTo>
                    <a:pt x="18" y="90"/>
                  </a:lnTo>
                  <a:lnTo>
                    <a:pt x="18" y="84"/>
                  </a:lnTo>
                  <a:lnTo>
                    <a:pt x="24" y="78"/>
                  </a:lnTo>
                  <a:close/>
                </a:path>
              </a:pathLst>
            </a:custGeom>
            <a:solidFill>
              <a:srgbClr val="FFC000"/>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50" name="Uzbekistan" descr="© INSCALE GmbH, 05.05.2010&#10;http://www.presentationload.com/"/>
            <p:cNvSpPr>
              <a:spLocks/>
            </p:cNvSpPr>
            <p:nvPr/>
          </p:nvSpPr>
          <p:spPr bwMode="gray">
            <a:xfrm>
              <a:off x="5683255" y="2605087"/>
              <a:ext cx="476250" cy="268288"/>
            </a:xfrm>
            <a:custGeom>
              <a:avLst/>
              <a:gdLst>
                <a:gd name="T0" fmla="*/ 2147483647 w 1182"/>
                <a:gd name="T1" fmla="*/ 2147483647 h 666"/>
                <a:gd name="T2" fmla="*/ 2147483647 w 1182"/>
                <a:gd name="T3" fmla="*/ 2147483647 h 666"/>
                <a:gd name="T4" fmla="*/ 2147483647 w 1182"/>
                <a:gd name="T5" fmla="*/ 2147483647 h 666"/>
                <a:gd name="T6" fmla="*/ 2147483647 w 1182"/>
                <a:gd name="T7" fmla="*/ 2147483647 h 666"/>
                <a:gd name="T8" fmla="*/ 2147483647 w 1182"/>
                <a:gd name="T9" fmla="*/ 2147483647 h 666"/>
                <a:gd name="T10" fmla="*/ 2147483647 w 1182"/>
                <a:gd name="T11" fmla="*/ 2147483647 h 666"/>
                <a:gd name="T12" fmla="*/ 2147483647 w 1182"/>
                <a:gd name="T13" fmla="*/ 2147483647 h 666"/>
                <a:gd name="T14" fmla="*/ 2147483647 w 1182"/>
                <a:gd name="T15" fmla="*/ 2147483647 h 666"/>
                <a:gd name="T16" fmla="*/ 2147483647 w 1182"/>
                <a:gd name="T17" fmla="*/ 2147483647 h 666"/>
                <a:gd name="T18" fmla="*/ 2147483647 w 1182"/>
                <a:gd name="T19" fmla="*/ 2147483647 h 666"/>
                <a:gd name="T20" fmla="*/ 2147483647 w 1182"/>
                <a:gd name="T21" fmla="*/ 2147483647 h 666"/>
                <a:gd name="T22" fmla="*/ 2147483647 w 1182"/>
                <a:gd name="T23" fmla="*/ 2147483647 h 666"/>
                <a:gd name="T24" fmla="*/ 2147483647 w 1182"/>
                <a:gd name="T25" fmla="*/ 2147483647 h 666"/>
                <a:gd name="T26" fmla="*/ 2147483647 w 1182"/>
                <a:gd name="T27" fmla="*/ 2147483647 h 666"/>
                <a:gd name="T28" fmla="*/ 2147483647 w 1182"/>
                <a:gd name="T29" fmla="*/ 2147483647 h 666"/>
                <a:gd name="T30" fmla="*/ 2147483647 w 1182"/>
                <a:gd name="T31" fmla="*/ 2147483647 h 666"/>
                <a:gd name="T32" fmla="*/ 2147483647 w 1182"/>
                <a:gd name="T33" fmla="*/ 2147483647 h 666"/>
                <a:gd name="T34" fmla="*/ 2147483647 w 1182"/>
                <a:gd name="T35" fmla="*/ 2147483647 h 666"/>
                <a:gd name="T36" fmla="*/ 2147483647 w 1182"/>
                <a:gd name="T37" fmla="*/ 2147483647 h 666"/>
                <a:gd name="T38" fmla="*/ 2147483647 w 1182"/>
                <a:gd name="T39" fmla="*/ 2147483647 h 666"/>
                <a:gd name="T40" fmla="*/ 2147483647 w 1182"/>
                <a:gd name="T41" fmla="*/ 2147483647 h 666"/>
                <a:gd name="T42" fmla="*/ 2147483647 w 1182"/>
                <a:gd name="T43" fmla="*/ 2147483647 h 666"/>
                <a:gd name="T44" fmla="*/ 2147483647 w 1182"/>
                <a:gd name="T45" fmla="*/ 2147483647 h 666"/>
                <a:gd name="T46" fmla="*/ 2147483647 w 1182"/>
                <a:gd name="T47" fmla="*/ 2147483647 h 666"/>
                <a:gd name="T48" fmla="*/ 2147483647 w 1182"/>
                <a:gd name="T49" fmla="*/ 2147483647 h 666"/>
                <a:gd name="T50" fmla="*/ 2147483647 w 1182"/>
                <a:gd name="T51" fmla="*/ 2147483647 h 666"/>
                <a:gd name="T52" fmla="*/ 2147483647 w 1182"/>
                <a:gd name="T53" fmla="*/ 2147483647 h 666"/>
                <a:gd name="T54" fmla="*/ 2147483647 w 1182"/>
                <a:gd name="T55" fmla="*/ 2147483647 h 666"/>
                <a:gd name="T56" fmla="*/ 2147483647 w 1182"/>
                <a:gd name="T57" fmla="*/ 2147483647 h 666"/>
                <a:gd name="T58" fmla="*/ 2147483647 w 1182"/>
                <a:gd name="T59" fmla="*/ 2147483647 h 666"/>
                <a:gd name="T60" fmla="*/ 2147483647 w 1182"/>
                <a:gd name="T61" fmla="*/ 2147483647 h 666"/>
                <a:gd name="T62" fmla="*/ 2147483647 w 1182"/>
                <a:gd name="T63" fmla="*/ 2147483647 h 666"/>
                <a:gd name="T64" fmla="*/ 2147483647 w 1182"/>
                <a:gd name="T65" fmla="*/ 2147483647 h 666"/>
                <a:gd name="T66" fmla="*/ 2147483647 w 1182"/>
                <a:gd name="T67" fmla="*/ 2147483647 h 666"/>
                <a:gd name="T68" fmla="*/ 2147483647 w 1182"/>
                <a:gd name="T69" fmla="*/ 2147483647 h 666"/>
                <a:gd name="T70" fmla="*/ 2147483647 w 1182"/>
                <a:gd name="T71" fmla="*/ 2147483647 h 666"/>
                <a:gd name="T72" fmla="*/ 2147483647 w 1182"/>
                <a:gd name="T73" fmla="*/ 2147483647 h 666"/>
                <a:gd name="T74" fmla="*/ 2147483647 w 1182"/>
                <a:gd name="T75" fmla="*/ 2147483647 h 666"/>
                <a:gd name="T76" fmla="*/ 2147483647 w 1182"/>
                <a:gd name="T77" fmla="*/ 2147483647 h 666"/>
                <a:gd name="T78" fmla="*/ 2147483647 w 1182"/>
                <a:gd name="T79" fmla="*/ 2147483647 h 666"/>
                <a:gd name="T80" fmla="*/ 2147483647 w 1182"/>
                <a:gd name="T81" fmla="*/ 2147483647 h 666"/>
                <a:gd name="T82" fmla="*/ 2147483647 w 1182"/>
                <a:gd name="T83" fmla="*/ 2147483647 h 666"/>
                <a:gd name="T84" fmla="*/ 2147483647 w 1182"/>
                <a:gd name="T85" fmla="*/ 2147483647 h 666"/>
                <a:gd name="T86" fmla="*/ 2147483647 w 1182"/>
                <a:gd name="T87" fmla="*/ 2147483647 h 666"/>
                <a:gd name="T88" fmla="*/ 2147483647 w 1182"/>
                <a:gd name="T89" fmla="*/ 2147483647 h 666"/>
                <a:gd name="T90" fmla="*/ 2147483647 w 1182"/>
                <a:gd name="T91" fmla="*/ 2147483647 h 666"/>
                <a:gd name="T92" fmla="*/ 2147483647 w 1182"/>
                <a:gd name="T93" fmla="*/ 2147483647 h 666"/>
                <a:gd name="T94" fmla="*/ 2147483647 w 1182"/>
                <a:gd name="T95" fmla="*/ 2147483647 h 666"/>
                <a:gd name="T96" fmla="*/ 2147483647 w 1182"/>
                <a:gd name="T97" fmla="*/ 2147483647 h 666"/>
                <a:gd name="T98" fmla="*/ 2147483647 w 1182"/>
                <a:gd name="T99" fmla="*/ 2147483647 h 666"/>
                <a:gd name="T100" fmla="*/ 2147483647 w 1182"/>
                <a:gd name="T101" fmla="*/ 2147483647 h 666"/>
                <a:gd name="T102" fmla="*/ 2147483647 w 1182"/>
                <a:gd name="T103" fmla="*/ 2147483647 h 666"/>
                <a:gd name="T104" fmla="*/ 2147483647 w 1182"/>
                <a:gd name="T105" fmla="*/ 2147483647 h 666"/>
                <a:gd name="T106" fmla="*/ 2147483647 w 1182"/>
                <a:gd name="T107" fmla="*/ 2147483647 h 666"/>
                <a:gd name="T108" fmla="*/ 2147483647 w 1182"/>
                <a:gd name="T109" fmla="*/ 2147483647 h 666"/>
                <a:gd name="T110" fmla="*/ 2147483647 w 1182"/>
                <a:gd name="T111" fmla="*/ 2147483647 h 666"/>
                <a:gd name="T112" fmla="*/ 2147483647 w 1182"/>
                <a:gd name="T113" fmla="*/ 2147483647 h 666"/>
                <a:gd name="T114" fmla="*/ 2147483647 w 1182"/>
                <a:gd name="T115" fmla="*/ 2147483647 h 66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82"/>
                <a:gd name="T175" fmla="*/ 0 h 666"/>
                <a:gd name="T176" fmla="*/ 1182 w 1182"/>
                <a:gd name="T177" fmla="*/ 666 h 66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82" h="666">
                  <a:moveTo>
                    <a:pt x="1152" y="372"/>
                  </a:moveTo>
                  <a:lnTo>
                    <a:pt x="1146" y="360"/>
                  </a:lnTo>
                  <a:lnTo>
                    <a:pt x="1122" y="360"/>
                  </a:lnTo>
                  <a:lnTo>
                    <a:pt x="1116" y="342"/>
                  </a:lnTo>
                  <a:lnTo>
                    <a:pt x="1098" y="342"/>
                  </a:lnTo>
                  <a:lnTo>
                    <a:pt x="1080" y="318"/>
                  </a:lnTo>
                  <a:lnTo>
                    <a:pt x="1080" y="330"/>
                  </a:lnTo>
                  <a:lnTo>
                    <a:pt x="1068" y="330"/>
                  </a:lnTo>
                  <a:lnTo>
                    <a:pt x="1068" y="342"/>
                  </a:lnTo>
                  <a:lnTo>
                    <a:pt x="1032" y="342"/>
                  </a:lnTo>
                  <a:lnTo>
                    <a:pt x="1020" y="330"/>
                  </a:lnTo>
                  <a:lnTo>
                    <a:pt x="990" y="318"/>
                  </a:lnTo>
                  <a:lnTo>
                    <a:pt x="1038" y="270"/>
                  </a:lnTo>
                  <a:lnTo>
                    <a:pt x="1038" y="264"/>
                  </a:lnTo>
                  <a:lnTo>
                    <a:pt x="1032" y="264"/>
                  </a:lnTo>
                  <a:lnTo>
                    <a:pt x="1032" y="258"/>
                  </a:lnTo>
                  <a:lnTo>
                    <a:pt x="1002" y="276"/>
                  </a:lnTo>
                  <a:lnTo>
                    <a:pt x="978" y="276"/>
                  </a:lnTo>
                  <a:lnTo>
                    <a:pt x="966" y="300"/>
                  </a:lnTo>
                  <a:lnTo>
                    <a:pt x="960" y="300"/>
                  </a:lnTo>
                  <a:lnTo>
                    <a:pt x="954" y="306"/>
                  </a:lnTo>
                  <a:lnTo>
                    <a:pt x="942" y="306"/>
                  </a:lnTo>
                  <a:lnTo>
                    <a:pt x="930" y="312"/>
                  </a:lnTo>
                  <a:lnTo>
                    <a:pt x="918" y="324"/>
                  </a:lnTo>
                  <a:lnTo>
                    <a:pt x="918" y="342"/>
                  </a:lnTo>
                  <a:lnTo>
                    <a:pt x="912" y="342"/>
                  </a:lnTo>
                  <a:lnTo>
                    <a:pt x="906" y="348"/>
                  </a:lnTo>
                  <a:lnTo>
                    <a:pt x="894" y="354"/>
                  </a:lnTo>
                  <a:lnTo>
                    <a:pt x="882" y="366"/>
                  </a:lnTo>
                  <a:lnTo>
                    <a:pt x="882" y="378"/>
                  </a:lnTo>
                  <a:lnTo>
                    <a:pt x="888" y="384"/>
                  </a:lnTo>
                  <a:lnTo>
                    <a:pt x="888" y="396"/>
                  </a:lnTo>
                  <a:lnTo>
                    <a:pt x="882" y="390"/>
                  </a:lnTo>
                  <a:lnTo>
                    <a:pt x="870" y="390"/>
                  </a:lnTo>
                  <a:lnTo>
                    <a:pt x="858" y="384"/>
                  </a:lnTo>
                  <a:lnTo>
                    <a:pt x="852" y="384"/>
                  </a:lnTo>
                  <a:lnTo>
                    <a:pt x="852" y="372"/>
                  </a:lnTo>
                  <a:lnTo>
                    <a:pt x="858" y="366"/>
                  </a:lnTo>
                  <a:lnTo>
                    <a:pt x="858" y="348"/>
                  </a:lnTo>
                  <a:lnTo>
                    <a:pt x="840" y="342"/>
                  </a:lnTo>
                  <a:lnTo>
                    <a:pt x="762" y="342"/>
                  </a:lnTo>
                  <a:lnTo>
                    <a:pt x="732" y="282"/>
                  </a:lnTo>
                  <a:lnTo>
                    <a:pt x="726" y="276"/>
                  </a:lnTo>
                  <a:lnTo>
                    <a:pt x="714" y="276"/>
                  </a:lnTo>
                  <a:lnTo>
                    <a:pt x="708" y="282"/>
                  </a:lnTo>
                  <a:lnTo>
                    <a:pt x="702" y="282"/>
                  </a:lnTo>
                  <a:lnTo>
                    <a:pt x="696" y="276"/>
                  </a:lnTo>
                  <a:lnTo>
                    <a:pt x="696" y="234"/>
                  </a:lnTo>
                  <a:lnTo>
                    <a:pt x="690" y="216"/>
                  </a:lnTo>
                  <a:lnTo>
                    <a:pt x="690" y="204"/>
                  </a:lnTo>
                  <a:lnTo>
                    <a:pt x="660" y="204"/>
                  </a:lnTo>
                  <a:lnTo>
                    <a:pt x="654" y="192"/>
                  </a:lnTo>
                  <a:lnTo>
                    <a:pt x="642" y="186"/>
                  </a:lnTo>
                  <a:lnTo>
                    <a:pt x="636" y="168"/>
                  </a:lnTo>
                  <a:lnTo>
                    <a:pt x="618" y="150"/>
                  </a:lnTo>
                  <a:lnTo>
                    <a:pt x="612" y="138"/>
                  </a:lnTo>
                  <a:lnTo>
                    <a:pt x="600" y="138"/>
                  </a:lnTo>
                  <a:lnTo>
                    <a:pt x="576" y="150"/>
                  </a:lnTo>
                  <a:lnTo>
                    <a:pt x="570" y="156"/>
                  </a:lnTo>
                  <a:lnTo>
                    <a:pt x="552" y="156"/>
                  </a:lnTo>
                  <a:lnTo>
                    <a:pt x="534" y="150"/>
                  </a:lnTo>
                  <a:lnTo>
                    <a:pt x="474" y="150"/>
                  </a:lnTo>
                  <a:lnTo>
                    <a:pt x="456" y="156"/>
                  </a:lnTo>
                  <a:lnTo>
                    <a:pt x="420" y="156"/>
                  </a:lnTo>
                  <a:lnTo>
                    <a:pt x="414" y="162"/>
                  </a:lnTo>
                  <a:lnTo>
                    <a:pt x="408" y="162"/>
                  </a:lnTo>
                  <a:lnTo>
                    <a:pt x="330" y="90"/>
                  </a:lnTo>
                  <a:lnTo>
                    <a:pt x="264" y="54"/>
                  </a:lnTo>
                  <a:lnTo>
                    <a:pt x="270" y="66"/>
                  </a:lnTo>
                  <a:lnTo>
                    <a:pt x="270" y="90"/>
                  </a:lnTo>
                  <a:lnTo>
                    <a:pt x="264" y="102"/>
                  </a:lnTo>
                  <a:lnTo>
                    <a:pt x="258" y="108"/>
                  </a:lnTo>
                  <a:lnTo>
                    <a:pt x="240" y="108"/>
                  </a:lnTo>
                  <a:lnTo>
                    <a:pt x="228" y="102"/>
                  </a:lnTo>
                  <a:lnTo>
                    <a:pt x="222" y="96"/>
                  </a:lnTo>
                  <a:lnTo>
                    <a:pt x="222" y="78"/>
                  </a:lnTo>
                  <a:lnTo>
                    <a:pt x="210" y="54"/>
                  </a:lnTo>
                  <a:lnTo>
                    <a:pt x="216" y="36"/>
                  </a:lnTo>
                  <a:lnTo>
                    <a:pt x="162" y="12"/>
                  </a:lnTo>
                  <a:lnTo>
                    <a:pt x="156" y="30"/>
                  </a:lnTo>
                  <a:lnTo>
                    <a:pt x="168" y="36"/>
                  </a:lnTo>
                  <a:lnTo>
                    <a:pt x="174" y="48"/>
                  </a:lnTo>
                  <a:lnTo>
                    <a:pt x="174" y="72"/>
                  </a:lnTo>
                  <a:lnTo>
                    <a:pt x="168" y="78"/>
                  </a:lnTo>
                  <a:lnTo>
                    <a:pt x="156" y="84"/>
                  </a:lnTo>
                  <a:lnTo>
                    <a:pt x="150" y="84"/>
                  </a:lnTo>
                  <a:lnTo>
                    <a:pt x="144" y="78"/>
                  </a:lnTo>
                  <a:lnTo>
                    <a:pt x="144" y="60"/>
                  </a:lnTo>
                  <a:lnTo>
                    <a:pt x="132" y="48"/>
                  </a:lnTo>
                  <a:lnTo>
                    <a:pt x="132" y="42"/>
                  </a:lnTo>
                  <a:lnTo>
                    <a:pt x="144" y="30"/>
                  </a:lnTo>
                  <a:lnTo>
                    <a:pt x="150" y="6"/>
                  </a:lnTo>
                  <a:lnTo>
                    <a:pt x="144" y="0"/>
                  </a:lnTo>
                  <a:lnTo>
                    <a:pt x="0" y="42"/>
                  </a:lnTo>
                  <a:lnTo>
                    <a:pt x="48" y="324"/>
                  </a:lnTo>
                  <a:lnTo>
                    <a:pt x="60" y="324"/>
                  </a:lnTo>
                  <a:lnTo>
                    <a:pt x="72" y="336"/>
                  </a:lnTo>
                  <a:lnTo>
                    <a:pt x="138" y="336"/>
                  </a:lnTo>
                  <a:lnTo>
                    <a:pt x="132" y="324"/>
                  </a:lnTo>
                  <a:lnTo>
                    <a:pt x="120" y="318"/>
                  </a:lnTo>
                  <a:lnTo>
                    <a:pt x="114" y="300"/>
                  </a:lnTo>
                  <a:lnTo>
                    <a:pt x="114" y="288"/>
                  </a:lnTo>
                  <a:lnTo>
                    <a:pt x="132" y="270"/>
                  </a:lnTo>
                  <a:lnTo>
                    <a:pt x="144" y="264"/>
                  </a:lnTo>
                  <a:lnTo>
                    <a:pt x="156" y="264"/>
                  </a:lnTo>
                  <a:lnTo>
                    <a:pt x="162" y="258"/>
                  </a:lnTo>
                  <a:lnTo>
                    <a:pt x="168" y="258"/>
                  </a:lnTo>
                  <a:lnTo>
                    <a:pt x="168" y="246"/>
                  </a:lnTo>
                  <a:lnTo>
                    <a:pt x="174" y="240"/>
                  </a:lnTo>
                  <a:lnTo>
                    <a:pt x="180" y="240"/>
                  </a:lnTo>
                  <a:lnTo>
                    <a:pt x="186" y="246"/>
                  </a:lnTo>
                  <a:lnTo>
                    <a:pt x="198" y="246"/>
                  </a:lnTo>
                  <a:lnTo>
                    <a:pt x="204" y="252"/>
                  </a:lnTo>
                  <a:lnTo>
                    <a:pt x="174" y="222"/>
                  </a:lnTo>
                  <a:lnTo>
                    <a:pt x="204" y="228"/>
                  </a:lnTo>
                  <a:lnTo>
                    <a:pt x="210" y="216"/>
                  </a:lnTo>
                  <a:lnTo>
                    <a:pt x="228" y="240"/>
                  </a:lnTo>
                  <a:lnTo>
                    <a:pt x="252" y="240"/>
                  </a:lnTo>
                  <a:lnTo>
                    <a:pt x="252" y="252"/>
                  </a:lnTo>
                  <a:lnTo>
                    <a:pt x="264" y="258"/>
                  </a:lnTo>
                  <a:lnTo>
                    <a:pt x="300" y="258"/>
                  </a:lnTo>
                  <a:lnTo>
                    <a:pt x="306" y="264"/>
                  </a:lnTo>
                  <a:lnTo>
                    <a:pt x="312" y="276"/>
                  </a:lnTo>
                  <a:lnTo>
                    <a:pt x="312" y="288"/>
                  </a:lnTo>
                  <a:lnTo>
                    <a:pt x="324" y="294"/>
                  </a:lnTo>
                  <a:lnTo>
                    <a:pt x="312" y="306"/>
                  </a:lnTo>
                  <a:lnTo>
                    <a:pt x="312" y="318"/>
                  </a:lnTo>
                  <a:lnTo>
                    <a:pt x="330" y="336"/>
                  </a:lnTo>
                  <a:lnTo>
                    <a:pt x="360" y="336"/>
                  </a:lnTo>
                  <a:lnTo>
                    <a:pt x="414" y="342"/>
                  </a:lnTo>
                  <a:lnTo>
                    <a:pt x="414" y="336"/>
                  </a:lnTo>
                  <a:lnTo>
                    <a:pt x="450" y="354"/>
                  </a:lnTo>
                  <a:lnTo>
                    <a:pt x="468" y="384"/>
                  </a:lnTo>
                  <a:lnTo>
                    <a:pt x="486" y="402"/>
                  </a:lnTo>
                  <a:lnTo>
                    <a:pt x="486" y="408"/>
                  </a:lnTo>
                  <a:lnTo>
                    <a:pt x="492" y="414"/>
                  </a:lnTo>
                  <a:lnTo>
                    <a:pt x="510" y="450"/>
                  </a:lnTo>
                  <a:lnTo>
                    <a:pt x="522" y="462"/>
                  </a:lnTo>
                  <a:lnTo>
                    <a:pt x="534" y="468"/>
                  </a:lnTo>
                  <a:lnTo>
                    <a:pt x="552" y="468"/>
                  </a:lnTo>
                  <a:lnTo>
                    <a:pt x="564" y="474"/>
                  </a:lnTo>
                  <a:lnTo>
                    <a:pt x="570" y="474"/>
                  </a:lnTo>
                  <a:lnTo>
                    <a:pt x="582" y="486"/>
                  </a:lnTo>
                  <a:lnTo>
                    <a:pt x="588" y="498"/>
                  </a:lnTo>
                  <a:lnTo>
                    <a:pt x="594" y="504"/>
                  </a:lnTo>
                  <a:lnTo>
                    <a:pt x="624" y="522"/>
                  </a:lnTo>
                  <a:lnTo>
                    <a:pt x="648" y="522"/>
                  </a:lnTo>
                  <a:lnTo>
                    <a:pt x="666" y="534"/>
                  </a:lnTo>
                  <a:lnTo>
                    <a:pt x="690" y="546"/>
                  </a:lnTo>
                  <a:lnTo>
                    <a:pt x="696" y="552"/>
                  </a:lnTo>
                  <a:lnTo>
                    <a:pt x="708" y="558"/>
                  </a:lnTo>
                  <a:lnTo>
                    <a:pt x="720" y="570"/>
                  </a:lnTo>
                  <a:lnTo>
                    <a:pt x="732" y="570"/>
                  </a:lnTo>
                  <a:lnTo>
                    <a:pt x="744" y="582"/>
                  </a:lnTo>
                  <a:lnTo>
                    <a:pt x="750" y="582"/>
                  </a:lnTo>
                  <a:lnTo>
                    <a:pt x="774" y="576"/>
                  </a:lnTo>
                  <a:lnTo>
                    <a:pt x="822" y="606"/>
                  </a:lnTo>
                  <a:lnTo>
                    <a:pt x="816" y="612"/>
                  </a:lnTo>
                  <a:lnTo>
                    <a:pt x="816" y="630"/>
                  </a:lnTo>
                  <a:lnTo>
                    <a:pt x="828" y="642"/>
                  </a:lnTo>
                  <a:lnTo>
                    <a:pt x="828" y="654"/>
                  </a:lnTo>
                  <a:lnTo>
                    <a:pt x="840" y="654"/>
                  </a:lnTo>
                  <a:lnTo>
                    <a:pt x="852" y="642"/>
                  </a:lnTo>
                  <a:lnTo>
                    <a:pt x="870" y="666"/>
                  </a:lnTo>
                  <a:lnTo>
                    <a:pt x="882" y="660"/>
                  </a:lnTo>
                  <a:lnTo>
                    <a:pt x="894" y="660"/>
                  </a:lnTo>
                  <a:lnTo>
                    <a:pt x="900" y="666"/>
                  </a:lnTo>
                  <a:lnTo>
                    <a:pt x="906" y="666"/>
                  </a:lnTo>
                  <a:lnTo>
                    <a:pt x="900" y="666"/>
                  </a:lnTo>
                  <a:lnTo>
                    <a:pt x="900" y="642"/>
                  </a:lnTo>
                  <a:lnTo>
                    <a:pt x="906" y="636"/>
                  </a:lnTo>
                  <a:lnTo>
                    <a:pt x="912" y="624"/>
                  </a:lnTo>
                  <a:lnTo>
                    <a:pt x="924" y="618"/>
                  </a:lnTo>
                  <a:lnTo>
                    <a:pt x="930" y="606"/>
                  </a:lnTo>
                  <a:lnTo>
                    <a:pt x="930" y="588"/>
                  </a:lnTo>
                  <a:lnTo>
                    <a:pt x="918" y="576"/>
                  </a:lnTo>
                  <a:lnTo>
                    <a:pt x="906" y="570"/>
                  </a:lnTo>
                  <a:lnTo>
                    <a:pt x="900" y="564"/>
                  </a:lnTo>
                  <a:lnTo>
                    <a:pt x="900" y="546"/>
                  </a:lnTo>
                  <a:lnTo>
                    <a:pt x="906" y="540"/>
                  </a:lnTo>
                  <a:lnTo>
                    <a:pt x="906" y="534"/>
                  </a:lnTo>
                  <a:lnTo>
                    <a:pt x="894" y="522"/>
                  </a:lnTo>
                  <a:lnTo>
                    <a:pt x="882" y="522"/>
                  </a:lnTo>
                  <a:lnTo>
                    <a:pt x="876" y="516"/>
                  </a:lnTo>
                  <a:lnTo>
                    <a:pt x="870" y="516"/>
                  </a:lnTo>
                  <a:lnTo>
                    <a:pt x="858" y="504"/>
                  </a:lnTo>
                  <a:lnTo>
                    <a:pt x="840" y="504"/>
                  </a:lnTo>
                  <a:lnTo>
                    <a:pt x="840" y="486"/>
                  </a:lnTo>
                  <a:lnTo>
                    <a:pt x="846" y="480"/>
                  </a:lnTo>
                  <a:lnTo>
                    <a:pt x="894" y="480"/>
                  </a:lnTo>
                  <a:lnTo>
                    <a:pt x="918" y="468"/>
                  </a:lnTo>
                  <a:lnTo>
                    <a:pt x="918" y="456"/>
                  </a:lnTo>
                  <a:lnTo>
                    <a:pt x="912" y="456"/>
                  </a:lnTo>
                  <a:lnTo>
                    <a:pt x="930" y="444"/>
                  </a:lnTo>
                  <a:lnTo>
                    <a:pt x="906" y="420"/>
                  </a:lnTo>
                  <a:lnTo>
                    <a:pt x="948" y="420"/>
                  </a:lnTo>
                  <a:lnTo>
                    <a:pt x="948" y="414"/>
                  </a:lnTo>
                  <a:lnTo>
                    <a:pt x="936" y="402"/>
                  </a:lnTo>
                  <a:lnTo>
                    <a:pt x="936" y="390"/>
                  </a:lnTo>
                  <a:lnTo>
                    <a:pt x="942" y="384"/>
                  </a:lnTo>
                  <a:lnTo>
                    <a:pt x="942" y="372"/>
                  </a:lnTo>
                  <a:lnTo>
                    <a:pt x="954" y="372"/>
                  </a:lnTo>
                  <a:lnTo>
                    <a:pt x="972" y="390"/>
                  </a:lnTo>
                  <a:lnTo>
                    <a:pt x="978" y="390"/>
                  </a:lnTo>
                  <a:lnTo>
                    <a:pt x="984" y="378"/>
                  </a:lnTo>
                  <a:lnTo>
                    <a:pt x="996" y="372"/>
                  </a:lnTo>
                  <a:lnTo>
                    <a:pt x="1002" y="360"/>
                  </a:lnTo>
                  <a:lnTo>
                    <a:pt x="1020" y="360"/>
                  </a:lnTo>
                  <a:lnTo>
                    <a:pt x="1032" y="366"/>
                  </a:lnTo>
                  <a:lnTo>
                    <a:pt x="1038" y="372"/>
                  </a:lnTo>
                  <a:lnTo>
                    <a:pt x="1014" y="408"/>
                  </a:lnTo>
                  <a:lnTo>
                    <a:pt x="1026" y="408"/>
                  </a:lnTo>
                  <a:lnTo>
                    <a:pt x="1032" y="414"/>
                  </a:lnTo>
                  <a:lnTo>
                    <a:pt x="1044" y="414"/>
                  </a:lnTo>
                  <a:lnTo>
                    <a:pt x="1050" y="420"/>
                  </a:lnTo>
                  <a:lnTo>
                    <a:pt x="1056" y="420"/>
                  </a:lnTo>
                  <a:lnTo>
                    <a:pt x="1068" y="414"/>
                  </a:lnTo>
                  <a:lnTo>
                    <a:pt x="1086" y="414"/>
                  </a:lnTo>
                  <a:lnTo>
                    <a:pt x="1092" y="420"/>
                  </a:lnTo>
                  <a:lnTo>
                    <a:pt x="1098" y="420"/>
                  </a:lnTo>
                  <a:lnTo>
                    <a:pt x="1104" y="426"/>
                  </a:lnTo>
                  <a:lnTo>
                    <a:pt x="1110" y="426"/>
                  </a:lnTo>
                  <a:lnTo>
                    <a:pt x="1128" y="408"/>
                  </a:lnTo>
                  <a:lnTo>
                    <a:pt x="1146" y="402"/>
                  </a:lnTo>
                  <a:lnTo>
                    <a:pt x="1146" y="396"/>
                  </a:lnTo>
                  <a:lnTo>
                    <a:pt x="1158" y="396"/>
                  </a:lnTo>
                  <a:lnTo>
                    <a:pt x="1170" y="390"/>
                  </a:lnTo>
                  <a:lnTo>
                    <a:pt x="1182" y="378"/>
                  </a:lnTo>
                  <a:lnTo>
                    <a:pt x="1182" y="366"/>
                  </a:lnTo>
                  <a:lnTo>
                    <a:pt x="1170" y="366"/>
                  </a:lnTo>
                  <a:lnTo>
                    <a:pt x="1158" y="372"/>
                  </a:lnTo>
                  <a:lnTo>
                    <a:pt x="1152" y="372"/>
                  </a:lnTo>
                  <a:close/>
                </a:path>
              </a:pathLst>
            </a:cu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2700000" scaled="1"/>
              <a:tileRect/>
            </a:gra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51" name="Vietnam" descr="© INSCALE GmbH, 05.05.2010&#10;http://www.presentationload.com/"/>
            <p:cNvSpPr>
              <a:spLocks/>
            </p:cNvSpPr>
            <p:nvPr/>
          </p:nvSpPr>
          <p:spPr bwMode="gray">
            <a:xfrm>
              <a:off x="7086606" y="3319462"/>
              <a:ext cx="244475" cy="479424"/>
            </a:xfrm>
            <a:custGeom>
              <a:avLst/>
              <a:gdLst>
                <a:gd name="T0" fmla="*/ 2147483647 w 606"/>
                <a:gd name="T1" fmla="*/ 2147483647 h 1194"/>
                <a:gd name="T2" fmla="*/ 2147483647 w 606"/>
                <a:gd name="T3" fmla="*/ 2147483647 h 1194"/>
                <a:gd name="T4" fmla="*/ 2147483647 w 606"/>
                <a:gd name="T5" fmla="*/ 2147483647 h 1194"/>
                <a:gd name="T6" fmla="*/ 2147483647 w 606"/>
                <a:gd name="T7" fmla="*/ 2147483647 h 1194"/>
                <a:gd name="T8" fmla="*/ 2147483647 w 606"/>
                <a:gd name="T9" fmla="*/ 2147483647 h 1194"/>
                <a:gd name="T10" fmla="*/ 2147483647 w 606"/>
                <a:gd name="T11" fmla="*/ 2147483647 h 1194"/>
                <a:gd name="T12" fmla="*/ 2147483647 w 606"/>
                <a:gd name="T13" fmla="*/ 2147483647 h 1194"/>
                <a:gd name="T14" fmla="*/ 2147483647 w 606"/>
                <a:gd name="T15" fmla="*/ 2147483647 h 1194"/>
                <a:gd name="T16" fmla="*/ 2147483647 w 606"/>
                <a:gd name="T17" fmla="*/ 2147483647 h 1194"/>
                <a:gd name="T18" fmla="*/ 2147483647 w 606"/>
                <a:gd name="T19" fmla="*/ 2147483647 h 1194"/>
                <a:gd name="T20" fmla="*/ 2147483647 w 606"/>
                <a:gd name="T21" fmla="*/ 2147483647 h 1194"/>
                <a:gd name="T22" fmla="*/ 2147483647 w 606"/>
                <a:gd name="T23" fmla="*/ 2147483647 h 1194"/>
                <a:gd name="T24" fmla="*/ 2147483647 w 606"/>
                <a:gd name="T25" fmla="*/ 2147483647 h 1194"/>
                <a:gd name="T26" fmla="*/ 2147483647 w 606"/>
                <a:gd name="T27" fmla="*/ 2147483647 h 1194"/>
                <a:gd name="T28" fmla="*/ 2147483647 w 606"/>
                <a:gd name="T29" fmla="*/ 2147483647 h 1194"/>
                <a:gd name="T30" fmla="*/ 2147483647 w 606"/>
                <a:gd name="T31" fmla="*/ 2147483647 h 1194"/>
                <a:gd name="T32" fmla="*/ 2147483647 w 606"/>
                <a:gd name="T33" fmla="*/ 2147483647 h 1194"/>
                <a:gd name="T34" fmla="*/ 2147483647 w 606"/>
                <a:gd name="T35" fmla="*/ 2147483647 h 1194"/>
                <a:gd name="T36" fmla="*/ 2147483647 w 606"/>
                <a:gd name="T37" fmla="*/ 2147483647 h 1194"/>
                <a:gd name="T38" fmla="*/ 2147483647 w 606"/>
                <a:gd name="T39" fmla="*/ 2147483647 h 1194"/>
                <a:gd name="T40" fmla="*/ 2147483647 w 606"/>
                <a:gd name="T41" fmla="*/ 2147483647 h 1194"/>
                <a:gd name="T42" fmla="*/ 2147483647 w 606"/>
                <a:gd name="T43" fmla="*/ 2147483647 h 1194"/>
                <a:gd name="T44" fmla="*/ 2147483647 w 606"/>
                <a:gd name="T45" fmla="*/ 2147483647 h 1194"/>
                <a:gd name="T46" fmla="*/ 2147483647 w 606"/>
                <a:gd name="T47" fmla="*/ 2147483647 h 1194"/>
                <a:gd name="T48" fmla="*/ 2147483647 w 606"/>
                <a:gd name="T49" fmla="*/ 2147483647 h 1194"/>
                <a:gd name="T50" fmla="*/ 2147483647 w 606"/>
                <a:gd name="T51" fmla="*/ 2147483647 h 1194"/>
                <a:gd name="T52" fmla="*/ 2147483647 w 606"/>
                <a:gd name="T53" fmla="*/ 2147483647 h 1194"/>
                <a:gd name="T54" fmla="*/ 2147483647 w 606"/>
                <a:gd name="T55" fmla="*/ 2147483647 h 1194"/>
                <a:gd name="T56" fmla="*/ 2147483647 w 606"/>
                <a:gd name="T57" fmla="*/ 2147483647 h 1194"/>
                <a:gd name="T58" fmla="*/ 2147483647 w 606"/>
                <a:gd name="T59" fmla="*/ 2147483647 h 1194"/>
                <a:gd name="T60" fmla="*/ 2147483647 w 606"/>
                <a:gd name="T61" fmla="*/ 2147483647 h 1194"/>
                <a:gd name="T62" fmla="*/ 2147483647 w 606"/>
                <a:gd name="T63" fmla="*/ 2147483647 h 1194"/>
                <a:gd name="T64" fmla="*/ 2147483647 w 606"/>
                <a:gd name="T65" fmla="*/ 2147483647 h 1194"/>
                <a:gd name="T66" fmla="*/ 2147483647 w 606"/>
                <a:gd name="T67" fmla="*/ 2147483647 h 1194"/>
                <a:gd name="T68" fmla="*/ 2147483647 w 606"/>
                <a:gd name="T69" fmla="*/ 2147483647 h 1194"/>
                <a:gd name="T70" fmla="*/ 2147483647 w 606"/>
                <a:gd name="T71" fmla="*/ 2147483647 h 1194"/>
                <a:gd name="T72" fmla="*/ 2147483647 w 606"/>
                <a:gd name="T73" fmla="*/ 2147483647 h 1194"/>
                <a:gd name="T74" fmla="*/ 2147483647 w 606"/>
                <a:gd name="T75" fmla="*/ 2147483647 h 1194"/>
                <a:gd name="T76" fmla="*/ 2147483647 w 606"/>
                <a:gd name="T77" fmla="*/ 2147483647 h 1194"/>
                <a:gd name="T78" fmla="*/ 2147483647 w 606"/>
                <a:gd name="T79" fmla="*/ 2147483647 h 1194"/>
                <a:gd name="T80" fmla="*/ 2147483647 w 606"/>
                <a:gd name="T81" fmla="*/ 2147483647 h 1194"/>
                <a:gd name="T82" fmla="*/ 2147483647 w 606"/>
                <a:gd name="T83" fmla="*/ 2147483647 h 1194"/>
                <a:gd name="T84" fmla="*/ 2147483647 w 606"/>
                <a:gd name="T85" fmla="*/ 2147483647 h 1194"/>
                <a:gd name="T86" fmla="*/ 2147483647 w 606"/>
                <a:gd name="T87" fmla="*/ 2147483647 h 1194"/>
                <a:gd name="T88" fmla="*/ 2147483647 w 606"/>
                <a:gd name="T89" fmla="*/ 2147483647 h 1194"/>
                <a:gd name="T90" fmla="*/ 2147483647 w 606"/>
                <a:gd name="T91" fmla="*/ 2147483647 h 1194"/>
                <a:gd name="T92" fmla="*/ 2147483647 w 606"/>
                <a:gd name="T93" fmla="*/ 2147483647 h 1194"/>
                <a:gd name="T94" fmla="*/ 2147483647 w 606"/>
                <a:gd name="T95" fmla="*/ 2147483647 h 1194"/>
                <a:gd name="T96" fmla="*/ 2147483647 w 606"/>
                <a:gd name="T97" fmla="*/ 2147483647 h 1194"/>
                <a:gd name="T98" fmla="*/ 2147483647 w 606"/>
                <a:gd name="T99" fmla="*/ 2147483647 h 1194"/>
                <a:gd name="T100" fmla="*/ 2147483647 w 606"/>
                <a:gd name="T101" fmla="*/ 2147483647 h 1194"/>
                <a:gd name="T102" fmla="*/ 2147483647 w 606"/>
                <a:gd name="T103" fmla="*/ 2147483647 h 1194"/>
                <a:gd name="T104" fmla="*/ 2147483647 w 606"/>
                <a:gd name="T105" fmla="*/ 2147483647 h 1194"/>
                <a:gd name="T106" fmla="*/ 2147483647 w 606"/>
                <a:gd name="T107" fmla="*/ 2147483647 h 1194"/>
                <a:gd name="T108" fmla="*/ 2147483647 w 606"/>
                <a:gd name="T109" fmla="*/ 2147483647 h 1194"/>
                <a:gd name="T110" fmla="*/ 2147483647 w 606"/>
                <a:gd name="T111" fmla="*/ 2147483647 h 1194"/>
                <a:gd name="T112" fmla="*/ 2147483647 w 606"/>
                <a:gd name="T113" fmla="*/ 2147483647 h 1194"/>
                <a:gd name="T114" fmla="*/ 2147483647 w 606"/>
                <a:gd name="T115" fmla="*/ 2147483647 h 1194"/>
                <a:gd name="T116" fmla="*/ 2147483647 w 606"/>
                <a:gd name="T117" fmla="*/ 2147483647 h 1194"/>
                <a:gd name="T118" fmla="*/ 2147483647 w 606"/>
                <a:gd name="T119" fmla="*/ 2147483647 h 1194"/>
                <a:gd name="T120" fmla="*/ 2147483647 w 606"/>
                <a:gd name="T121" fmla="*/ 2147483647 h 1194"/>
                <a:gd name="T122" fmla="*/ 2147483647 w 606"/>
                <a:gd name="T123" fmla="*/ 2147483647 h 11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06"/>
                <a:gd name="T187" fmla="*/ 0 h 1194"/>
                <a:gd name="T188" fmla="*/ 606 w 606"/>
                <a:gd name="T189" fmla="*/ 1194 h 11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06" h="1194">
                  <a:moveTo>
                    <a:pt x="6" y="48"/>
                  </a:moveTo>
                  <a:lnTo>
                    <a:pt x="0" y="60"/>
                  </a:lnTo>
                  <a:lnTo>
                    <a:pt x="0" y="72"/>
                  </a:lnTo>
                  <a:lnTo>
                    <a:pt x="12" y="96"/>
                  </a:lnTo>
                  <a:lnTo>
                    <a:pt x="18" y="102"/>
                  </a:lnTo>
                  <a:lnTo>
                    <a:pt x="24" y="114"/>
                  </a:lnTo>
                  <a:lnTo>
                    <a:pt x="36" y="120"/>
                  </a:lnTo>
                  <a:lnTo>
                    <a:pt x="42" y="132"/>
                  </a:lnTo>
                  <a:lnTo>
                    <a:pt x="48" y="126"/>
                  </a:lnTo>
                  <a:lnTo>
                    <a:pt x="54" y="126"/>
                  </a:lnTo>
                  <a:lnTo>
                    <a:pt x="54" y="156"/>
                  </a:lnTo>
                  <a:lnTo>
                    <a:pt x="66" y="180"/>
                  </a:lnTo>
                  <a:lnTo>
                    <a:pt x="84" y="198"/>
                  </a:lnTo>
                  <a:lnTo>
                    <a:pt x="90" y="210"/>
                  </a:lnTo>
                  <a:lnTo>
                    <a:pt x="108" y="210"/>
                  </a:lnTo>
                  <a:lnTo>
                    <a:pt x="108" y="216"/>
                  </a:lnTo>
                  <a:lnTo>
                    <a:pt x="120" y="228"/>
                  </a:lnTo>
                  <a:lnTo>
                    <a:pt x="126" y="222"/>
                  </a:lnTo>
                  <a:lnTo>
                    <a:pt x="132" y="210"/>
                  </a:lnTo>
                  <a:lnTo>
                    <a:pt x="132" y="204"/>
                  </a:lnTo>
                  <a:lnTo>
                    <a:pt x="138" y="192"/>
                  </a:lnTo>
                  <a:lnTo>
                    <a:pt x="150" y="192"/>
                  </a:lnTo>
                  <a:lnTo>
                    <a:pt x="162" y="198"/>
                  </a:lnTo>
                  <a:lnTo>
                    <a:pt x="186" y="222"/>
                  </a:lnTo>
                  <a:lnTo>
                    <a:pt x="180" y="222"/>
                  </a:lnTo>
                  <a:lnTo>
                    <a:pt x="174" y="228"/>
                  </a:lnTo>
                  <a:lnTo>
                    <a:pt x="174" y="234"/>
                  </a:lnTo>
                  <a:lnTo>
                    <a:pt x="198" y="246"/>
                  </a:lnTo>
                  <a:lnTo>
                    <a:pt x="216" y="252"/>
                  </a:lnTo>
                  <a:lnTo>
                    <a:pt x="228" y="258"/>
                  </a:lnTo>
                  <a:lnTo>
                    <a:pt x="228" y="270"/>
                  </a:lnTo>
                  <a:lnTo>
                    <a:pt x="222" y="282"/>
                  </a:lnTo>
                  <a:lnTo>
                    <a:pt x="210" y="288"/>
                  </a:lnTo>
                  <a:lnTo>
                    <a:pt x="204" y="300"/>
                  </a:lnTo>
                  <a:lnTo>
                    <a:pt x="198" y="306"/>
                  </a:lnTo>
                  <a:lnTo>
                    <a:pt x="180" y="306"/>
                  </a:lnTo>
                  <a:lnTo>
                    <a:pt x="174" y="300"/>
                  </a:lnTo>
                  <a:lnTo>
                    <a:pt x="150" y="300"/>
                  </a:lnTo>
                  <a:lnTo>
                    <a:pt x="156" y="306"/>
                  </a:lnTo>
                  <a:lnTo>
                    <a:pt x="156" y="324"/>
                  </a:lnTo>
                  <a:lnTo>
                    <a:pt x="168" y="330"/>
                  </a:lnTo>
                  <a:lnTo>
                    <a:pt x="174" y="336"/>
                  </a:lnTo>
                  <a:lnTo>
                    <a:pt x="210" y="354"/>
                  </a:lnTo>
                  <a:lnTo>
                    <a:pt x="222" y="366"/>
                  </a:lnTo>
                  <a:lnTo>
                    <a:pt x="234" y="372"/>
                  </a:lnTo>
                  <a:lnTo>
                    <a:pt x="240" y="378"/>
                  </a:lnTo>
                  <a:lnTo>
                    <a:pt x="252" y="378"/>
                  </a:lnTo>
                  <a:lnTo>
                    <a:pt x="252" y="408"/>
                  </a:lnTo>
                  <a:lnTo>
                    <a:pt x="258" y="414"/>
                  </a:lnTo>
                  <a:lnTo>
                    <a:pt x="270" y="414"/>
                  </a:lnTo>
                  <a:lnTo>
                    <a:pt x="282" y="420"/>
                  </a:lnTo>
                  <a:lnTo>
                    <a:pt x="288" y="426"/>
                  </a:lnTo>
                  <a:lnTo>
                    <a:pt x="294" y="426"/>
                  </a:lnTo>
                  <a:lnTo>
                    <a:pt x="294" y="450"/>
                  </a:lnTo>
                  <a:lnTo>
                    <a:pt x="306" y="474"/>
                  </a:lnTo>
                  <a:lnTo>
                    <a:pt x="324" y="486"/>
                  </a:lnTo>
                  <a:lnTo>
                    <a:pt x="342" y="504"/>
                  </a:lnTo>
                  <a:lnTo>
                    <a:pt x="348" y="522"/>
                  </a:lnTo>
                  <a:lnTo>
                    <a:pt x="366" y="522"/>
                  </a:lnTo>
                  <a:lnTo>
                    <a:pt x="366" y="528"/>
                  </a:lnTo>
                  <a:lnTo>
                    <a:pt x="372" y="534"/>
                  </a:lnTo>
                  <a:lnTo>
                    <a:pt x="384" y="558"/>
                  </a:lnTo>
                  <a:lnTo>
                    <a:pt x="396" y="570"/>
                  </a:lnTo>
                  <a:lnTo>
                    <a:pt x="408" y="570"/>
                  </a:lnTo>
                  <a:lnTo>
                    <a:pt x="414" y="576"/>
                  </a:lnTo>
                  <a:lnTo>
                    <a:pt x="426" y="582"/>
                  </a:lnTo>
                  <a:lnTo>
                    <a:pt x="432" y="588"/>
                  </a:lnTo>
                  <a:lnTo>
                    <a:pt x="432" y="600"/>
                  </a:lnTo>
                  <a:lnTo>
                    <a:pt x="426" y="606"/>
                  </a:lnTo>
                  <a:lnTo>
                    <a:pt x="420" y="606"/>
                  </a:lnTo>
                  <a:lnTo>
                    <a:pt x="414" y="612"/>
                  </a:lnTo>
                  <a:lnTo>
                    <a:pt x="408" y="612"/>
                  </a:lnTo>
                  <a:lnTo>
                    <a:pt x="432" y="636"/>
                  </a:lnTo>
                  <a:lnTo>
                    <a:pt x="456" y="648"/>
                  </a:lnTo>
                  <a:lnTo>
                    <a:pt x="462" y="654"/>
                  </a:lnTo>
                  <a:lnTo>
                    <a:pt x="468" y="654"/>
                  </a:lnTo>
                  <a:lnTo>
                    <a:pt x="450" y="690"/>
                  </a:lnTo>
                  <a:lnTo>
                    <a:pt x="456" y="690"/>
                  </a:lnTo>
                  <a:lnTo>
                    <a:pt x="468" y="702"/>
                  </a:lnTo>
                  <a:lnTo>
                    <a:pt x="468" y="708"/>
                  </a:lnTo>
                  <a:lnTo>
                    <a:pt x="456" y="720"/>
                  </a:lnTo>
                  <a:lnTo>
                    <a:pt x="450" y="720"/>
                  </a:lnTo>
                  <a:lnTo>
                    <a:pt x="450" y="762"/>
                  </a:lnTo>
                  <a:lnTo>
                    <a:pt x="456" y="762"/>
                  </a:lnTo>
                  <a:lnTo>
                    <a:pt x="468" y="774"/>
                  </a:lnTo>
                  <a:lnTo>
                    <a:pt x="480" y="798"/>
                  </a:lnTo>
                  <a:lnTo>
                    <a:pt x="480" y="804"/>
                  </a:lnTo>
                  <a:lnTo>
                    <a:pt x="468" y="816"/>
                  </a:lnTo>
                  <a:lnTo>
                    <a:pt x="462" y="816"/>
                  </a:lnTo>
                  <a:lnTo>
                    <a:pt x="462" y="828"/>
                  </a:lnTo>
                  <a:lnTo>
                    <a:pt x="468" y="834"/>
                  </a:lnTo>
                  <a:lnTo>
                    <a:pt x="468" y="864"/>
                  </a:lnTo>
                  <a:lnTo>
                    <a:pt x="474" y="870"/>
                  </a:lnTo>
                  <a:lnTo>
                    <a:pt x="474" y="900"/>
                  </a:lnTo>
                  <a:lnTo>
                    <a:pt x="462" y="894"/>
                  </a:lnTo>
                  <a:lnTo>
                    <a:pt x="444" y="894"/>
                  </a:lnTo>
                  <a:lnTo>
                    <a:pt x="438" y="900"/>
                  </a:lnTo>
                  <a:lnTo>
                    <a:pt x="438" y="918"/>
                  </a:lnTo>
                  <a:lnTo>
                    <a:pt x="408" y="918"/>
                  </a:lnTo>
                  <a:lnTo>
                    <a:pt x="408" y="942"/>
                  </a:lnTo>
                  <a:lnTo>
                    <a:pt x="366" y="942"/>
                  </a:lnTo>
                  <a:lnTo>
                    <a:pt x="366" y="966"/>
                  </a:lnTo>
                  <a:lnTo>
                    <a:pt x="378" y="990"/>
                  </a:lnTo>
                  <a:lnTo>
                    <a:pt x="396" y="1008"/>
                  </a:lnTo>
                  <a:lnTo>
                    <a:pt x="396" y="1020"/>
                  </a:lnTo>
                  <a:lnTo>
                    <a:pt x="390" y="1014"/>
                  </a:lnTo>
                  <a:lnTo>
                    <a:pt x="378" y="1008"/>
                  </a:lnTo>
                  <a:lnTo>
                    <a:pt x="372" y="1002"/>
                  </a:lnTo>
                  <a:lnTo>
                    <a:pt x="360" y="996"/>
                  </a:lnTo>
                  <a:lnTo>
                    <a:pt x="348" y="996"/>
                  </a:lnTo>
                  <a:lnTo>
                    <a:pt x="342" y="1002"/>
                  </a:lnTo>
                  <a:lnTo>
                    <a:pt x="342" y="1008"/>
                  </a:lnTo>
                  <a:lnTo>
                    <a:pt x="306" y="1008"/>
                  </a:lnTo>
                  <a:lnTo>
                    <a:pt x="312" y="1014"/>
                  </a:lnTo>
                  <a:lnTo>
                    <a:pt x="318" y="1014"/>
                  </a:lnTo>
                  <a:lnTo>
                    <a:pt x="324" y="1020"/>
                  </a:lnTo>
                  <a:lnTo>
                    <a:pt x="324" y="1026"/>
                  </a:lnTo>
                  <a:lnTo>
                    <a:pt x="312" y="1032"/>
                  </a:lnTo>
                  <a:lnTo>
                    <a:pt x="294" y="1032"/>
                  </a:lnTo>
                  <a:lnTo>
                    <a:pt x="276" y="1038"/>
                  </a:lnTo>
                  <a:lnTo>
                    <a:pt x="270" y="1050"/>
                  </a:lnTo>
                  <a:lnTo>
                    <a:pt x="270" y="1056"/>
                  </a:lnTo>
                  <a:lnTo>
                    <a:pt x="288" y="1074"/>
                  </a:lnTo>
                  <a:lnTo>
                    <a:pt x="300" y="1080"/>
                  </a:lnTo>
                  <a:lnTo>
                    <a:pt x="306" y="1086"/>
                  </a:lnTo>
                  <a:lnTo>
                    <a:pt x="312" y="1086"/>
                  </a:lnTo>
                  <a:lnTo>
                    <a:pt x="294" y="1104"/>
                  </a:lnTo>
                  <a:lnTo>
                    <a:pt x="294" y="1110"/>
                  </a:lnTo>
                  <a:lnTo>
                    <a:pt x="300" y="1116"/>
                  </a:lnTo>
                  <a:lnTo>
                    <a:pt x="300" y="1128"/>
                  </a:lnTo>
                  <a:lnTo>
                    <a:pt x="306" y="1140"/>
                  </a:lnTo>
                  <a:lnTo>
                    <a:pt x="306" y="1152"/>
                  </a:lnTo>
                  <a:lnTo>
                    <a:pt x="312" y="1158"/>
                  </a:lnTo>
                  <a:lnTo>
                    <a:pt x="294" y="1176"/>
                  </a:lnTo>
                  <a:lnTo>
                    <a:pt x="294" y="1188"/>
                  </a:lnTo>
                  <a:lnTo>
                    <a:pt x="306" y="1194"/>
                  </a:lnTo>
                  <a:lnTo>
                    <a:pt x="318" y="1194"/>
                  </a:lnTo>
                  <a:lnTo>
                    <a:pt x="330" y="1188"/>
                  </a:lnTo>
                  <a:lnTo>
                    <a:pt x="354" y="1164"/>
                  </a:lnTo>
                  <a:lnTo>
                    <a:pt x="366" y="1158"/>
                  </a:lnTo>
                  <a:lnTo>
                    <a:pt x="378" y="1158"/>
                  </a:lnTo>
                  <a:lnTo>
                    <a:pt x="384" y="1134"/>
                  </a:lnTo>
                  <a:lnTo>
                    <a:pt x="384" y="1110"/>
                  </a:lnTo>
                  <a:lnTo>
                    <a:pt x="396" y="1110"/>
                  </a:lnTo>
                  <a:lnTo>
                    <a:pt x="402" y="1116"/>
                  </a:lnTo>
                  <a:lnTo>
                    <a:pt x="414" y="1116"/>
                  </a:lnTo>
                  <a:lnTo>
                    <a:pt x="426" y="1104"/>
                  </a:lnTo>
                  <a:lnTo>
                    <a:pt x="426" y="1092"/>
                  </a:lnTo>
                  <a:lnTo>
                    <a:pt x="420" y="1086"/>
                  </a:lnTo>
                  <a:lnTo>
                    <a:pt x="414" y="1074"/>
                  </a:lnTo>
                  <a:lnTo>
                    <a:pt x="408" y="1068"/>
                  </a:lnTo>
                  <a:lnTo>
                    <a:pt x="408" y="1062"/>
                  </a:lnTo>
                  <a:lnTo>
                    <a:pt x="414" y="1056"/>
                  </a:lnTo>
                  <a:lnTo>
                    <a:pt x="426" y="1056"/>
                  </a:lnTo>
                  <a:lnTo>
                    <a:pt x="438" y="1050"/>
                  </a:lnTo>
                  <a:lnTo>
                    <a:pt x="444" y="1044"/>
                  </a:lnTo>
                  <a:lnTo>
                    <a:pt x="450" y="1044"/>
                  </a:lnTo>
                  <a:lnTo>
                    <a:pt x="456" y="1050"/>
                  </a:lnTo>
                  <a:lnTo>
                    <a:pt x="468" y="1050"/>
                  </a:lnTo>
                  <a:lnTo>
                    <a:pt x="480" y="1044"/>
                  </a:lnTo>
                  <a:lnTo>
                    <a:pt x="498" y="1038"/>
                  </a:lnTo>
                  <a:lnTo>
                    <a:pt x="546" y="1014"/>
                  </a:lnTo>
                  <a:lnTo>
                    <a:pt x="582" y="978"/>
                  </a:lnTo>
                  <a:lnTo>
                    <a:pt x="588" y="960"/>
                  </a:lnTo>
                  <a:lnTo>
                    <a:pt x="594" y="936"/>
                  </a:lnTo>
                  <a:lnTo>
                    <a:pt x="606" y="876"/>
                  </a:lnTo>
                  <a:lnTo>
                    <a:pt x="606" y="846"/>
                  </a:lnTo>
                  <a:lnTo>
                    <a:pt x="600" y="834"/>
                  </a:lnTo>
                  <a:lnTo>
                    <a:pt x="576" y="810"/>
                  </a:lnTo>
                  <a:lnTo>
                    <a:pt x="594" y="804"/>
                  </a:lnTo>
                  <a:lnTo>
                    <a:pt x="594" y="774"/>
                  </a:lnTo>
                  <a:lnTo>
                    <a:pt x="588" y="756"/>
                  </a:lnTo>
                  <a:lnTo>
                    <a:pt x="588" y="744"/>
                  </a:lnTo>
                  <a:lnTo>
                    <a:pt x="570" y="708"/>
                  </a:lnTo>
                  <a:lnTo>
                    <a:pt x="564" y="690"/>
                  </a:lnTo>
                  <a:lnTo>
                    <a:pt x="558" y="684"/>
                  </a:lnTo>
                  <a:lnTo>
                    <a:pt x="552" y="672"/>
                  </a:lnTo>
                  <a:lnTo>
                    <a:pt x="558" y="666"/>
                  </a:lnTo>
                  <a:lnTo>
                    <a:pt x="558" y="642"/>
                  </a:lnTo>
                  <a:lnTo>
                    <a:pt x="522" y="606"/>
                  </a:lnTo>
                  <a:lnTo>
                    <a:pt x="486" y="576"/>
                  </a:lnTo>
                  <a:lnTo>
                    <a:pt x="456" y="552"/>
                  </a:lnTo>
                  <a:lnTo>
                    <a:pt x="432" y="534"/>
                  </a:lnTo>
                  <a:lnTo>
                    <a:pt x="420" y="528"/>
                  </a:lnTo>
                  <a:lnTo>
                    <a:pt x="402" y="516"/>
                  </a:lnTo>
                  <a:lnTo>
                    <a:pt x="390" y="510"/>
                  </a:lnTo>
                  <a:lnTo>
                    <a:pt x="384" y="504"/>
                  </a:lnTo>
                  <a:lnTo>
                    <a:pt x="384" y="468"/>
                  </a:lnTo>
                  <a:lnTo>
                    <a:pt x="336" y="420"/>
                  </a:lnTo>
                  <a:lnTo>
                    <a:pt x="306" y="384"/>
                  </a:lnTo>
                  <a:lnTo>
                    <a:pt x="288" y="354"/>
                  </a:lnTo>
                  <a:lnTo>
                    <a:pt x="282" y="336"/>
                  </a:lnTo>
                  <a:lnTo>
                    <a:pt x="282" y="318"/>
                  </a:lnTo>
                  <a:lnTo>
                    <a:pt x="276" y="306"/>
                  </a:lnTo>
                  <a:lnTo>
                    <a:pt x="276" y="282"/>
                  </a:lnTo>
                  <a:lnTo>
                    <a:pt x="282" y="276"/>
                  </a:lnTo>
                  <a:lnTo>
                    <a:pt x="294" y="252"/>
                  </a:lnTo>
                  <a:lnTo>
                    <a:pt x="294" y="240"/>
                  </a:lnTo>
                  <a:lnTo>
                    <a:pt x="300" y="240"/>
                  </a:lnTo>
                  <a:lnTo>
                    <a:pt x="312" y="228"/>
                  </a:lnTo>
                  <a:lnTo>
                    <a:pt x="324" y="222"/>
                  </a:lnTo>
                  <a:lnTo>
                    <a:pt x="336" y="210"/>
                  </a:lnTo>
                  <a:lnTo>
                    <a:pt x="336" y="204"/>
                  </a:lnTo>
                  <a:lnTo>
                    <a:pt x="342" y="198"/>
                  </a:lnTo>
                  <a:lnTo>
                    <a:pt x="372" y="198"/>
                  </a:lnTo>
                  <a:lnTo>
                    <a:pt x="384" y="186"/>
                  </a:lnTo>
                  <a:lnTo>
                    <a:pt x="390" y="174"/>
                  </a:lnTo>
                  <a:lnTo>
                    <a:pt x="390" y="156"/>
                  </a:lnTo>
                  <a:lnTo>
                    <a:pt x="396" y="144"/>
                  </a:lnTo>
                  <a:lnTo>
                    <a:pt x="390" y="144"/>
                  </a:lnTo>
                  <a:lnTo>
                    <a:pt x="384" y="138"/>
                  </a:lnTo>
                  <a:lnTo>
                    <a:pt x="354" y="138"/>
                  </a:lnTo>
                  <a:lnTo>
                    <a:pt x="342" y="132"/>
                  </a:lnTo>
                  <a:lnTo>
                    <a:pt x="336" y="120"/>
                  </a:lnTo>
                  <a:lnTo>
                    <a:pt x="330" y="114"/>
                  </a:lnTo>
                  <a:lnTo>
                    <a:pt x="312" y="114"/>
                  </a:lnTo>
                  <a:lnTo>
                    <a:pt x="312" y="96"/>
                  </a:lnTo>
                  <a:lnTo>
                    <a:pt x="300" y="90"/>
                  </a:lnTo>
                  <a:lnTo>
                    <a:pt x="294" y="72"/>
                  </a:lnTo>
                  <a:lnTo>
                    <a:pt x="312" y="54"/>
                  </a:lnTo>
                  <a:lnTo>
                    <a:pt x="312" y="48"/>
                  </a:lnTo>
                  <a:lnTo>
                    <a:pt x="306" y="42"/>
                  </a:lnTo>
                  <a:lnTo>
                    <a:pt x="276" y="42"/>
                  </a:lnTo>
                  <a:lnTo>
                    <a:pt x="264" y="30"/>
                  </a:lnTo>
                  <a:lnTo>
                    <a:pt x="234" y="36"/>
                  </a:lnTo>
                  <a:lnTo>
                    <a:pt x="204" y="0"/>
                  </a:lnTo>
                  <a:lnTo>
                    <a:pt x="198" y="0"/>
                  </a:lnTo>
                  <a:lnTo>
                    <a:pt x="192" y="6"/>
                  </a:lnTo>
                  <a:lnTo>
                    <a:pt x="180" y="12"/>
                  </a:lnTo>
                  <a:lnTo>
                    <a:pt x="174" y="18"/>
                  </a:lnTo>
                  <a:lnTo>
                    <a:pt x="174" y="30"/>
                  </a:lnTo>
                  <a:lnTo>
                    <a:pt x="168" y="42"/>
                  </a:lnTo>
                  <a:lnTo>
                    <a:pt x="168" y="48"/>
                  </a:lnTo>
                  <a:lnTo>
                    <a:pt x="150" y="48"/>
                  </a:lnTo>
                  <a:lnTo>
                    <a:pt x="144" y="54"/>
                  </a:lnTo>
                  <a:lnTo>
                    <a:pt x="138" y="48"/>
                  </a:lnTo>
                  <a:lnTo>
                    <a:pt x="120" y="48"/>
                  </a:lnTo>
                  <a:lnTo>
                    <a:pt x="132" y="60"/>
                  </a:lnTo>
                  <a:lnTo>
                    <a:pt x="132" y="72"/>
                  </a:lnTo>
                  <a:lnTo>
                    <a:pt x="114" y="72"/>
                  </a:lnTo>
                  <a:lnTo>
                    <a:pt x="108" y="66"/>
                  </a:lnTo>
                  <a:lnTo>
                    <a:pt x="96" y="48"/>
                  </a:lnTo>
                  <a:lnTo>
                    <a:pt x="90" y="48"/>
                  </a:lnTo>
                  <a:lnTo>
                    <a:pt x="90" y="66"/>
                  </a:lnTo>
                  <a:lnTo>
                    <a:pt x="72" y="48"/>
                  </a:lnTo>
                  <a:lnTo>
                    <a:pt x="66" y="54"/>
                  </a:lnTo>
                  <a:lnTo>
                    <a:pt x="60" y="66"/>
                  </a:lnTo>
                  <a:lnTo>
                    <a:pt x="54" y="72"/>
                  </a:lnTo>
                  <a:lnTo>
                    <a:pt x="42" y="72"/>
                  </a:lnTo>
                  <a:lnTo>
                    <a:pt x="18" y="48"/>
                  </a:lnTo>
                  <a:lnTo>
                    <a:pt x="6" y="48"/>
                  </a:lnTo>
                  <a:close/>
                </a:path>
              </a:pathLst>
            </a:custGeom>
            <a:solidFill>
              <a:srgbClr val="FFC000"/>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52" name="Venezuela" descr="© INSCALE GmbH, 05.05.2010&#10;http://www.presentationload.com/"/>
            <p:cNvSpPr>
              <a:spLocks noEditPoints="1"/>
            </p:cNvSpPr>
            <p:nvPr/>
          </p:nvSpPr>
          <p:spPr bwMode="gray">
            <a:xfrm>
              <a:off x="2120901" y="3683000"/>
              <a:ext cx="384175" cy="374650"/>
            </a:xfrm>
            <a:custGeom>
              <a:avLst/>
              <a:gdLst>
                <a:gd name="T0" fmla="*/ 2147483647 w 954"/>
                <a:gd name="T1" fmla="*/ 2147483647 h 930"/>
                <a:gd name="T2" fmla="*/ 2147483647 w 954"/>
                <a:gd name="T3" fmla="*/ 2147483647 h 930"/>
                <a:gd name="T4" fmla="*/ 2147483647 w 954"/>
                <a:gd name="T5" fmla="*/ 2147483647 h 930"/>
                <a:gd name="T6" fmla="*/ 2147483647 w 954"/>
                <a:gd name="T7" fmla="*/ 2147483647 h 930"/>
                <a:gd name="T8" fmla="*/ 2147483647 w 954"/>
                <a:gd name="T9" fmla="*/ 2147483647 h 930"/>
                <a:gd name="T10" fmla="*/ 2147483647 w 954"/>
                <a:gd name="T11" fmla="*/ 2147483647 h 930"/>
                <a:gd name="T12" fmla="*/ 2147483647 w 954"/>
                <a:gd name="T13" fmla="*/ 2147483647 h 930"/>
                <a:gd name="T14" fmla="*/ 2147483647 w 954"/>
                <a:gd name="T15" fmla="*/ 2147483647 h 930"/>
                <a:gd name="T16" fmla="*/ 2147483647 w 954"/>
                <a:gd name="T17" fmla="*/ 2147483647 h 930"/>
                <a:gd name="T18" fmla="*/ 2147483647 w 954"/>
                <a:gd name="T19" fmla="*/ 2147483647 h 930"/>
                <a:gd name="T20" fmla="*/ 2147483647 w 954"/>
                <a:gd name="T21" fmla="*/ 2147483647 h 930"/>
                <a:gd name="T22" fmla="*/ 2147483647 w 954"/>
                <a:gd name="T23" fmla="*/ 2147483647 h 930"/>
                <a:gd name="T24" fmla="*/ 2147483647 w 954"/>
                <a:gd name="T25" fmla="*/ 2147483647 h 930"/>
                <a:gd name="T26" fmla="*/ 2147483647 w 954"/>
                <a:gd name="T27" fmla="*/ 2147483647 h 930"/>
                <a:gd name="T28" fmla="*/ 2147483647 w 954"/>
                <a:gd name="T29" fmla="*/ 2147483647 h 930"/>
                <a:gd name="T30" fmla="*/ 2147483647 w 954"/>
                <a:gd name="T31" fmla="*/ 2147483647 h 930"/>
                <a:gd name="T32" fmla="*/ 2147483647 w 954"/>
                <a:gd name="T33" fmla="*/ 2147483647 h 930"/>
                <a:gd name="T34" fmla="*/ 2147483647 w 954"/>
                <a:gd name="T35" fmla="*/ 2147483647 h 930"/>
                <a:gd name="T36" fmla="*/ 2147483647 w 954"/>
                <a:gd name="T37" fmla="*/ 2147483647 h 930"/>
                <a:gd name="T38" fmla="*/ 2147483647 w 954"/>
                <a:gd name="T39" fmla="*/ 2147483647 h 930"/>
                <a:gd name="T40" fmla="*/ 2147483647 w 954"/>
                <a:gd name="T41" fmla="*/ 2147483647 h 930"/>
                <a:gd name="T42" fmla="*/ 2147483647 w 954"/>
                <a:gd name="T43" fmla="*/ 2147483647 h 930"/>
                <a:gd name="T44" fmla="*/ 2147483647 w 954"/>
                <a:gd name="T45" fmla="*/ 2147483647 h 930"/>
                <a:gd name="T46" fmla="*/ 2147483647 w 954"/>
                <a:gd name="T47" fmla="*/ 2147483647 h 930"/>
                <a:gd name="T48" fmla="*/ 2147483647 w 954"/>
                <a:gd name="T49" fmla="*/ 2147483647 h 930"/>
                <a:gd name="T50" fmla="*/ 0 w 954"/>
                <a:gd name="T51" fmla="*/ 2147483647 h 930"/>
                <a:gd name="T52" fmla="*/ 2147483647 w 954"/>
                <a:gd name="T53" fmla="*/ 2147483647 h 930"/>
                <a:gd name="T54" fmla="*/ 2147483647 w 954"/>
                <a:gd name="T55" fmla="*/ 2147483647 h 930"/>
                <a:gd name="T56" fmla="*/ 2147483647 w 954"/>
                <a:gd name="T57" fmla="*/ 2147483647 h 930"/>
                <a:gd name="T58" fmla="*/ 2147483647 w 954"/>
                <a:gd name="T59" fmla="*/ 2147483647 h 930"/>
                <a:gd name="T60" fmla="*/ 2147483647 w 954"/>
                <a:gd name="T61" fmla="*/ 2147483647 h 930"/>
                <a:gd name="T62" fmla="*/ 2147483647 w 954"/>
                <a:gd name="T63" fmla="*/ 2147483647 h 930"/>
                <a:gd name="T64" fmla="*/ 2147483647 w 954"/>
                <a:gd name="T65" fmla="*/ 2147483647 h 930"/>
                <a:gd name="T66" fmla="*/ 2147483647 w 954"/>
                <a:gd name="T67" fmla="*/ 2147483647 h 930"/>
                <a:gd name="T68" fmla="*/ 2147483647 w 954"/>
                <a:gd name="T69" fmla="*/ 2147483647 h 930"/>
                <a:gd name="T70" fmla="*/ 2147483647 w 954"/>
                <a:gd name="T71" fmla="*/ 2147483647 h 930"/>
                <a:gd name="T72" fmla="*/ 2147483647 w 954"/>
                <a:gd name="T73" fmla="*/ 2147483647 h 930"/>
                <a:gd name="T74" fmla="*/ 2147483647 w 954"/>
                <a:gd name="T75" fmla="*/ 2147483647 h 930"/>
                <a:gd name="T76" fmla="*/ 2147483647 w 954"/>
                <a:gd name="T77" fmla="*/ 2147483647 h 930"/>
                <a:gd name="T78" fmla="*/ 2147483647 w 954"/>
                <a:gd name="T79" fmla="*/ 2147483647 h 930"/>
                <a:gd name="T80" fmla="*/ 2147483647 w 954"/>
                <a:gd name="T81" fmla="*/ 2147483647 h 930"/>
                <a:gd name="T82" fmla="*/ 2147483647 w 954"/>
                <a:gd name="T83" fmla="*/ 2147483647 h 930"/>
                <a:gd name="T84" fmla="*/ 2147483647 w 954"/>
                <a:gd name="T85" fmla="*/ 2147483647 h 930"/>
                <a:gd name="T86" fmla="*/ 2147483647 w 954"/>
                <a:gd name="T87" fmla="*/ 2147483647 h 930"/>
                <a:gd name="T88" fmla="*/ 2147483647 w 954"/>
                <a:gd name="T89" fmla="*/ 2147483647 h 930"/>
                <a:gd name="T90" fmla="*/ 2147483647 w 954"/>
                <a:gd name="T91" fmla="*/ 2147483647 h 930"/>
                <a:gd name="T92" fmla="*/ 2147483647 w 954"/>
                <a:gd name="T93" fmla="*/ 2147483647 h 930"/>
                <a:gd name="T94" fmla="*/ 2147483647 w 954"/>
                <a:gd name="T95" fmla="*/ 2147483647 h 930"/>
                <a:gd name="T96" fmla="*/ 2147483647 w 954"/>
                <a:gd name="T97" fmla="*/ 2147483647 h 930"/>
                <a:gd name="T98" fmla="*/ 2147483647 w 954"/>
                <a:gd name="T99" fmla="*/ 2147483647 h 930"/>
                <a:gd name="T100" fmla="*/ 2147483647 w 954"/>
                <a:gd name="T101" fmla="*/ 2147483647 h 930"/>
                <a:gd name="T102" fmla="*/ 2147483647 w 954"/>
                <a:gd name="T103" fmla="*/ 2147483647 h 930"/>
                <a:gd name="T104" fmla="*/ 2147483647 w 954"/>
                <a:gd name="T105" fmla="*/ 2147483647 h 930"/>
                <a:gd name="T106" fmla="*/ 2147483647 w 954"/>
                <a:gd name="T107" fmla="*/ 2147483647 h 930"/>
                <a:gd name="T108" fmla="*/ 2147483647 w 954"/>
                <a:gd name="T109" fmla="*/ 2147483647 h 930"/>
                <a:gd name="T110" fmla="*/ 2147483647 w 954"/>
                <a:gd name="T111" fmla="*/ 2147483647 h 930"/>
                <a:gd name="T112" fmla="*/ 2147483647 w 954"/>
                <a:gd name="T113" fmla="*/ 2147483647 h 930"/>
                <a:gd name="T114" fmla="*/ 2147483647 w 954"/>
                <a:gd name="T115" fmla="*/ 2147483647 h 930"/>
                <a:gd name="T116" fmla="*/ 2147483647 w 954"/>
                <a:gd name="T117" fmla="*/ 2147483647 h 930"/>
                <a:gd name="T118" fmla="*/ 2147483647 w 954"/>
                <a:gd name="T119" fmla="*/ 2147483647 h 9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54"/>
                <a:gd name="T181" fmla="*/ 0 h 930"/>
                <a:gd name="T182" fmla="*/ 954 w 954"/>
                <a:gd name="T183" fmla="*/ 930 h 93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54" h="930">
                  <a:moveTo>
                    <a:pt x="264" y="42"/>
                  </a:moveTo>
                  <a:lnTo>
                    <a:pt x="264" y="12"/>
                  </a:lnTo>
                  <a:lnTo>
                    <a:pt x="252" y="0"/>
                  </a:lnTo>
                  <a:lnTo>
                    <a:pt x="234" y="0"/>
                  </a:lnTo>
                  <a:lnTo>
                    <a:pt x="228" y="6"/>
                  </a:lnTo>
                  <a:lnTo>
                    <a:pt x="228" y="18"/>
                  </a:lnTo>
                  <a:lnTo>
                    <a:pt x="234" y="24"/>
                  </a:lnTo>
                  <a:lnTo>
                    <a:pt x="234" y="36"/>
                  </a:lnTo>
                  <a:lnTo>
                    <a:pt x="240" y="42"/>
                  </a:lnTo>
                  <a:lnTo>
                    <a:pt x="264" y="42"/>
                  </a:lnTo>
                  <a:close/>
                  <a:moveTo>
                    <a:pt x="936" y="276"/>
                  </a:moveTo>
                  <a:lnTo>
                    <a:pt x="930" y="276"/>
                  </a:lnTo>
                  <a:lnTo>
                    <a:pt x="924" y="282"/>
                  </a:lnTo>
                  <a:lnTo>
                    <a:pt x="912" y="288"/>
                  </a:lnTo>
                  <a:lnTo>
                    <a:pt x="906" y="294"/>
                  </a:lnTo>
                  <a:lnTo>
                    <a:pt x="900" y="288"/>
                  </a:lnTo>
                  <a:lnTo>
                    <a:pt x="888" y="288"/>
                  </a:lnTo>
                  <a:lnTo>
                    <a:pt x="882" y="282"/>
                  </a:lnTo>
                  <a:lnTo>
                    <a:pt x="876" y="282"/>
                  </a:lnTo>
                  <a:lnTo>
                    <a:pt x="852" y="306"/>
                  </a:lnTo>
                  <a:lnTo>
                    <a:pt x="822" y="282"/>
                  </a:lnTo>
                  <a:lnTo>
                    <a:pt x="846" y="282"/>
                  </a:lnTo>
                  <a:lnTo>
                    <a:pt x="858" y="276"/>
                  </a:lnTo>
                  <a:lnTo>
                    <a:pt x="864" y="276"/>
                  </a:lnTo>
                  <a:lnTo>
                    <a:pt x="870" y="264"/>
                  </a:lnTo>
                  <a:lnTo>
                    <a:pt x="870" y="246"/>
                  </a:lnTo>
                  <a:lnTo>
                    <a:pt x="882" y="234"/>
                  </a:lnTo>
                  <a:lnTo>
                    <a:pt x="888" y="222"/>
                  </a:lnTo>
                  <a:lnTo>
                    <a:pt x="876" y="210"/>
                  </a:lnTo>
                  <a:lnTo>
                    <a:pt x="846" y="210"/>
                  </a:lnTo>
                  <a:lnTo>
                    <a:pt x="846" y="204"/>
                  </a:lnTo>
                  <a:lnTo>
                    <a:pt x="840" y="198"/>
                  </a:lnTo>
                  <a:lnTo>
                    <a:pt x="840" y="192"/>
                  </a:lnTo>
                  <a:lnTo>
                    <a:pt x="834" y="186"/>
                  </a:lnTo>
                  <a:lnTo>
                    <a:pt x="828" y="186"/>
                  </a:lnTo>
                  <a:lnTo>
                    <a:pt x="822" y="192"/>
                  </a:lnTo>
                  <a:lnTo>
                    <a:pt x="822" y="210"/>
                  </a:lnTo>
                  <a:lnTo>
                    <a:pt x="816" y="198"/>
                  </a:lnTo>
                  <a:lnTo>
                    <a:pt x="816" y="180"/>
                  </a:lnTo>
                  <a:lnTo>
                    <a:pt x="792" y="180"/>
                  </a:lnTo>
                  <a:lnTo>
                    <a:pt x="786" y="210"/>
                  </a:lnTo>
                  <a:lnTo>
                    <a:pt x="780" y="204"/>
                  </a:lnTo>
                  <a:lnTo>
                    <a:pt x="774" y="192"/>
                  </a:lnTo>
                  <a:lnTo>
                    <a:pt x="774" y="186"/>
                  </a:lnTo>
                  <a:lnTo>
                    <a:pt x="768" y="180"/>
                  </a:lnTo>
                  <a:lnTo>
                    <a:pt x="768" y="156"/>
                  </a:lnTo>
                  <a:lnTo>
                    <a:pt x="738" y="168"/>
                  </a:lnTo>
                  <a:lnTo>
                    <a:pt x="744" y="162"/>
                  </a:lnTo>
                  <a:lnTo>
                    <a:pt x="756" y="156"/>
                  </a:lnTo>
                  <a:lnTo>
                    <a:pt x="762" y="156"/>
                  </a:lnTo>
                  <a:lnTo>
                    <a:pt x="762" y="144"/>
                  </a:lnTo>
                  <a:lnTo>
                    <a:pt x="750" y="138"/>
                  </a:lnTo>
                  <a:lnTo>
                    <a:pt x="744" y="138"/>
                  </a:lnTo>
                  <a:lnTo>
                    <a:pt x="744" y="132"/>
                  </a:lnTo>
                  <a:lnTo>
                    <a:pt x="750" y="132"/>
                  </a:lnTo>
                  <a:lnTo>
                    <a:pt x="762" y="126"/>
                  </a:lnTo>
                  <a:lnTo>
                    <a:pt x="774" y="126"/>
                  </a:lnTo>
                  <a:lnTo>
                    <a:pt x="792" y="120"/>
                  </a:lnTo>
                  <a:lnTo>
                    <a:pt x="804" y="120"/>
                  </a:lnTo>
                  <a:lnTo>
                    <a:pt x="810" y="114"/>
                  </a:lnTo>
                  <a:lnTo>
                    <a:pt x="726" y="114"/>
                  </a:lnTo>
                  <a:lnTo>
                    <a:pt x="690" y="120"/>
                  </a:lnTo>
                  <a:lnTo>
                    <a:pt x="678" y="120"/>
                  </a:lnTo>
                  <a:lnTo>
                    <a:pt x="690" y="132"/>
                  </a:lnTo>
                  <a:lnTo>
                    <a:pt x="678" y="132"/>
                  </a:lnTo>
                  <a:lnTo>
                    <a:pt x="666" y="138"/>
                  </a:lnTo>
                  <a:lnTo>
                    <a:pt x="654" y="138"/>
                  </a:lnTo>
                  <a:lnTo>
                    <a:pt x="642" y="144"/>
                  </a:lnTo>
                  <a:lnTo>
                    <a:pt x="636" y="144"/>
                  </a:lnTo>
                  <a:lnTo>
                    <a:pt x="624" y="150"/>
                  </a:lnTo>
                  <a:lnTo>
                    <a:pt x="606" y="168"/>
                  </a:lnTo>
                  <a:lnTo>
                    <a:pt x="594" y="174"/>
                  </a:lnTo>
                  <a:lnTo>
                    <a:pt x="576" y="174"/>
                  </a:lnTo>
                  <a:lnTo>
                    <a:pt x="564" y="162"/>
                  </a:lnTo>
                  <a:lnTo>
                    <a:pt x="546" y="156"/>
                  </a:lnTo>
                  <a:lnTo>
                    <a:pt x="534" y="144"/>
                  </a:lnTo>
                  <a:lnTo>
                    <a:pt x="522" y="138"/>
                  </a:lnTo>
                  <a:lnTo>
                    <a:pt x="510" y="126"/>
                  </a:lnTo>
                  <a:lnTo>
                    <a:pt x="492" y="126"/>
                  </a:lnTo>
                  <a:lnTo>
                    <a:pt x="450" y="132"/>
                  </a:lnTo>
                  <a:lnTo>
                    <a:pt x="372" y="132"/>
                  </a:lnTo>
                  <a:lnTo>
                    <a:pt x="360" y="120"/>
                  </a:lnTo>
                  <a:lnTo>
                    <a:pt x="354" y="108"/>
                  </a:lnTo>
                  <a:lnTo>
                    <a:pt x="354" y="84"/>
                  </a:lnTo>
                  <a:lnTo>
                    <a:pt x="348" y="72"/>
                  </a:lnTo>
                  <a:lnTo>
                    <a:pt x="336" y="60"/>
                  </a:lnTo>
                  <a:lnTo>
                    <a:pt x="324" y="54"/>
                  </a:lnTo>
                  <a:lnTo>
                    <a:pt x="276" y="54"/>
                  </a:lnTo>
                  <a:lnTo>
                    <a:pt x="240" y="60"/>
                  </a:lnTo>
                  <a:lnTo>
                    <a:pt x="222" y="72"/>
                  </a:lnTo>
                  <a:lnTo>
                    <a:pt x="210" y="78"/>
                  </a:lnTo>
                  <a:lnTo>
                    <a:pt x="204" y="78"/>
                  </a:lnTo>
                  <a:lnTo>
                    <a:pt x="180" y="90"/>
                  </a:lnTo>
                  <a:lnTo>
                    <a:pt x="162" y="96"/>
                  </a:lnTo>
                  <a:lnTo>
                    <a:pt x="144" y="108"/>
                  </a:lnTo>
                  <a:lnTo>
                    <a:pt x="138" y="120"/>
                  </a:lnTo>
                  <a:lnTo>
                    <a:pt x="138" y="144"/>
                  </a:lnTo>
                  <a:lnTo>
                    <a:pt x="150" y="168"/>
                  </a:lnTo>
                  <a:lnTo>
                    <a:pt x="156" y="186"/>
                  </a:lnTo>
                  <a:lnTo>
                    <a:pt x="162" y="198"/>
                  </a:lnTo>
                  <a:lnTo>
                    <a:pt x="156" y="210"/>
                  </a:lnTo>
                  <a:lnTo>
                    <a:pt x="150" y="228"/>
                  </a:lnTo>
                  <a:lnTo>
                    <a:pt x="138" y="234"/>
                  </a:lnTo>
                  <a:lnTo>
                    <a:pt x="132" y="246"/>
                  </a:lnTo>
                  <a:lnTo>
                    <a:pt x="126" y="252"/>
                  </a:lnTo>
                  <a:lnTo>
                    <a:pt x="120" y="252"/>
                  </a:lnTo>
                  <a:lnTo>
                    <a:pt x="126" y="222"/>
                  </a:lnTo>
                  <a:lnTo>
                    <a:pt x="114" y="222"/>
                  </a:lnTo>
                  <a:lnTo>
                    <a:pt x="108" y="216"/>
                  </a:lnTo>
                  <a:lnTo>
                    <a:pt x="96" y="210"/>
                  </a:lnTo>
                  <a:lnTo>
                    <a:pt x="90" y="204"/>
                  </a:lnTo>
                  <a:lnTo>
                    <a:pt x="84" y="192"/>
                  </a:lnTo>
                  <a:lnTo>
                    <a:pt x="96" y="168"/>
                  </a:lnTo>
                  <a:lnTo>
                    <a:pt x="108" y="156"/>
                  </a:lnTo>
                  <a:lnTo>
                    <a:pt x="120" y="132"/>
                  </a:lnTo>
                  <a:lnTo>
                    <a:pt x="120" y="78"/>
                  </a:lnTo>
                  <a:lnTo>
                    <a:pt x="114" y="66"/>
                  </a:lnTo>
                  <a:lnTo>
                    <a:pt x="114" y="54"/>
                  </a:lnTo>
                  <a:lnTo>
                    <a:pt x="108" y="48"/>
                  </a:lnTo>
                  <a:lnTo>
                    <a:pt x="108" y="54"/>
                  </a:lnTo>
                  <a:lnTo>
                    <a:pt x="102" y="66"/>
                  </a:lnTo>
                  <a:lnTo>
                    <a:pt x="90" y="78"/>
                  </a:lnTo>
                  <a:lnTo>
                    <a:pt x="72" y="84"/>
                  </a:lnTo>
                  <a:lnTo>
                    <a:pt x="48" y="108"/>
                  </a:lnTo>
                  <a:lnTo>
                    <a:pt x="36" y="144"/>
                  </a:lnTo>
                  <a:lnTo>
                    <a:pt x="36" y="162"/>
                  </a:lnTo>
                  <a:lnTo>
                    <a:pt x="30" y="168"/>
                  </a:lnTo>
                  <a:lnTo>
                    <a:pt x="30" y="192"/>
                  </a:lnTo>
                  <a:lnTo>
                    <a:pt x="6" y="216"/>
                  </a:lnTo>
                  <a:lnTo>
                    <a:pt x="0" y="228"/>
                  </a:lnTo>
                  <a:lnTo>
                    <a:pt x="0" y="240"/>
                  </a:lnTo>
                  <a:lnTo>
                    <a:pt x="6" y="246"/>
                  </a:lnTo>
                  <a:lnTo>
                    <a:pt x="6" y="240"/>
                  </a:lnTo>
                  <a:lnTo>
                    <a:pt x="18" y="228"/>
                  </a:lnTo>
                  <a:lnTo>
                    <a:pt x="24" y="228"/>
                  </a:lnTo>
                  <a:lnTo>
                    <a:pt x="36" y="240"/>
                  </a:lnTo>
                  <a:lnTo>
                    <a:pt x="42" y="252"/>
                  </a:lnTo>
                  <a:lnTo>
                    <a:pt x="42" y="288"/>
                  </a:lnTo>
                  <a:lnTo>
                    <a:pt x="48" y="294"/>
                  </a:lnTo>
                  <a:lnTo>
                    <a:pt x="60" y="300"/>
                  </a:lnTo>
                  <a:lnTo>
                    <a:pt x="66" y="306"/>
                  </a:lnTo>
                  <a:lnTo>
                    <a:pt x="66" y="318"/>
                  </a:lnTo>
                  <a:lnTo>
                    <a:pt x="54" y="342"/>
                  </a:lnTo>
                  <a:lnTo>
                    <a:pt x="54" y="384"/>
                  </a:lnTo>
                  <a:lnTo>
                    <a:pt x="66" y="384"/>
                  </a:lnTo>
                  <a:lnTo>
                    <a:pt x="66" y="396"/>
                  </a:lnTo>
                  <a:lnTo>
                    <a:pt x="72" y="408"/>
                  </a:lnTo>
                  <a:lnTo>
                    <a:pt x="78" y="414"/>
                  </a:lnTo>
                  <a:lnTo>
                    <a:pt x="102" y="414"/>
                  </a:lnTo>
                  <a:lnTo>
                    <a:pt x="108" y="408"/>
                  </a:lnTo>
                  <a:lnTo>
                    <a:pt x="120" y="408"/>
                  </a:lnTo>
                  <a:lnTo>
                    <a:pt x="132" y="414"/>
                  </a:lnTo>
                  <a:lnTo>
                    <a:pt x="138" y="414"/>
                  </a:lnTo>
                  <a:lnTo>
                    <a:pt x="150" y="420"/>
                  </a:lnTo>
                  <a:lnTo>
                    <a:pt x="162" y="420"/>
                  </a:lnTo>
                  <a:lnTo>
                    <a:pt x="168" y="414"/>
                  </a:lnTo>
                  <a:lnTo>
                    <a:pt x="168" y="408"/>
                  </a:lnTo>
                  <a:lnTo>
                    <a:pt x="180" y="408"/>
                  </a:lnTo>
                  <a:lnTo>
                    <a:pt x="186" y="414"/>
                  </a:lnTo>
                  <a:lnTo>
                    <a:pt x="198" y="420"/>
                  </a:lnTo>
                  <a:lnTo>
                    <a:pt x="222" y="420"/>
                  </a:lnTo>
                  <a:lnTo>
                    <a:pt x="222" y="426"/>
                  </a:lnTo>
                  <a:lnTo>
                    <a:pt x="228" y="432"/>
                  </a:lnTo>
                  <a:lnTo>
                    <a:pt x="234" y="444"/>
                  </a:lnTo>
                  <a:lnTo>
                    <a:pt x="240" y="462"/>
                  </a:lnTo>
                  <a:lnTo>
                    <a:pt x="264" y="486"/>
                  </a:lnTo>
                  <a:lnTo>
                    <a:pt x="288" y="486"/>
                  </a:lnTo>
                  <a:lnTo>
                    <a:pt x="288" y="480"/>
                  </a:lnTo>
                  <a:lnTo>
                    <a:pt x="306" y="480"/>
                  </a:lnTo>
                  <a:lnTo>
                    <a:pt x="312" y="486"/>
                  </a:lnTo>
                  <a:lnTo>
                    <a:pt x="336" y="486"/>
                  </a:lnTo>
                  <a:lnTo>
                    <a:pt x="342" y="480"/>
                  </a:lnTo>
                  <a:lnTo>
                    <a:pt x="366" y="486"/>
                  </a:lnTo>
                  <a:lnTo>
                    <a:pt x="372" y="480"/>
                  </a:lnTo>
                  <a:lnTo>
                    <a:pt x="384" y="474"/>
                  </a:lnTo>
                  <a:lnTo>
                    <a:pt x="402" y="474"/>
                  </a:lnTo>
                  <a:lnTo>
                    <a:pt x="408" y="480"/>
                  </a:lnTo>
                  <a:lnTo>
                    <a:pt x="408" y="492"/>
                  </a:lnTo>
                  <a:lnTo>
                    <a:pt x="390" y="510"/>
                  </a:lnTo>
                  <a:lnTo>
                    <a:pt x="390" y="534"/>
                  </a:lnTo>
                  <a:lnTo>
                    <a:pt x="384" y="540"/>
                  </a:lnTo>
                  <a:lnTo>
                    <a:pt x="378" y="540"/>
                  </a:lnTo>
                  <a:lnTo>
                    <a:pt x="366" y="552"/>
                  </a:lnTo>
                  <a:lnTo>
                    <a:pt x="366" y="576"/>
                  </a:lnTo>
                  <a:lnTo>
                    <a:pt x="372" y="588"/>
                  </a:lnTo>
                  <a:lnTo>
                    <a:pt x="372" y="618"/>
                  </a:lnTo>
                  <a:lnTo>
                    <a:pt x="366" y="630"/>
                  </a:lnTo>
                  <a:lnTo>
                    <a:pt x="366" y="642"/>
                  </a:lnTo>
                  <a:lnTo>
                    <a:pt x="372" y="648"/>
                  </a:lnTo>
                  <a:lnTo>
                    <a:pt x="384" y="648"/>
                  </a:lnTo>
                  <a:lnTo>
                    <a:pt x="384" y="672"/>
                  </a:lnTo>
                  <a:lnTo>
                    <a:pt x="390" y="684"/>
                  </a:lnTo>
                  <a:lnTo>
                    <a:pt x="402" y="690"/>
                  </a:lnTo>
                  <a:lnTo>
                    <a:pt x="408" y="702"/>
                  </a:lnTo>
                  <a:lnTo>
                    <a:pt x="408" y="708"/>
                  </a:lnTo>
                  <a:lnTo>
                    <a:pt x="402" y="720"/>
                  </a:lnTo>
                  <a:lnTo>
                    <a:pt x="372" y="750"/>
                  </a:lnTo>
                  <a:lnTo>
                    <a:pt x="366" y="750"/>
                  </a:lnTo>
                  <a:lnTo>
                    <a:pt x="390" y="762"/>
                  </a:lnTo>
                  <a:lnTo>
                    <a:pt x="402" y="774"/>
                  </a:lnTo>
                  <a:lnTo>
                    <a:pt x="414" y="774"/>
                  </a:lnTo>
                  <a:lnTo>
                    <a:pt x="414" y="798"/>
                  </a:lnTo>
                  <a:lnTo>
                    <a:pt x="420" y="804"/>
                  </a:lnTo>
                  <a:lnTo>
                    <a:pt x="420" y="822"/>
                  </a:lnTo>
                  <a:lnTo>
                    <a:pt x="426" y="828"/>
                  </a:lnTo>
                  <a:lnTo>
                    <a:pt x="426" y="846"/>
                  </a:lnTo>
                  <a:lnTo>
                    <a:pt x="432" y="858"/>
                  </a:lnTo>
                  <a:lnTo>
                    <a:pt x="432" y="876"/>
                  </a:lnTo>
                  <a:lnTo>
                    <a:pt x="444" y="888"/>
                  </a:lnTo>
                  <a:lnTo>
                    <a:pt x="450" y="900"/>
                  </a:lnTo>
                  <a:lnTo>
                    <a:pt x="450" y="906"/>
                  </a:lnTo>
                  <a:lnTo>
                    <a:pt x="462" y="918"/>
                  </a:lnTo>
                  <a:lnTo>
                    <a:pt x="468" y="918"/>
                  </a:lnTo>
                  <a:lnTo>
                    <a:pt x="480" y="924"/>
                  </a:lnTo>
                  <a:lnTo>
                    <a:pt x="486" y="924"/>
                  </a:lnTo>
                  <a:lnTo>
                    <a:pt x="498" y="918"/>
                  </a:lnTo>
                  <a:lnTo>
                    <a:pt x="504" y="912"/>
                  </a:lnTo>
                  <a:lnTo>
                    <a:pt x="516" y="906"/>
                  </a:lnTo>
                  <a:lnTo>
                    <a:pt x="522" y="900"/>
                  </a:lnTo>
                  <a:lnTo>
                    <a:pt x="528" y="906"/>
                  </a:lnTo>
                  <a:lnTo>
                    <a:pt x="528" y="930"/>
                  </a:lnTo>
                  <a:lnTo>
                    <a:pt x="534" y="930"/>
                  </a:lnTo>
                  <a:lnTo>
                    <a:pt x="546" y="918"/>
                  </a:lnTo>
                  <a:lnTo>
                    <a:pt x="558" y="894"/>
                  </a:lnTo>
                  <a:lnTo>
                    <a:pt x="570" y="882"/>
                  </a:lnTo>
                  <a:lnTo>
                    <a:pt x="588" y="882"/>
                  </a:lnTo>
                  <a:lnTo>
                    <a:pt x="594" y="876"/>
                  </a:lnTo>
                  <a:lnTo>
                    <a:pt x="630" y="858"/>
                  </a:lnTo>
                  <a:lnTo>
                    <a:pt x="636" y="846"/>
                  </a:lnTo>
                  <a:lnTo>
                    <a:pt x="636" y="816"/>
                  </a:lnTo>
                  <a:lnTo>
                    <a:pt x="678" y="816"/>
                  </a:lnTo>
                  <a:lnTo>
                    <a:pt x="684" y="810"/>
                  </a:lnTo>
                  <a:lnTo>
                    <a:pt x="690" y="798"/>
                  </a:lnTo>
                  <a:lnTo>
                    <a:pt x="690" y="792"/>
                  </a:lnTo>
                  <a:lnTo>
                    <a:pt x="684" y="786"/>
                  </a:lnTo>
                  <a:lnTo>
                    <a:pt x="636" y="780"/>
                  </a:lnTo>
                  <a:lnTo>
                    <a:pt x="636" y="750"/>
                  </a:lnTo>
                  <a:lnTo>
                    <a:pt x="630" y="738"/>
                  </a:lnTo>
                  <a:lnTo>
                    <a:pt x="618" y="726"/>
                  </a:lnTo>
                  <a:lnTo>
                    <a:pt x="624" y="720"/>
                  </a:lnTo>
                  <a:lnTo>
                    <a:pt x="624" y="690"/>
                  </a:lnTo>
                  <a:lnTo>
                    <a:pt x="618" y="684"/>
                  </a:lnTo>
                  <a:lnTo>
                    <a:pt x="606" y="678"/>
                  </a:lnTo>
                  <a:lnTo>
                    <a:pt x="588" y="660"/>
                  </a:lnTo>
                  <a:lnTo>
                    <a:pt x="588" y="630"/>
                  </a:lnTo>
                  <a:lnTo>
                    <a:pt x="594" y="636"/>
                  </a:lnTo>
                  <a:lnTo>
                    <a:pt x="594" y="642"/>
                  </a:lnTo>
                  <a:lnTo>
                    <a:pt x="636" y="642"/>
                  </a:lnTo>
                  <a:lnTo>
                    <a:pt x="642" y="648"/>
                  </a:lnTo>
                  <a:lnTo>
                    <a:pt x="642" y="666"/>
                  </a:lnTo>
                  <a:lnTo>
                    <a:pt x="654" y="666"/>
                  </a:lnTo>
                  <a:lnTo>
                    <a:pt x="666" y="660"/>
                  </a:lnTo>
                  <a:lnTo>
                    <a:pt x="678" y="666"/>
                  </a:lnTo>
                  <a:lnTo>
                    <a:pt x="684" y="660"/>
                  </a:lnTo>
                  <a:lnTo>
                    <a:pt x="696" y="660"/>
                  </a:lnTo>
                  <a:lnTo>
                    <a:pt x="702" y="666"/>
                  </a:lnTo>
                  <a:lnTo>
                    <a:pt x="708" y="678"/>
                  </a:lnTo>
                  <a:lnTo>
                    <a:pt x="720" y="690"/>
                  </a:lnTo>
                  <a:lnTo>
                    <a:pt x="732" y="696"/>
                  </a:lnTo>
                  <a:lnTo>
                    <a:pt x="738" y="690"/>
                  </a:lnTo>
                  <a:lnTo>
                    <a:pt x="738" y="672"/>
                  </a:lnTo>
                  <a:lnTo>
                    <a:pt x="744" y="660"/>
                  </a:lnTo>
                  <a:lnTo>
                    <a:pt x="744" y="648"/>
                  </a:lnTo>
                  <a:lnTo>
                    <a:pt x="750" y="642"/>
                  </a:lnTo>
                  <a:lnTo>
                    <a:pt x="768" y="642"/>
                  </a:lnTo>
                  <a:lnTo>
                    <a:pt x="774" y="648"/>
                  </a:lnTo>
                  <a:lnTo>
                    <a:pt x="792" y="648"/>
                  </a:lnTo>
                  <a:lnTo>
                    <a:pt x="804" y="642"/>
                  </a:lnTo>
                  <a:lnTo>
                    <a:pt x="828" y="618"/>
                  </a:lnTo>
                  <a:lnTo>
                    <a:pt x="840" y="612"/>
                  </a:lnTo>
                  <a:lnTo>
                    <a:pt x="864" y="612"/>
                  </a:lnTo>
                  <a:lnTo>
                    <a:pt x="864" y="600"/>
                  </a:lnTo>
                  <a:lnTo>
                    <a:pt x="876" y="600"/>
                  </a:lnTo>
                  <a:lnTo>
                    <a:pt x="882" y="594"/>
                  </a:lnTo>
                  <a:lnTo>
                    <a:pt x="882" y="558"/>
                  </a:lnTo>
                  <a:lnTo>
                    <a:pt x="846" y="522"/>
                  </a:lnTo>
                  <a:lnTo>
                    <a:pt x="840" y="510"/>
                  </a:lnTo>
                  <a:lnTo>
                    <a:pt x="834" y="504"/>
                  </a:lnTo>
                  <a:lnTo>
                    <a:pt x="834" y="492"/>
                  </a:lnTo>
                  <a:lnTo>
                    <a:pt x="846" y="486"/>
                  </a:lnTo>
                  <a:lnTo>
                    <a:pt x="852" y="486"/>
                  </a:lnTo>
                  <a:lnTo>
                    <a:pt x="864" y="480"/>
                  </a:lnTo>
                  <a:lnTo>
                    <a:pt x="864" y="462"/>
                  </a:lnTo>
                  <a:lnTo>
                    <a:pt x="846" y="444"/>
                  </a:lnTo>
                  <a:lnTo>
                    <a:pt x="846" y="438"/>
                  </a:lnTo>
                  <a:lnTo>
                    <a:pt x="876" y="438"/>
                  </a:lnTo>
                  <a:lnTo>
                    <a:pt x="888" y="432"/>
                  </a:lnTo>
                  <a:lnTo>
                    <a:pt x="900" y="432"/>
                  </a:lnTo>
                  <a:lnTo>
                    <a:pt x="912" y="426"/>
                  </a:lnTo>
                  <a:lnTo>
                    <a:pt x="918" y="420"/>
                  </a:lnTo>
                  <a:lnTo>
                    <a:pt x="918" y="402"/>
                  </a:lnTo>
                  <a:lnTo>
                    <a:pt x="894" y="402"/>
                  </a:lnTo>
                  <a:lnTo>
                    <a:pt x="894" y="360"/>
                  </a:lnTo>
                  <a:lnTo>
                    <a:pt x="906" y="348"/>
                  </a:lnTo>
                  <a:lnTo>
                    <a:pt x="918" y="348"/>
                  </a:lnTo>
                  <a:lnTo>
                    <a:pt x="924" y="342"/>
                  </a:lnTo>
                  <a:lnTo>
                    <a:pt x="930" y="342"/>
                  </a:lnTo>
                  <a:lnTo>
                    <a:pt x="936" y="336"/>
                  </a:lnTo>
                  <a:lnTo>
                    <a:pt x="954" y="300"/>
                  </a:lnTo>
                  <a:lnTo>
                    <a:pt x="948" y="294"/>
                  </a:lnTo>
                  <a:lnTo>
                    <a:pt x="942" y="282"/>
                  </a:lnTo>
                  <a:lnTo>
                    <a:pt x="936" y="276"/>
                  </a:lnTo>
                  <a:close/>
                </a:path>
              </a:pathLst>
            </a:custGeom>
            <a:solidFill>
              <a:srgbClr val="658B26"/>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53" name="USA" descr="© INSCALE GmbH, 05.05.2010&#10;http://www.presentationload.com/"/>
            <p:cNvSpPr>
              <a:spLocks noEditPoints="1"/>
            </p:cNvSpPr>
            <p:nvPr/>
          </p:nvSpPr>
          <p:spPr bwMode="gray">
            <a:xfrm>
              <a:off x="950914" y="2481264"/>
              <a:ext cx="1576389" cy="781049"/>
            </a:xfrm>
            <a:custGeom>
              <a:avLst/>
              <a:gdLst>
                <a:gd name="T0" fmla="*/ 2147483647 w 3918"/>
                <a:gd name="T1" fmla="*/ 2147483647 h 1944"/>
                <a:gd name="T2" fmla="*/ 2147483647 w 3918"/>
                <a:gd name="T3" fmla="*/ 2147483647 h 1944"/>
                <a:gd name="T4" fmla="*/ 2147483647 w 3918"/>
                <a:gd name="T5" fmla="*/ 2147483647 h 1944"/>
                <a:gd name="T6" fmla="*/ 2147483647 w 3918"/>
                <a:gd name="T7" fmla="*/ 2147483647 h 1944"/>
                <a:gd name="T8" fmla="*/ 2147483647 w 3918"/>
                <a:gd name="T9" fmla="*/ 2147483647 h 1944"/>
                <a:gd name="T10" fmla="*/ 2147483647 w 3918"/>
                <a:gd name="T11" fmla="*/ 2147483647 h 1944"/>
                <a:gd name="T12" fmla="*/ 2147483647 w 3918"/>
                <a:gd name="T13" fmla="*/ 2147483647 h 1944"/>
                <a:gd name="T14" fmla="*/ 2147483647 w 3918"/>
                <a:gd name="T15" fmla="*/ 2147483647 h 1944"/>
                <a:gd name="T16" fmla="*/ 2147483647 w 3918"/>
                <a:gd name="T17" fmla="*/ 2147483647 h 1944"/>
                <a:gd name="T18" fmla="*/ 2147483647 w 3918"/>
                <a:gd name="T19" fmla="*/ 2147483647 h 1944"/>
                <a:gd name="T20" fmla="*/ 2147483647 w 3918"/>
                <a:gd name="T21" fmla="*/ 2147483647 h 1944"/>
                <a:gd name="T22" fmla="*/ 2147483647 w 3918"/>
                <a:gd name="T23" fmla="*/ 2147483647 h 1944"/>
                <a:gd name="T24" fmla="*/ 2147483647 w 3918"/>
                <a:gd name="T25" fmla="*/ 2147483647 h 1944"/>
                <a:gd name="T26" fmla="*/ 2147483647 w 3918"/>
                <a:gd name="T27" fmla="*/ 2147483647 h 1944"/>
                <a:gd name="T28" fmla="*/ 2147483647 w 3918"/>
                <a:gd name="T29" fmla="*/ 2147483647 h 1944"/>
                <a:gd name="T30" fmla="*/ 2147483647 w 3918"/>
                <a:gd name="T31" fmla="*/ 2147483647 h 1944"/>
                <a:gd name="T32" fmla="*/ 2147483647 w 3918"/>
                <a:gd name="T33" fmla="*/ 2147483647 h 1944"/>
                <a:gd name="T34" fmla="*/ 2147483647 w 3918"/>
                <a:gd name="T35" fmla="*/ 2147483647 h 1944"/>
                <a:gd name="T36" fmla="*/ 2147483647 w 3918"/>
                <a:gd name="T37" fmla="*/ 2147483647 h 1944"/>
                <a:gd name="T38" fmla="*/ 2147483647 w 3918"/>
                <a:gd name="T39" fmla="*/ 2147483647 h 1944"/>
                <a:gd name="T40" fmla="*/ 2147483647 w 3918"/>
                <a:gd name="T41" fmla="*/ 2147483647 h 1944"/>
                <a:gd name="T42" fmla="*/ 2147483647 w 3918"/>
                <a:gd name="T43" fmla="*/ 2147483647 h 1944"/>
                <a:gd name="T44" fmla="*/ 2147483647 w 3918"/>
                <a:gd name="T45" fmla="*/ 2147483647 h 1944"/>
                <a:gd name="T46" fmla="*/ 2147483647 w 3918"/>
                <a:gd name="T47" fmla="*/ 2147483647 h 1944"/>
                <a:gd name="T48" fmla="*/ 2147483647 w 3918"/>
                <a:gd name="T49" fmla="*/ 2147483647 h 1944"/>
                <a:gd name="T50" fmla="*/ 2147483647 w 3918"/>
                <a:gd name="T51" fmla="*/ 2147483647 h 1944"/>
                <a:gd name="T52" fmla="*/ 2147483647 w 3918"/>
                <a:gd name="T53" fmla="*/ 2147483647 h 1944"/>
                <a:gd name="T54" fmla="*/ 2147483647 w 3918"/>
                <a:gd name="T55" fmla="*/ 2147483647 h 1944"/>
                <a:gd name="T56" fmla="*/ 2147483647 w 3918"/>
                <a:gd name="T57" fmla="*/ 2147483647 h 1944"/>
                <a:gd name="T58" fmla="*/ 2147483647 w 3918"/>
                <a:gd name="T59" fmla="*/ 2147483647 h 1944"/>
                <a:gd name="T60" fmla="*/ 2147483647 w 3918"/>
                <a:gd name="T61" fmla="*/ 2147483647 h 1944"/>
                <a:gd name="T62" fmla="*/ 2147483647 w 3918"/>
                <a:gd name="T63" fmla="*/ 2147483647 h 1944"/>
                <a:gd name="T64" fmla="*/ 2147483647 w 3918"/>
                <a:gd name="T65" fmla="*/ 2147483647 h 1944"/>
                <a:gd name="T66" fmla="*/ 2147483647 w 3918"/>
                <a:gd name="T67" fmla="*/ 2147483647 h 1944"/>
                <a:gd name="T68" fmla="*/ 2147483647 w 3918"/>
                <a:gd name="T69" fmla="*/ 2147483647 h 1944"/>
                <a:gd name="T70" fmla="*/ 2147483647 w 3918"/>
                <a:gd name="T71" fmla="*/ 2147483647 h 1944"/>
                <a:gd name="T72" fmla="*/ 2147483647 w 3918"/>
                <a:gd name="T73" fmla="*/ 2147483647 h 1944"/>
                <a:gd name="T74" fmla="*/ 2147483647 w 3918"/>
                <a:gd name="T75" fmla="*/ 2147483647 h 1944"/>
                <a:gd name="T76" fmla="*/ 2147483647 w 3918"/>
                <a:gd name="T77" fmla="*/ 2147483647 h 1944"/>
                <a:gd name="T78" fmla="*/ 2147483647 w 3918"/>
                <a:gd name="T79" fmla="*/ 2147483647 h 1944"/>
                <a:gd name="T80" fmla="*/ 2147483647 w 3918"/>
                <a:gd name="T81" fmla="*/ 2147483647 h 1944"/>
                <a:gd name="T82" fmla="*/ 2147483647 w 3918"/>
                <a:gd name="T83" fmla="*/ 2147483647 h 1944"/>
                <a:gd name="T84" fmla="*/ 2147483647 w 3918"/>
                <a:gd name="T85" fmla="*/ 2147483647 h 1944"/>
                <a:gd name="T86" fmla="*/ 2147483647 w 3918"/>
                <a:gd name="T87" fmla="*/ 2147483647 h 1944"/>
                <a:gd name="T88" fmla="*/ 2147483647 w 3918"/>
                <a:gd name="T89" fmla="*/ 2147483647 h 1944"/>
                <a:gd name="T90" fmla="*/ 2147483647 w 3918"/>
                <a:gd name="T91" fmla="*/ 2147483647 h 1944"/>
                <a:gd name="T92" fmla="*/ 2147483647 w 3918"/>
                <a:gd name="T93" fmla="*/ 2147483647 h 1944"/>
                <a:gd name="T94" fmla="*/ 2147483647 w 3918"/>
                <a:gd name="T95" fmla="*/ 2147483647 h 1944"/>
                <a:gd name="T96" fmla="*/ 2147483647 w 3918"/>
                <a:gd name="T97" fmla="*/ 2147483647 h 1944"/>
                <a:gd name="T98" fmla="*/ 2147483647 w 3918"/>
                <a:gd name="T99" fmla="*/ 2147483647 h 1944"/>
                <a:gd name="T100" fmla="*/ 2147483647 w 3918"/>
                <a:gd name="T101" fmla="*/ 2147483647 h 1944"/>
                <a:gd name="T102" fmla="*/ 2147483647 w 3918"/>
                <a:gd name="T103" fmla="*/ 2147483647 h 1944"/>
                <a:gd name="T104" fmla="*/ 2147483647 w 3918"/>
                <a:gd name="T105" fmla="*/ 2147483647 h 1944"/>
                <a:gd name="T106" fmla="*/ 2147483647 w 3918"/>
                <a:gd name="T107" fmla="*/ 2147483647 h 1944"/>
                <a:gd name="T108" fmla="*/ 2147483647 w 3918"/>
                <a:gd name="T109" fmla="*/ 2147483647 h 1944"/>
                <a:gd name="T110" fmla="*/ 2147483647 w 3918"/>
                <a:gd name="T111" fmla="*/ 2147483647 h 1944"/>
                <a:gd name="T112" fmla="*/ 2147483647 w 3918"/>
                <a:gd name="T113" fmla="*/ 2147483647 h 1944"/>
                <a:gd name="T114" fmla="*/ 2147483647 w 3918"/>
                <a:gd name="T115" fmla="*/ 2147483647 h 1944"/>
                <a:gd name="T116" fmla="*/ 2147483647 w 3918"/>
                <a:gd name="T117" fmla="*/ 2147483647 h 1944"/>
                <a:gd name="T118" fmla="*/ 2147483647 w 3918"/>
                <a:gd name="T119" fmla="*/ 2147483647 h 1944"/>
                <a:gd name="T120" fmla="*/ 2147483647 w 3918"/>
                <a:gd name="T121" fmla="*/ 2147483647 h 1944"/>
                <a:gd name="T122" fmla="*/ 2147483647 w 3918"/>
                <a:gd name="T123" fmla="*/ 2147483647 h 1944"/>
                <a:gd name="T124" fmla="*/ 2147483647 w 3918"/>
                <a:gd name="T125" fmla="*/ 2147483647 h 19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18"/>
                <a:gd name="T190" fmla="*/ 0 h 1944"/>
                <a:gd name="T191" fmla="*/ 3918 w 3918"/>
                <a:gd name="T192" fmla="*/ 1944 h 194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18" h="1944">
                  <a:moveTo>
                    <a:pt x="3858" y="168"/>
                  </a:moveTo>
                  <a:lnTo>
                    <a:pt x="3852" y="168"/>
                  </a:lnTo>
                  <a:lnTo>
                    <a:pt x="3846" y="162"/>
                  </a:lnTo>
                  <a:lnTo>
                    <a:pt x="3846" y="156"/>
                  </a:lnTo>
                  <a:lnTo>
                    <a:pt x="3840" y="150"/>
                  </a:lnTo>
                  <a:lnTo>
                    <a:pt x="3828" y="150"/>
                  </a:lnTo>
                  <a:lnTo>
                    <a:pt x="3804" y="174"/>
                  </a:lnTo>
                  <a:lnTo>
                    <a:pt x="3798" y="186"/>
                  </a:lnTo>
                  <a:lnTo>
                    <a:pt x="3756" y="210"/>
                  </a:lnTo>
                  <a:lnTo>
                    <a:pt x="3756" y="234"/>
                  </a:lnTo>
                  <a:lnTo>
                    <a:pt x="3744" y="246"/>
                  </a:lnTo>
                  <a:lnTo>
                    <a:pt x="3738" y="246"/>
                  </a:lnTo>
                  <a:lnTo>
                    <a:pt x="3726" y="258"/>
                  </a:lnTo>
                  <a:lnTo>
                    <a:pt x="3720" y="270"/>
                  </a:lnTo>
                  <a:lnTo>
                    <a:pt x="3720" y="294"/>
                  </a:lnTo>
                  <a:lnTo>
                    <a:pt x="3714" y="294"/>
                  </a:lnTo>
                  <a:lnTo>
                    <a:pt x="3708" y="288"/>
                  </a:lnTo>
                  <a:lnTo>
                    <a:pt x="3696" y="288"/>
                  </a:lnTo>
                  <a:lnTo>
                    <a:pt x="3690" y="294"/>
                  </a:lnTo>
                  <a:lnTo>
                    <a:pt x="3678" y="300"/>
                  </a:lnTo>
                  <a:lnTo>
                    <a:pt x="3666" y="312"/>
                  </a:lnTo>
                  <a:lnTo>
                    <a:pt x="3666" y="318"/>
                  </a:lnTo>
                  <a:lnTo>
                    <a:pt x="3660" y="318"/>
                  </a:lnTo>
                  <a:lnTo>
                    <a:pt x="3648" y="324"/>
                  </a:lnTo>
                  <a:lnTo>
                    <a:pt x="3630" y="324"/>
                  </a:lnTo>
                  <a:lnTo>
                    <a:pt x="3618" y="336"/>
                  </a:lnTo>
                  <a:lnTo>
                    <a:pt x="3618" y="342"/>
                  </a:lnTo>
                  <a:lnTo>
                    <a:pt x="3384" y="342"/>
                  </a:lnTo>
                  <a:lnTo>
                    <a:pt x="3372" y="354"/>
                  </a:lnTo>
                  <a:lnTo>
                    <a:pt x="3360" y="360"/>
                  </a:lnTo>
                  <a:lnTo>
                    <a:pt x="3336" y="384"/>
                  </a:lnTo>
                  <a:lnTo>
                    <a:pt x="3324" y="390"/>
                  </a:lnTo>
                  <a:lnTo>
                    <a:pt x="3312" y="402"/>
                  </a:lnTo>
                  <a:lnTo>
                    <a:pt x="3282" y="402"/>
                  </a:lnTo>
                  <a:lnTo>
                    <a:pt x="3282" y="408"/>
                  </a:lnTo>
                  <a:lnTo>
                    <a:pt x="3276" y="408"/>
                  </a:lnTo>
                  <a:lnTo>
                    <a:pt x="3282" y="414"/>
                  </a:lnTo>
                  <a:lnTo>
                    <a:pt x="3282" y="420"/>
                  </a:lnTo>
                  <a:lnTo>
                    <a:pt x="3288" y="426"/>
                  </a:lnTo>
                  <a:lnTo>
                    <a:pt x="3282" y="432"/>
                  </a:lnTo>
                  <a:lnTo>
                    <a:pt x="3282" y="438"/>
                  </a:lnTo>
                  <a:lnTo>
                    <a:pt x="3276" y="444"/>
                  </a:lnTo>
                  <a:lnTo>
                    <a:pt x="3270" y="456"/>
                  </a:lnTo>
                  <a:lnTo>
                    <a:pt x="3264" y="462"/>
                  </a:lnTo>
                  <a:lnTo>
                    <a:pt x="3264" y="468"/>
                  </a:lnTo>
                  <a:lnTo>
                    <a:pt x="3246" y="468"/>
                  </a:lnTo>
                  <a:lnTo>
                    <a:pt x="3246" y="474"/>
                  </a:lnTo>
                  <a:lnTo>
                    <a:pt x="3240" y="474"/>
                  </a:lnTo>
                  <a:lnTo>
                    <a:pt x="3228" y="480"/>
                  </a:lnTo>
                  <a:lnTo>
                    <a:pt x="3204" y="480"/>
                  </a:lnTo>
                  <a:lnTo>
                    <a:pt x="3198" y="474"/>
                  </a:lnTo>
                  <a:lnTo>
                    <a:pt x="3186" y="486"/>
                  </a:lnTo>
                  <a:lnTo>
                    <a:pt x="3162" y="486"/>
                  </a:lnTo>
                  <a:lnTo>
                    <a:pt x="3150" y="480"/>
                  </a:lnTo>
                  <a:lnTo>
                    <a:pt x="3144" y="474"/>
                  </a:lnTo>
                  <a:lnTo>
                    <a:pt x="3114" y="474"/>
                  </a:lnTo>
                  <a:lnTo>
                    <a:pt x="3096" y="486"/>
                  </a:lnTo>
                  <a:lnTo>
                    <a:pt x="3078" y="492"/>
                  </a:lnTo>
                  <a:lnTo>
                    <a:pt x="3072" y="492"/>
                  </a:lnTo>
                  <a:lnTo>
                    <a:pt x="3072" y="516"/>
                  </a:lnTo>
                  <a:lnTo>
                    <a:pt x="3066" y="522"/>
                  </a:lnTo>
                  <a:lnTo>
                    <a:pt x="3078" y="522"/>
                  </a:lnTo>
                  <a:lnTo>
                    <a:pt x="3066" y="528"/>
                  </a:lnTo>
                  <a:lnTo>
                    <a:pt x="3036" y="546"/>
                  </a:lnTo>
                  <a:lnTo>
                    <a:pt x="3000" y="564"/>
                  </a:lnTo>
                  <a:lnTo>
                    <a:pt x="2964" y="576"/>
                  </a:lnTo>
                  <a:lnTo>
                    <a:pt x="2946" y="588"/>
                  </a:lnTo>
                  <a:lnTo>
                    <a:pt x="2934" y="594"/>
                  </a:lnTo>
                  <a:lnTo>
                    <a:pt x="2928" y="594"/>
                  </a:lnTo>
                  <a:lnTo>
                    <a:pt x="2856" y="618"/>
                  </a:lnTo>
                  <a:lnTo>
                    <a:pt x="2850" y="624"/>
                  </a:lnTo>
                  <a:lnTo>
                    <a:pt x="2838" y="624"/>
                  </a:lnTo>
                  <a:lnTo>
                    <a:pt x="2826" y="630"/>
                  </a:lnTo>
                  <a:lnTo>
                    <a:pt x="2808" y="630"/>
                  </a:lnTo>
                  <a:lnTo>
                    <a:pt x="2802" y="636"/>
                  </a:lnTo>
                  <a:lnTo>
                    <a:pt x="2778" y="636"/>
                  </a:lnTo>
                  <a:lnTo>
                    <a:pt x="2772" y="630"/>
                  </a:lnTo>
                  <a:lnTo>
                    <a:pt x="2772" y="624"/>
                  </a:lnTo>
                  <a:lnTo>
                    <a:pt x="2760" y="624"/>
                  </a:lnTo>
                  <a:lnTo>
                    <a:pt x="2748" y="618"/>
                  </a:lnTo>
                  <a:lnTo>
                    <a:pt x="2736" y="606"/>
                  </a:lnTo>
                  <a:lnTo>
                    <a:pt x="2742" y="606"/>
                  </a:lnTo>
                  <a:lnTo>
                    <a:pt x="2748" y="600"/>
                  </a:lnTo>
                  <a:lnTo>
                    <a:pt x="2772" y="588"/>
                  </a:lnTo>
                  <a:lnTo>
                    <a:pt x="2772" y="582"/>
                  </a:lnTo>
                  <a:lnTo>
                    <a:pt x="2796" y="558"/>
                  </a:lnTo>
                  <a:lnTo>
                    <a:pt x="2832" y="540"/>
                  </a:lnTo>
                  <a:lnTo>
                    <a:pt x="2838" y="540"/>
                  </a:lnTo>
                  <a:lnTo>
                    <a:pt x="2844" y="534"/>
                  </a:lnTo>
                  <a:lnTo>
                    <a:pt x="2844" y="510"/>
                  </a:lnTo>
                  <a:lnTo>
                    <a:pt x="2850" y="504"/>
                  </a:lnTo>
                  <a:lnTo>
                    <a:pt x="2856" y="492"/>
                  </a:lnTo>
                  <a:lnTo>
                    <a:pt x="2850" y="486"/>
                  </a:lnTo>
                  <a:lnTo>
                    <a:pt x="2850" y="480"/>
                  </a:lnTo>
                  <a:lnTo>
                    <a:pt x="2856" y="468"/>
                  </a:lnTo>
                  <a:lnTo>
                    <a:pt x="2856" y="444"/>
                  </a:lnTo>
                  <a:lnTo>
                    <a:pt x="2862" y="432"/>
                  </a:lnTo>
                  <a:lnTo>
                    <a:pt x="2862" y="426"/>
                  </a:lnTo>
                  <a:lnTo>
                    <a:pt x="2856" y="420"/>
                  </a:lnTo>
                  <a:lnTo>
                    <a:pt x="2850" y="420"/>
                  </a:lnTo>
                  <a:lnTo>
                    <a:pt x="2844" y="426"/>
                  </a:lnTo>
                  <a:lnTo>
                    <a:pt x="2832" y="426"/>
                  </a:lnTo>
                  <a:lnTo>
                    <a:pt x="2814" y="444"/>
                  </a:lnTo>
                  <a:lnTo>
                    <a:pt x="2802" y="450"/>
                  </a:lnTo>
                  <a:lnTo>
                    <a:pt x="2796" y="456"/>
                  </a:lnTo>
                  <a:lnTo>
                    <a:pt x="2778" y="456"/>
                  </a:lnTo>
                  <a:lnTo>
                    <a:pt x="2772" y="450"/>
                  </a:lnTo>
                  <a:lnTo>
                    <a:pt x="2778" y="444"/>
                  </a:lnTo>
                  <a:lnTo>
                    <a:pt x="2784" y="432"/>
                  </a:lnTo>
                  <a:lnTo>
                    <a:pt x="2808" y="420"/>
                  </a:lnTo>
                  <a:lnTo>
                    <a:pt x="2826" y="402"/>
                  </a:lnTo>
                  <a:lnTo>
                    <a:pt x="2850" y="390"/>
                  </a:lnTo>
                  <a:lnTo>
                    <a:pt x="2856" y="384"/>
                  </a:lnTo>
                  <a:lnTo>
                    <a:pt x="2856" y="366"/>
                  </a:lnTo>
                  <a:lnTo>
                    <a:pt x="2850" y="360"/>
                  </a:lnTo>
                  <a:lnTo>
                    <a:pt x="2850" y="348"/>
                  </a:lnTo>
                  <a:lnTo>
                    <a:pt x="2856" y="348"/>
                  </a:lnTo>
                  <a:lnTo>
                    <a:pt x="2862" y="342"/>
                  </a:lnTo>
                  <a:lnTo>
                    <a:pt x="2868" y="330"/>
                  </a:lnTo>
                  <a:lnTo>
                    <a:pt x="2868" y="318"/>
                  </a:lnTo>
                  <a:lnTo>
                    <a:pt x="2862" y="312"/>
                  </a:lnTo>
                  <a:lnTo>
                    <a:pt x="2850" y="312"/>
                  </a:lnTo>
                  <a:lnTo>
                    <a:pt x="2838" y="306"/>
                  </a:lnTo>
                  <a:lnTo>
                    <a:pt x="2832" y="306"/>
                  </a:lnTo>
                  <a:lnTo>
                    <a:pt x="2826" y="294"/>
                  </a:lnTo>
                  <a:lnTo>
                    <a:pt x="2820" y="288"/>
                  </a:lnTo>
                  <a:lnTo>
                    <a:pt x="2820" y="282"/>
                  </a:lnTo>
                  <a:lnTo>
                    <a:pt x="2814" y="288"/>
                  </a:lnTo>
                  <a:lnTo>
                    <a:pt x="2808" y="288"/>
                  </a:lnTo>
                  <a:lnTo>
                    <a:pt x="2808" y="264"/>
                  </a:lnTo>
                  <a:lnTo>
                    <a:pt x="2844" y="270"/>
                  </a:lnTo>
                  <a:lnTo>
                    <a:pt x="2850" y="264"/>
                  </a:lnTo>
                  <a:lnTo>
                    <a:pt x="2850" y="246"/>
                  </a:lnTo>
                  <a:lnTo>
                    <a:pt x="2862" y="246"/>
                  </a:lnTo>
                  <a:lnTo>
                    <a:pt x="2868" y="228"/>
                  </a:lnTo>
                  <a:lnTo>
                    <a:pt x="2850" y="228"/>
                  </a:lnTo>
                  <a:lnTo>
                    <a:pt x="2844" y="240"/>
                  </a:lnTo>
                  <a:lnTo>
                    <a:pt x="2820" y="228"/>
                  </a:lnTo>
                  <a:lnTo>
                    <a:pt x="2820" y="210"/>
                  </a:lnTo>
                  <a:lnTo>
                    <a:pt x="2802" y="210"/>
                  </a:lnTo>
                  <a:lnTo>
                    <a:pt x="2790" y="216"/>
                  </a:lnTo>
                  <a:lnTo>
                    <a:pt x="2736" y="216"/>
                  </a:lnTo>
                  <a:lnTo>
                    <a:pt x="2724" y="222"/>
                  </a:lnTo>
                  <a:lnTo>
                    <a:pt x="2712" y="222"/>
                  </a:lnTo>
                  <a:lnTo>
                    <a:pt x="2700" y="228"/>
                  </a:lnTo>
                  <a:lnTo>
                    <a:pt x="2682" y="228"/>
                  </a:lnTo>
                  <a:lnTo>
                    <a:pt x="2658" y="216"/>
                  </a:lnTo>
                  <a:lnTo>
                    <a:pt x="2658" y="210"/>
                  </a:lnTo>
                  <a:lnTo>
                    <a:pt x="2652" y="204"/>
                  </a:lnTo>
                  <a:lnTo>
                    <a:pt x="2652" y="198"/>
                  </a:lnTo>
                  <a:lnTo>
                    <a:pt x="2646" y="192"/>
                  </a:lnTo>
                  <a:lnTo>
                    <a:pt x="2628" y="192"/>
                  </a:lnTo>
                  <a:lnTo>
                    <a:pt x="2622" y="198"/>
                  </a:lnTo>
                  <a:lnTo>
                    <a:pt x="2616" y="198"/>
                  </a:lnTo>
                  <a:lnTo>
                    <a:pt x="2610" y="192"/>
                  </a:lnTo>
                  <a:lnTo>
                    <a:pt x="2670" y="162"/>
                  </a:lnTo>
                  <a:lnTo>
                    <a:pt x="2658" y="150"/>
                  </a:lnTo>
                  <a:lnTo>
                    <a:pt x="2640" y="150"/>
                  </a:lnTo>
                  <a:lnTo>
                    <a:pt x="2628" y="162"/>
                  </a:lnTo>
                  <a:lnTo>
                    <a:pt x="2616" y="168"/>
                  </a:lnTo>
                  <a:lnTo>
                    <a:pt x="2610" y="174"/>
                  </a:lnTo>
                  <a:lnTo>
                    <a:pt x="2604" y="174"/>
                  </a:lnTo>
                  <a:lnTo>
                    <a:pt x="2580" y="186"/>
                  </a:lnTo>
                  <a:lnTo>
                    <a:pt x="2562" y="192"/>
                  </a:lnTo>
                  <a:lnTo>
                    <a:pt x="2538" y="204"/>
                  </a:lnTo>
                  <a:lnTo>
                    <a:pt x="2508" y="204"/>
                  </a:lnTo>
                  <a:lnTo>
                    <a:pt x="2496" y="216"/>
                  </a:lnTo>
                  <a:lnTo>
                    <a:pt x="2448" y="216"/>
                  </a:lnTo>
                  <a:lnTo>
                    <a:pt x="2448" y="210"/>
                  </a:lnTo>
                  <a:lnTo>
                    <a:pt x="2454" y="204"/>
                  </a:lnTo>
                  <a:lnTo>
                    <a:pt x="2460" y="204"/>
                  </a:lnTo>
                  <a:lnTo>
                    <a:pt x="2472" y="192"/>
                  </a:lnTo>
                  <a:lnTo>
                    <a:pt x="2460" y="192"/>
                  </a:lnTo>
                  <a:lnTo>
                    <a:pt x="2448" y="198"/>
                  </a:lnTo>
                  <a:lnTo>
                    <a:pt x="2412" y="198"/>
                  </a:lnTo>
                  <a:lnTo>
                    <a:pt x="2400" y="204"/>
                  </a:lnTo>
                  <a:lnTo>
                    <a:pt x="2394" y="210"/>
                  </a:lnTo>
                  <a:lnTo>
                    <a:pt x="2370" y="210"/>
                  </a:lnTo>
                  <a:lnTo>
                    <a:pt x="2370" y="198"/>
                  </a:lnTo>
                  <a:lnTo>
                    <a:pt x="2400" y="180"/>
                  </a:lnTo>
                  <a:lnTo>
                    <a:pt x="2442" y="168"/>
                  </a:lnTo>
                  <a:lnTo>
                    <a:pt x="2502" y="138"/>
                  </a:lnTo>
                  <a:lnTo>
                    <a:pt x="2520" y="126"/>
                  </a:lnTo>
                  <a:lnTo>
                    <a:pt x="2544" y="120"/>
                  </a:lnTo>
                  <a:lnTo>
                    <a:pt x="2574" y="114"/>
                  </a:lnTo>
                  <a:lnTo>
                    <a:pt x="2580" y="114"/>
                  </a:lnTo>
                  <a:lnTo>
                    <a:pt x="2592" y="108"/>
                  </a:lnTo>
                  <a:lnTo>
                    <a:pt x="2574" y="108"/>
                  </a:lnTo>
                  <a:lnTo>
                    <a:pt x="2562" y="102"/>
                  </a:lnTo>
                  <a:lnTo>
                    <a:pt x="2556" y="102"/>
                  </a:lnTo>
                  <a:lnTo>
                    <a:pt x="2556" y="96"/>
                  </a:lnTo>
                  <a:lnTo>
                    <a:pt x="2508" y="102"/>
                  </a:lnTo>
                  <a:lnTo>
                    <a:pt x="2508" y="84"/>
                  </a:lnTo>
                  <a:lnTo>
                    <a:pt x="2502" y="90"/>
                  </a:lnTo>
                  <a:lnTo>
                    <a:pt x="2490" y="96"/>
                  </a:lnTo>
                  <a:lnTo>
                    <a:pt x="2478" y="108"/>
                  </a:lnTo>
                  <a:lnTo>
                    <a:pt x="2466" y="108"/>
                  </a:lnTo>
                  <a:lnTo>
                    <a:pt x="2448" y="90"/>
                  </a:lnTo>
                  <a:lnTo>
                    <a:pt x="2418" y="90"/>
                  </a:lnTo>
                  <a:lnTo>
                    <a:pt x="2412" y="84"/>
                  </a:lnTo>
                  <a:lnTo>
                    <a:pt x="2412" y="78"/>
                  </a:lnTo>
                  <a:lnTo>
                    <a:pt x="2400" y="66"/>
                  </a:lnTo>
                  <a:lnTo>
                    <a:pt x="2388" y="60"/>
                  </a:lnTo>
                  <a:lnTo>
                    <a:pt x="2376" y="60"/>
                  </a:lnTo>
                  <a:lnTo>
                    <a:pt x="2364" y="72"/>
                  </a:lnTo>
                  <a:lnTo>
                    <a:pt x="2364" y="78"/>
                  </a:lnTo>
                  <a:lnTo>
                    <a:pt x="2352" y="78"/>
                  </a:lnTo>
                  <a:lnTo>
                    <a:pt x="2334" y="60"/>
                  </a:lnTo>
                  <a:lnTo>
                    <a:pt x="2322" y="60"/>
                  </a:lnTo>
                  <a:lnTo>
                    <a:pt x="2304" y="54"/>
                  </a:lnTo>
                  <a:lnTo>
                    <a:pt x="2292" y="48"/>
                  </a:lnTo>
                  <a:lnTo>
                    <a:pt x="2292" y="36"/>
                  </a:lnTo>
                  <a:lnTo>
                    <a:pt x="2298" y="24"/>
                  </a:lnTo>
                  <a:lnTo>
                    <a:pt x="2310" y="12"/>
                  </a:lnTo>
                  <a:lnTo>
                    <a:pt x="2298" y="0"/>
                  </a:lnTo>
                  <a:lnTo>
                    <a:pt x="2286" y="6"/>
                  </a:lnTo>
                  <a:lnTo>
                    <a:pt x="2280" y="12"/>
                  </a:lnTo>
                  <a:lnTo>
                    <a:pt x="2274" y="24"/>
                  </a:lnTo>
                  <a:lnTo>
                    <a:pt x="2274" y="30"/>
                  </a:lnTo>
                  <a:lnTo>
                    <a:pt x="2268" y="42"/>
                  </a:lnTo>
                  <a:lnTo>
                    <a:pt x="558" y="42"/>
                  </a:lnTo>
                  <a:lnTo>
                    <a:pt x="552" y="54"/>
                  </a:lnTo>
                  <a:lnTo>
                    <a:pt x="552" y="60"/>
                  </a:lnTo>
                  <a:lnTo>
                    <a:pt x="546" y="60"/>
                  </a:lnTo>
                  <a:lnTo>
                    <a:pt x="546" y="72"/>
                  </a:lnTo>
                  <a:lnTo>
                    <a:pt x="540" y="84"/>
                  </a:lnTo>
                  <a:lnTo>
                    <a:pt x="540" y="108"/>
                  </a:lnTo>
                  <a:lnTo>
                    <a:pt x="510" y="126"/>
                  </a:lnTo>
                  <a:lnTo>
                    <a:pt x="504" y="144"/>
                  </a:lnTo>
                  <a:lnTo>
                    <a:pt x="486" y="168"/>
                  </a:lnTo>
                  <a:lnTo>
                    <a:pt x="438" y="180"/>
                  </a:lnTo>
                  <a:lnTo>
                    <a:pt x="474" y="162"/>
                  </a:lnTo>
                  <a:lnTo>
                    <a:pt x="450" y="162"/>
                  </a:lnTo>
                  <a:lnTo>
                    <a:pt x="456" y="156"/>
                  </a:lnTo>
                  <a:lnTo>
                    <a:pt x="462" y="144"/>
                  </a:lnTo>
                  <a:lnTo>
                    <a:pt x="486" y="120"/>
                  </a:lnTo>
                  <a:lnTo>
                    <a:pt x="492" y="120"/>
                  </a:lnTo>
                  <a:lnTo>
                    <a:pt x="504" y="108"/>
                  </a:lnTo>
                  <a:lnTo>
                    <a:pt x="504" y="102"/>
                  </a:lnTo>
                  <a:lnTo>
                    <a:pt x="456" y="102"/>
                  </a:lnTo>
                  <a:lnTo>
                    <a:pt x="450" y="96"/>
                  </a:lnTo>
                  <a:lnTo>
                    <a:pt x="438" y="90"/>
                  </a:lnTo>
                  <a:lnTo>
                    <a:pt x="432" y="84"/>
                  </a:lnTo>
                  <a:lnTo>
                    <a:pt x="420" y="78"/>
                  </a:lnTo>
                  <a:lnTo>
                    <a:pt x="402" y="78"/>
                  </a:lnTo>
                  <a:lnTo>
                    <a:pt x="390" y="90"/>
                  </a:lnTo>
                  <a:lnTo>
                    <a:pt x="384" y="102"/>
                  </a:lnTo>
                  <a:lnTo>
                    <a:pt x="384" y="150"/>
                  </a:lnTo>
                  <a:lnTo>
                    <a:pt x="378" y="156"/>
                  </a:lnTo>
                  <a:lnTo>
                    <a:pt x="378" y="162"/>
                  </a:lnTo>
                  <a:lnTo>
                    <a:pt x="360" y="180"/>
                  </a:lnTo>
                  <a:lnTo>
                    <a:pt x="390" y="186"/>
                  </a:lnTo>
                  <a:lnTo>
                    <a:pt x="360" y="192"/>
                  </a:lnTo>
                  <a:lnTo>
                    <a:pt x="366" y="210"/>
                  </a:lnTo>
                  <a:lnTo>
                    <a:pt x="348" y="234"/>
                  </a:lnTo>
                  <a:lnTo>
                    <a:pt x="354" y="234"/>
                  </a:lnTo>
                  <a:lnTo>
                    <a:pt x="366" y="246"/>
                  </a:lnTo>
                  <a:lnTo>
                    <a:pt x="372" y="246"/>
                  </a:lnTo>
                  <a:lnTo>
                    <a:pt x="378" y="252"/>
                  </a:lnTo>
                  <a:lnTo>
                    <a:pt x="330" y="252"/>
                  </a:lnTo>
                  <a:lnTo>
                    <a:pt x="324" y="264"/>
                  </a:lnTo>
                  <a:lnTo>
                    <a:pt x="306" y="282"/>
                  </a:lnTo>
                  <a:lnTo>
                    <a:pt x="270" y="342"/>
                  </a:lnTo>
                  <a:lnTo>
                    <a:pt x="258" y="360"/>
                  </a:lnTo>
                  <a:lnTo>
                    <a:pt x="216" y="402"/>
                  </a:lnTo>
                  <a:lnTo>
                    <a:pt x="192" y="432"/>
                  </a:lnTo>
                  <a:lnTo>
                    <a:pt x="174" y="456"/>
                  </a:lnTo>
                  <a:lnTo>
                    <a:pt x="168" y="462"/>
                  </a:lnTo>
                  <a:lnTo>
                    <a:pt x="174" y="480"/>
                  </a:lnTo>
                  <a:lnTo>
                    <a:pt x="168" y="480"/>
                  </a:lnTo>
                  <a:lnTo>
                    <a:pt x="162" y="486"/>
                  </a:lnTo>
                  <a:lnTo>
                    <a:pt x="150" y="492"/>
                  </a:lnTo>
                  <a:lnTo>
                    <a:pt x="126" y="516"/>
                  </a:lnTo>
                  <a:lnTo>
                    <a:pt x="120" y="534"/>
                  </a:lnTo>
                  <a:lnTo>
                    <a:pt x="120" y="546"/>
                  </a:lnTo>
                  <a:lnTo>
                    <a:pt x="102" y="570"/>
                  </a:lnTo>
                  <a:lnTo>
                    <a:pt x="96" y="618"/>
                  </a:lnTo>
                  <a:lnTo>
                    <a:pt x="90" y="630"/>
                  </a:lnTo>
                  <a:lnTo>
                    <a:pt x="72" y="648"/>
                  </a:lnTo>
                  <a:lnTo>
                    <a:pt x="60" y="672"/>
                  </a:lnTo>
                  <a:lnTo>
                    <a:pt x="54" y="678"/>
                  </a:lnTo>
                  <a:lnTo>
                    <a:pt x="42" y="684"/>
                  </a:lnTo>
                  <a:lnTo>
                    <a:pt x="18" y="708"/>
                  </a:lnTo>
                  <a:lnTo>
                    <a:pt x="12" y="720"/>
                  </a:lnTo>
                  <a:lnTo>
                    <a:pt x="18" y="732"/>
                  </a:lnTo>
                  <a:lnTo>
                    <a:pt x="36" y="750"/>
                  </a:lnTo>
                  <a:lnTo>
                    <a:pt x="36" y="762"/>
                  </a:lnTo>
                  <a:lnTo>
                    <a:pt x="30" y="774"/>
                  </a:lnTo>
                  <a:lnTo>
                    <a:pt x="18" y="786"/>
                  </a:lnTo>
                  <a:lnTo>
                    <a:pt x="12" y="798"/>
                  </a:lnTo>
                  <a:lnTo>
                    <a:pt x="6" y="816"/>
                  </a:lnTo>
                  <a:lnTo>
                    <a:pt x="0" y="828"/>
                  </a:lnTo>
                  <a:lnTo>
                    <a:pt x="0" y="840"/>
                  </a:lnTo>
                  <a:lnTo>
                    <a:pt x="6" y="852"/>
                  </a:lnTo>
                  <a:lnTo>
                    <a:pt x="12" y="870"/>
                  </a:lnTo>
                  <a:lnTo>
                    <a:pt x="12" y="882"/>
                  </a:lnTo>
                  <a:lnTo>
                    <a:pt x="18" y="900"/>
                  </a:lnTo>
                  <a:lnTo>
                    <a:pt x="24" y="906"/>
                  </a:lnTo>
                  <a:lnTo>
                    <a:pt x="24" y="912"/>
                  </a:lnTo>
                  <a:lnTo>
                    <a:pt x="48" y="894"/>
                  </a:lnTo>
                  <a:lnTo>
                    <a:pt x="114" y="900"/>
                  </a:lnTo>
                  <a:lnTo>
                    <a:pt x="78" y="900"/>
                  </a:lnTo>
                  <a:lnTo>
                    <a:pt x="66" y="906"/>
                  </a:lnTo>
                  <a:lnTo>
                    <a:pt x="60" y="906"/>
                  </a:lnTo>
                  <a:lnTo>
                    <a:pt x="48" y="918"/>
                  </a:lnTo>
                  <a:lnTo>
                    <a:pt x="48" y="942"/>
                  </a:lnTo>
                  <a:lnTo>
                    <a:pt x="30" y="924"/>
                  </a:lnTo>
                  <a:lnTo>
                    <a:pt x="24" y="924"/>
                  </a:lnTo>
                  <a:lnTo>
                    <a:pt x="18" y="936"/>
                  </a:lnTo>
                  <a:lnTo>
                    <a:pt x="18" y="942"/>
                  </a:lnTo>
                  <a:lnTo>
                    <a:pt x="12" y="960"/>
                  </a:lnTo>
                  <a:lnTo>
                    <a:pt x="12" y="978"/>
                  </a:lnTo>
                  <a:lnTo>
                    <a:pt x="18" y="984"/>
                  </a:lnTo>
                  <a:lnTo>
                    <a:pt x="30" y="990"/>
                  </a:lnTo>
                  <a:lnTo>
                    <a:pt x="42" y="990"/>
                  </a:lnTo>
                  <a:lnTo>
                    <a:pt x="42" y="1002"/>
                  </a:lnTo>
                  <a:lnTo>
                    <a:pt x="36" y="1008"/>
                  </a:lnTo>
                  <a:lnTo>
                    <a:pt x="36" y="1014"/>
                  </a:lnTo>
                  <a:lnTo>
                    <a:pt x="18" y="1032"/>
                  </a:lnTo>
                  <a:lnTo>
                    <a:pt x="12" y="1044"/>
                  </a:lnTo>
                  <a:lnTo>
                    <a:pt x="12" y="1056"/>
                  </a:lnTo>
                  <a:lnTo>
                    <a:pt x="18" y="1068"/>
                  </a:lnTo>
                  <a:lnTo>
                    <a:pt x="24" y="1074"/>
                  </a:lnTo>
                  <a:lnTo>
                    <a:pt x="36" y="1098"/>
                  </a:lnTo>
                  <a:lnTo>
                    <a:pt x="42" y="1104"/>
                  </a:lnTo>
                  <a:lnTo>
                    <a:pt x="54" y="1128"/>
                  </a:lnTo>
                  <a:lnTo>
                    <a:pt x="60" y="1134"/>
                  </a:lnTo>
                  <a:lnTo>
                    <a:pt x="60" y="1146"/>
                  </a:lnTo>
                  <a:lnTo>
                    <a:pt x="54" y="1152"/>
                  </a:lnTo>
                  <a:lnTo>
                    <a:pt x="42" y="1176"/>
                  </a:lnTo>
                  <a:lnTo>
                    <a:pt x="36" y="1182"/>
                  </a:lnTo>
                  <a:lnTo>
                    <a:pt x="36" y="1188"/>
                  </a:lnTo>
                  <a:lnTo>
                    <a:pt x="42" y="1194"/>
                  </a:lnTo>
                  <a:lnTo>
                    <a:pt x="54" y="1194"/>
                  </a:lnTo>
                  <a:lnTo>
                    <a:pt x="72" y="1200"/>
                  </a:lnTo>
                  <a:lnTo>
                    <a:pt x="102" y="1200"/>
                  </a:lnTo>
                  <a:lnTo>
                    <a:pt x="102" y="1212"/>
                  </a:lnTo>
                  <a:lnTo>
                    <a:pt x="120" y="1230"/>
                  </a:lnTo>
                  <a:lnTo>
                    <a:pt x="132" y="1230"/>
                  </a:lnTo>
                  <a:lnTo>
                    <a:pt x="144" y="1224"/>
                  </a:lnTo>
                  <a:lnTo>
                    <a:pt x="150" y="1224"/>
                  </a:lnTo>
                  <a:lnTo>
                    <a:pt x="162" y="1218"/>
                  </a:lnTo>
                  <a:lnTo>
                    <a:pt x="168" y="1248"/>
                  </a:lnTo>
                  <a:lnTo>
                    <a:pt x="174" y="1248"/>
                  </a:lnTo>
                  <a:lnTo>
                    <a:pt x="180" y="1254"/>
                  </a:lnTo>
                  <a:lnTo>
                    <a:pt x="204" y="1266"/>
                  </a:lnTo>
                  <a:lnTo>
                    <a:pt x="216" y="1290"/>
                  </a:lnTo>
                  <a:lnTo>
                    <a:pt x="216" y="1314"/>
                  </a:lnTo>
                  <a:lnTo>
                    <a:pt x="210" y="1338"/>
                  </a:lnTo>
                  <a:lnTo>
                    <a:pt x="216" y="1344"/>
                  </a:lnTo>
                  <a:lnTo>
                    <a:pt x="360" y="1338"/>
                  </a:lnTo>
                  <a:lnTo>
                    <a:pt x="354" y="1344"/>
                  </a:lnTo>
                  <a:lnTo>
                    <a:pt x="354" y="1350"/>
                  </a:lnTo>
                  <a:lnTo>
                    <a:pt x="360" y="1350"/>
                  </a:lnTo>
                  <a:lnTo>
                    <a:pt x="570" y="1446"/>
                  </a:lnTo>
                  <a:lnTo>
                    <a:pt x="774" y="1446"/>
                  </a:lnTo>
                  <a:lnTo>
                    <a:pt x="774" y="1440"/>
                  </a:lnTo>
                  <a:lnTo>
                    <a:pt x="780" y="1428"/>
                  </a:lnTo>
                  <a:lnTo>
                    <a:pt x="780" y="1410"/>
                  </a:lnTo>
                  <a:lnTo>
                    <a:pt x="786" y="1404"/>
                  </a:lnTo>
                  <a:lnTo>
                    <a:pt x="900" y="1404"/>
                  </a:lnTo>
                  <a:lnTo>
                    <a:pt x="912" y="1416"/>
                  </a:lnTo>
                  <a:lnTo>
                    <a:pt x="912" y="1440"/>
                  </a:lnTo>
                  <a:lnTo>
                    <a:pt x="942" y="1452"/>
                  </a:lnTo>
                  <a:lnTo>
                    <a:pt x="948" y="1482"/>
                  </a:lnTo>
                  <a:lnTo>
                    <a:pt x="960" y="1482"/>
                  </a:lnTo>
                  <a:lnTo>
                    <a:pt x="972" y="1488"/>
                  </a:lnTo>
                  <a:lnTo>
                    <a:pt x="984" y="1500"/>
                  </a:lnTo>
                  <a:lnTo>
                    <a:pt x="990" y="1512"/>
                  </a:lnTo>
                  <a:lnTo>
                    <a:pt x="990" y="1554"/>
                  </a:lnTo>
                  <a:lnTo>
                    <a:pt x="984" y="1566"/>
                  </a:lnTo>
                  <a:lnTo>
                    <a:pt x="984" y="1578"/>
                  </a:lnTo>
                  <a:lnTo>
                    <a:pt x="1014" y="1608"/>
                  </a:lnTo>
                  <a:lnTo>
                    <a:pt x="1026" y="1614"/>
                  </a:lnTo>
                  <a:lnTo>
                    <a:pt x="1044" y="1626"/>
                  </a:lnTo>
                  <a:lnTo>
                    <a:pt x="1056" y="1626"/>
                  </a:lnTo>
                  <a:lnTo>
                    <a:pt x="1080" y="1614"/>
                  </a:lnTo>
                  <a:lnTo>
                    <a:pt x="1092" y="1602"/>
                  </a:lnTo>
                  <a:lnTo>
                    <a:pt x="1104" y="1578"/>
                  </a:lnTo>
                  <a:lnTo>
                    <a:pt x="1116" y="1566"/>
                  </a:lnTo>
                  <a:lnTo>
                    <a:pt x="1134" y="1566"/>
                  </a:lnTo>
                  <a:lnTo>
                    <a:pt x="1134" y="1560"/>
                  </a:lnTo>
                  <a:lnTo>
                    <a:pt x="1152" y="1566"/>
                  </a:lnTo>
                  <a:lnTo>
                    <a:pt x="1194" y="1566"/>
                  </a:lnTo>
                  <a:lnTo>
                    <a:pt x="1200" y="1578"/>
                  </a:lnTo>
                  <a:lnTo>
                    <a:pt x="1206" y="1584"/>
                  </a:lnTo>
                  <a:lnTo>
                    <a:pt x="1212" y="1596"/>
                  </a:lnTo>
                  <a:lnTo>
                    <a:pt x="1224" y="1608"/>
                  </a:lnTo>
                  <a:lnTo>
                    <a:pt x="1230" y="1620"/>
                  </a:lnTo>
                  <a:lnTo>
                    <a:pt x="1242" y="1632"/>
                  </a:lnTo>
                  <a:lnTo>
                    <a:pt x="1242" y="1656"/>
                  </a:lnTo>
                  <a:lnTo>
                    <a:pt x="1236" y="1668"/>
                  </a:lnTo>
                  <a:lnTo>
                    <a:pt x="1236" y="1680"/>
                  </a:lnTo>
                  <a:lnTo>
                    <a:pt x="1242" y="1692"/>
                  </a:lnTo>
                  <a:lnTo>
                    <a:pt x="1254" y="1698"/>
                  </a:lnTo>
                  <a:lnTo>
                    <a:pt x="1254" y="1722"/>
                  </a:lnTo>
                  <a:lnTo>
                    <a:pt x="1260" y="1728"/>
                  </a:lnTo>
                  <a:lnTo>
                    <a:pt x="1272" y="1734"/>
                  </a:lnTo>
                  <a:lnTo>
                    <a:pt x="1284" y="1746"/>
                  </a:lnTo>
                  <a:lnTo>
                    <a:pt x="1284" y="1752"/>
                  </a:lnTo>
                  <a:lnTo>
                    <a:pt x="1278" y="1758"/>
                  </a:lnTo>
                  <a:lnTo>
                    <a:pt x="1272" y="1758"/>
                  </a:lnTo>
                  <a:lnTo>
                    <a:pt x="1272" y="1794"/>
                  </a:lnTo>
                  <a:lnTo>
                    <a:pt x="1284" y="1806"/>
                  </a:lnTo>
                  <a:lnTo>
                    <a:pt x="1284" y="1836"/>
                  </a:lnTo>
                  <a:lnTo>
                    <a:pt x="1296" y="1848"/>
                  </a:lnTo>
                  <a:lnTo>
                    <a:pt x="1314" y="1854"/>
                  </a:lnTo>
                  <a:lnTo>
                    <a:pt x="1326" y="1854"/>
                  </a:lnTo>
                  <a:lnTo>
                    <a:pt x="1338" y="1866"/>
                  </a:lnTo>
                  <a:lnTo>
                    <a:pt x="1380" y="1866"/>
                  </a:lnTo>
                  <a:lnTo>
                    <a:pt x="1380" y="1872"/>
                  </a:lnTo>
                  <a:lnTo>
                    <a:pt x="1386" y="1884"/>
                  </a:lnTo>
                  <a:lnTo>
                    <a:pt x="1410" y="1884"/>
                  </a:lnTo>
                  <a:lnTo>
                    <a:pt x="1410" y="1878"/>
                  </a:lnTo>
                  <a:lnTo>
                    <a:pt x="1398" y="1806"/>
                  </a:lnTo>
                  <a:lnTo>
                    <a:pt x="1416" y="1788"/>
                  </a:lnTo>
                  <a:lnTo>
                    <a:pt x="1398" y="1776"/>
                  </a:lnTo>
                  <a:lnTo>
                    <a:pt x="1398" y="1758"/>
                  </a:lnTo>
                  <a:lnTo>
                    <a:pt x="1404" y="1764"/>
                  </a:lnTo>
                  <a:lnTo>
                    <a:pt x="1422" y="1764"/>
                  </a:lnTo>
                  <a:lnTo>
                    <a:pt x="1428" y="1758"/>
                  </a:lnTo>
                  <a:lnTo>
                    <a:pt x="1428" y="1728"/>
                  </a:lnTo>
                  <a:lnTo>
                    <a:pt x="1452" y="1722"/>
                  </a:lnTo>
                  <a:lnTo>
                    <a:pt x="1458" y="1698"/>
                  </a:lnTo>
                  <a:lnTo>
                    <a:pt x="1476" y="1704"/>
                  </a:lnTo>
                  <a:lnTo>
                    <a:pt x="1494" y="1692"/>
                  </a:lnTo>
                  <a:lnTo>
                    <a:pt x="1488" y="1668"/>
                  </a:lnTo>
                  <a:lnTo>
                    <a:pt x="1500" y="1680"/>
                  </a:lnTo>
                  <a:lnTo>
                    <a:pt x="1500" y="1668"/>
                  </a:lnTo>
                  <a:lnTo>
                    <a:pt x="1506" y="1656"/>
                  </a:lnTo>
                  <a:lnTo>
                    <a:pt x="1512" y="1650"/>
                  </a:lnTo>
                  <a:lnTo>
                    <a:pt x="1518" y="1650"/>
                  </a:lnTo>
                  <a:lnTo>
                    <a:pt x="1524" y="1656"/>
                  </a:lnTo>
                  <a:lnTo>
                    <a:pt x="1524" y="1668"/>
                  </a:lnTo>
                  <a:lnTo>
                    <a:pt x="1542" y="1668"/>
                  </a:lnTo>
                  <a:lnTo>
                    <a:pt x="1554" y="1662"/>
                  </a:lnTo>
                  <a:lnTo>
                    <a:pt x="1572" y="1656"/>
                  </a:lnTo>
                  <a:lnTo>
                    <a:pt x="1596" y="1644"/>
                  </a:lnTo>
                  <a:lnTo>
                    <a:pt x="1602" y="1638"/>
                  </a:lnTo>
                  <a:lnTo>
                    <a:pt x="1608" y="1626"/>
                  </a:lnTo>
                  <a:lnTo>
                    <a:pt x="1620" y="1620"/>
                  </a:lnTo>
                  <a:lnTo>
                    <a:pt x="1626" y="1608"/>
                  </a:lnTo>
                  <a:lnTo>
                    <a:pt x="1632" y="1602"/>
                  </a:lnTo>
                  <a:lnTo>
                    <a:pt x="1632" y="1590"/>
                  </a:lnTo>
                  <a:lnTo>
                    <a:pt x="1626" y="1584"/>
                  </a:lnTo>
                  <a:lnTo>
                    <a:pt x="1626" y="1566"/>
                  </a:lnTo>
                  <a:lnTo>
                    <a:pt x="1632" y="1566"/>
                  </a:lnTo>
                  <a:lnTo>
                    <a:pt x="1656" y="1578"/>
                  </a:lnTo>
                  <a:lnTo>
                    <a:pt x="1662" y="1584"/>
                  </a:lnTo>
                  <a:lnTo>
                    <a:pt x="1674" y="1590"/>
                  </a:lnTo>
                  <a:lnTo>
                    <a:pt x="1686" y="1590"/>
                  </a:lnTo>
                  <a:lnTo>
                    <a:pt x="1692" y="1584"/>
                  </a:lnTo>
                  <a:lnTo>
                    <a:pt x="1710" y="1548"/>
                  </a:lnTo>
                  <a:lnTo>
                    <a:pt x="1716" y="1548"/>
                  </a:lnTo>
                  <a:lnTo>
                    <a:pt x="1734" y="1566"/>
                  </a:lnTo>
                  <a:lnTo>
                    <a:pt x="1746" y="1566"/>
                  </a:lnTo>
                  <a:lnTo>
                    <a:pt x="1752" y="1560"/>
                  </a:lnTo>
                  <a:lnTo>
                    <a:pt x="1758" y="1548"/>
                  </a:lnTo>
                  <a:lnTo>
                    <a:pt x="1764" y="1542"/>
                  </a:lnTo>
                  <a:lnTo>
                    <a:pt x="1770" y="1554"/>
                  </a:lnTo>
                  <a:lnTo>
                    <a:pt x="1776" y="1560"/>
                  </a:lnTo>
                  <a:lnTo>
                    <a:pt x="1782" y="1572"/>
                  </a:lnTo>
                  <a:lnTo>
                    <a:pt x="1794" y="1578"/>
                  </a:lnTo>
                  <a:lnTo>
                    <a:pt x="1800" y="1584"/>
                  </a:lnTo>
                  <a:lnTo>
                    <a:pt x="1818" y="1584"/>
                  </a:lnTo>
                  <a:lnTo>
                    <a:pt x="1824" y="1578"/>
                  </a:lnTo>
                  <a:lnTo>
                    <a:pt x="1830" y="1566"/>
                  </a:lnTo>
                  <a:lnTo>
                    <a:pt x="1842" y="1554"/>
                  </a:lnTo>
                  <a:lnTo>
                    <a:pt x="1848" y="1554"/>
                  </a:lnTo>
                  <a:lnTo>
                    <a:pt x="1860" y="1560"/>
                  </a:lnTo>
                  <a:lnTo>
                    <a:pt x="1872" y="1572"/>
                  </a:lnTo>
                  <a:lnTo>
                    <a:pt x="1872" y="1584"/>
                  </a:lnTo>
                  <a:lnTo>
                    <a:pt x="1878" y="1596"/>
                  </a:lnTo>
                  <a:lnTo>
                    <a:pt x="1878" y="1614"/>
                  </a:lnTo>
                  <a:lnTo>
                    <a:pt x="1914" y="1614"/>
                  </a:lnTo>
                  <a:lnTo>
                    <a:pt x="1920" y="1620"/>
                  </a:lnTo>
                  <a:lnTo>
                    <a:pt x="1926" y="1620"/>
                  </a:lnTo>
                  <a:lnTo>
                    <a:pt x="1926" y="1608"/>
                  </a:lnTo>
                  <a:lnTo>
                    <a:pt x="1932" y="1602"/>
                  </a:lnTo>
                  <a:lnTo>
                    <a:pt x="1932" y="1608"/>
                  </a:lnTo>
                  <a:lnTo>
                    <a:pt x="1956" y="1632"/>
                  </a:lnTo>
                  <a:lnTo>
                    <a:pt x="1962" y="1626"/>
                  </a:lnTo>
                  <a:lnTo>
                    <a:pt x="1968" y="1614"/>
                  </a:lnTo>
                  <a:lnTo>
                    <a:pt x="1968" y="1596"/>
                  </a:lnTo>
                  <a:lnTo>
                    <a:pt x="1962" y="1584"/>
                  </a:lnTo>
                  <a:lnTo>
                    <a:pt x="1980" y="1590"/>
                  </a:lnTo>
                  <a:lnTo>
                    <a:pt x="1992" y="1608"/>
                  </a:lnTo>
                  <a:lnTo>
                    <a:pt x="2004" y="1614"/>
                  </a:lnTo>
                  <a:lnTo>
                    <a:pt x="2004" y="1626"/>
                  </a:lnTo>
                  <a:lnTo>
                    <a:pt x="2010" y="1626"/>
                  </a:lnTo>
                  <a:lnTo>
                    <a:pt x="2016" y="1632"/>
                  </a:lnTo>
                  <a:lnTo>
                    <a:pt x="2028" y="1632"/>
                  </a:lnTo>
                  <a:lnTo>
                    <a:pt x="2034" y="1626"/>
                  </a:lnTo>
                  <a:lnTo>
                    <a:pt x="2034" y="1620"/>
                  </a:lnTo>
                  <a:lnTo>
                    <a:pt x="2028" y="1608"/>
                  </a:lnTo>
                  <a:lnTo>
                    <a:pt x="2022" y="1602"/>
                  </a:lnTo>
                  <a:lnTo>
                    <a:pt x="2010" y="1596"/>
                  </a:lnTo>
                  <a:lnTo>
                    <a:pt x="2004" y="1590"/>
                  </a:lnTo>
                  <a:lnTo>
                    <a:pt x="1998" y="1578"/>
                  </a:lnTo>
                  <a:lnTo>
                    <a:pt x="2010" y="1578"/>
                  </a:lnTo>
                  <a:lnTo>
                    <a:pt x="2022" y="1566"/>
                  </a:lnTo>
                  <a:lnTo>
                    <a:pt x="2022" y="1554"/>
                  </a:lnTo>
                  <a:lnTo>
                    <a:pt x="2016" y="1548"/>
                  </a:lnTo>
                  <a:lnTo>
                    <a:pt x="1968" y="1548"/>
                  </a:lnTo>
                  <a:lnTo>
                    <a:pt x="1962" y="1542"/>
                  </a:lnTo>
                  <a:lnTo>
                    <a:pt x="1962" y="1530"/>
                  </a:lnTo>
                  <a:lnTo>
                    <a:pt x="1968" y="1524"/>
                  </a:lnTo>
                  <a:lnTo>
                    <a:pt x="1986" y="1524"/>
                  </a:lnTo>
                  <a:lnTo>
                    <a:pt x="1998" y="1530"/>
                  </a:lnTo>
                  <a:lnTo>
                    <a:pt x="2004" y="1530"/>
                  </a:lnTo>
                  <a:lnTo>
                    <a:pt x="2016" y="1536"/>
                  </a:lnTo>
                  <a:lnTo>
                    <a:pt x="2028" y="1536"/>
                  </a:lnTo>
                  <a:lnTo>
                    <a:pt x="2064" y="1518"/>
                  </a:lnTo>
                  <a:lnTo>
                    <a:pt x="2070" y="1512"/>
                  </a:lnTo>
                  <a:lnTo>
                    <a:pt x="2082" y="1512"/>
                  </a:lnTo>
                  <a:lnTo>
                    <a:pt x="2082" y="1518"/>
                  </a:lnTo>
                  <a:lnTo>
                    <a:pt x="2106" y="1518"/>
                  </a:lnTo>
                  <a:lnTo>
                    <a:pt x="2118" y="1512"/>
                  </a:lnTo>
                  <a:lnTo>
                    <a:pt x="2124" y="1512"/>
                  </a:lnTo>
                  <a:lnTo>
                    <a:pt x="2130" y="1506"/>
                  </a:lnTo>
                  <a:lnTo>
                    <a:pt x="2130" y="1500"/>
                  </a:lnTo>
                  <a:lnTo>
                    <a:pt x="2136" y="1488"/>
                  </a:lnTo>
                  <a:lnTo>
                    <a:pt x="2136" y="1482"/>
                  </a:lnTo>
                  <a:lnTo>
                    <a:pt x="2142" y="1482"/>
                  </a:lnTo>
                  <a:lnTo>
                    <a:pt x="2142" y="1488"/>
                  </a:lnTo>
                  <a:lnTo>
                    <a:pt x="2148" y="1500"/>
                  </a:lnTo>
                  <a:lnTo>
                    <a:pt x="2148" y="1524"/>
                  </a:lnTo>
                  <a:lnTo>
                    <a:pt x="2154" y="1524"/>
                  </a:lnTo>
                  <a:lnTo>
                    <a:pt x="2160" y="1518"/>
                  </a:lnTo>
                  <a:lnTo>
                    <a:pt x="2172" y="1512"/>
                  </a:lnTo>
                  <a:lnTo>
                    <a:pt x="2190" y="1512"/>
                  </a:lnTo>
                  <a:lnTo>
                    <a:pt x="2202" y="1506"/>
                  </a:lnTo>
                  <a:lnTo>
                    <a:pt x="2214" y="1506"/>
                  </a:lnTo>
                  <a:lnTo>
                    <a:pt x="2226" y="1512"/>
                  </a:lnTo>
                  <a:lnTo>
                    <a:pt x="2232" y="1524"/>
                  </a:lnTo>
                  <a:lnTo>
                    <a:pt x="2232" y="1506"/>
                  </a:lnTo>
                  <a:lnTo>
                    <a:pt x="2244" y="1506"/>
                  </a:lnTo>
                  <a:lnTo>
                    <a:pt x="2256" y="1518"/>
                  </a:lnTo>
                  <a:lnTo>
                    <a:pt x="2256" y="1530"/>
                  </a:lnTo>
                  <a:lnTo>
                    <a:pt x="2286" y="1524"/>
                  </a:lnTo>
                  <a:lnTo>
                    <a:pt x="2280" y="1536"/>
                  </a:lnTo>
                  <a:lnTo>
                    <a:pt x="2280" y="1548"/>
                  </a:lnTo>
                  <a:lnTo>
                    <a:pt x="2286" y="1554"/>
                  </a:lnTo>
                  <a:lnTo>
                    <a:pt x="2286" y="1566"/>
                  </a:lnTo>
                  <a:lnTo>
                    <a:pt x="2298" y="1578"/>
                  </a:lnTo>
                  <a:lnTo>
                    <a:pt x="2310" y="1578"/>
                  </a:lnTo>
                  <a:lnTo>
                    <a:pt x="2328" y="1572"/>
                  </a:lnTo>
                  <a:lnTo>
                    <a:pt x="2352" y="1548"/>
                  </a:lnTo>
                  <a:lnTo>
                    <a:pt x="2370" y="1542"/>
                  </a:lnTo>
                  <a:lnTo>
                    <a:pt x="2382" y="1542"/>
                  </a:lnTo>
                  <a:lnTo>
                    <a:pt x="2394" y="1548"/>
                  </a:lnTo>
                  <a:lnTo>
                    <a:pt x="2400" y="1554"/>
                  </a:lnTo>
                  <a:lnTo>
                    <a:pt x="2418" y="1590"/>
                  </a:lnTo>
                  <a:lnTo>
                    <a:pt x="2418" y="1602"/>
                  </a:lnTo>
                  <a:lnTo>
                    <a:pt x="2424" y="1608"/>
                  </a:lnTo>
                  <a:lnTo>
                    <a:pt x="2436" y="1614"/>
                  </a:lnTo>
                  <a:lnTo>
                    <a:pt x="2466" y="1614"/>
                  </a:lnTo>
                  <a:lnTo>
                    <a:pt x="2460" y="1656"/>
                  </a:lnTo>
                  <a:lnTo>
                    <a:pt x="2460" y="1662"/>
                  </a:lnTo>
                  <a:lnTo>
                    <a:pt x="2454" y="1668"/>
                  </a:lnTo>
                  <a:lnTo>
                    <a:pt x="2436" y="1704"/>
                  </a:lnTo>
                  <a:lnTo>
                    <a:pt x="2436" y="1710"/>
                  </a:lnTo>
                  <a:lnTo>
                    <a:pt x="2448" y="1722"/>
                  </a:lnTo>
                  <a:lnTo>
                    <a:pt x="2454" y="1722"/>
                  </a:lnTo>
                  <a:lnTo>
                    <a:pt x="2460" y="1734"/>
                  </a:lnTo>
                  <a:lnTo>
                    <a:pt x="2436" y="1758"/>
                  </a:lnTo>
                  <a:lnTo>
                    <a:pt x="2454" y="1806"/>
                  </a:lnTo>
                  <a:lnTo>
                    <a:pt x="2472" y="1788"/>
                  </a:lnTo>
                  <a:lnTo>
                    <a:pt x="2478" y="1788"/>
                  </a:lnTo>
                  <a:lnTo>
                    <a:pt x="2478" y="1794"/>
                  </a:lnTo>
                  <a:lnTo>
                    <a:pt x="2472" y="1800"/>
                  </a:lnTo>
                  <a:lnTo>
                    <a:pt x="2466" y="1812"/>
                  </a:lnTo>
                  <a:lnTo>
                    <a:pt x="2466" y="1818"/>
                  </a:lnTo>
                  <a:lnTo>
                    <a:pt x="2460" y="1830"/>
                  </a:lnTo>
                  <a:lnTo>
                    <a:pt x="2478" y="1830"/>
                  </a:lnTo>
                  <a:lnTo>
                    <a:pt x="2478" y="1878"/>
                  </a:lnTo>
                  <a:lnTo>
                    <a:pt x="2496" y="1878"/>
                  </a:lnTo>
                  <a:lnTo>
                    <a:pt x="2502" y="1884"/>
                  </a:lnTo>
                  <a:lnTo>
                    <a:pt x="2508" y="1884"/>
                  </a:lnTo>
                  <a:lnTo>
                    <a:pt x="2508" y="1896"/>
                  </a:lnTo>
                  <a:lnTo>
                    <a:pt x="2502" y="1908"/>
                  </a:lnTo>
                  <a:lnTo>
                    <a:pt x="2502" y="1920"/>
                  </a:lnTo>
                  <a:lnTo>
                    <a:pt x="2526" y="1944"/>
                  </a:lnTo>
                  <a:lnTo>
                    <a:pt x="2532" y="1944"/>
                  </a:lnTo>
                  <a:lnTo>
                    <a:pt x="2538" y="1938"/>
                  </a:lnTo>
                  <a:lnTo>
                    <a:pt x="2550" y="1932"/>
                  </a:lnTo>
                  <a:lnTo>
                    <a:pt x="2556" y="1932"/>
                  </a:lnTo>
                  <a:lnTo>
                    <a:pt x="2562" y="1926"/>
                  </a:lnTo>
                  <a:lnTo>
                    <a:pt x="2568" y="1914"/>
                  </a:lnTo>
                  <a:lnTo>
                    <a:pt x="2568" y="1896"/>
                  </a:lnTo>
                  <a:lnTo>
                    <a:pt x="2586" y="1896"/>
                  </a:lnTo>
                  <a:lnTo>
                    <a:pt x="2586" y="1872"/>
                  </a:lnTo>
                  <a:lnTo>
                    <a:pt x="2604" y="1836"/>
                  </a:lnTo>
                  <a:lnTo>
                    <a:pt x="2604" y="1818"/>
                  </a:lnTo>
                  <a:lnTo>
                    <a:pt x="2610" y="1806"/>
                  </a:lnTo>
                  <a:lnTo>
                    <a:pt x="2610" y="1794"/>
                  </a:lnTo>
                  <a:lnTo>
                    <a:pt x="2604" y="1782"/>
                  </a:lnTo>
                  <a:lnTo>
                    <a:pt x="2604" y="1770"/>
                  </a:lnTo>
                  <a:lnTo>
                    <a:pt x="2598" y="1752"/>
                  </a:lnTo>
                  <a:lnTo>
                    <a:pt x="2592" y="1740"/>
                  </a:lnTo>
                  <a:lnTo>
                    <a:pt x="2586" y="1722"/>
                  </a:lnTo>
                  <a:lnTo>
                    <a:pt x="2586" y="1704"/>
                  </a:lnTo>
                  <a:lnTo>
                    <a:pt x="2592" y="1686"/>
                  </a:lnTo>
                  <a:lnTo>
                    <a:pt x="2598" y="1674"/>
                  </a:lnTo>
                  <a:lnTo>
                    <a:pt x="2598" y="1644"/>
                  </a:lnTo>
                  <a:lnTo>
                    <a:pt x="2592" y="1626"/>
                  </a:lnTo>
                  <a:lnTo>
                    <a:pt x="2586" y="1614"/>
                  </a:lnTo>
                  <a:lnTo>
                    <a:pt x="2580" y="1596"/>
                  </a:lnTo>
                  <a:lnTo>
                    <a:pt x="2574" y="1584"/>
                  </a:lnTo>
                  <a:lnTo>
                    <a:pt x="2574" y="1518"/>
                  </a:lnTo>
                  <a:lnTo>
                    <a:pt x="2580" y="1488"/>
                  </a:lnTo>
                  <a:lnTo>
                    <a:pt x="2586" y="1470"/>
                  </a:lnTo>
                  <a:lnTo>
                    <a:pt x="2598" y="1452"/>
                  </a:lnTo>
                  <a:lnTo>
                    <a:pt x="2604" y="1440"/>
                  </a:lnTo>
                  <a:lnTo>
                    <a:pt x="2610" y="1422"/>
                  </a:lnTo>
                  <a:lnTo>
                    <a:pt x="2616" y="1416"/>
                  </a:lnTo>
                  <a:lnTo>
                    <a:pt x="2616" y="1410"/>
                  </a:lnTo>
                  <a:lnTo>
                    <a:pt x="2628" y="1398"/>
                  </a:lnTo>
                  <a:lnTo>
                    <a:pt x="2652" y="1380"/>
                  </a:lnTo>
                  <a:lnTo>
                    <a:pt x="2658" y="1356"/>
                  </a:lnTo>
                  <a:lnTo>
                    <a:pt x="2670" y="1368"/>
                  </a:lnTo>
                  <a:lnTo>
                    <a:pt x="2676" y="1344"/>
                  </a:lnTo>
                  <a:lnTo>
                    <a:pt x="2730" y="1344"/>
                  </a:lnTo>
                  <a:lnTo>
                    <a:pt x="2730" y="1314"/>
                  </a:lnTo>
                  <a:lnTo>
                    <a:pt x="2748" y="1320"/>
                  </a:lnTo>
                  <a:lnTo>
                    <a:pt x="2754" y="1308"/>
                  </a:lnTo>
                  <a:lnTo>
                    <a:pt x="2772" y="1308"/>
                  </a:lnTo>
                  <a:lnTo>
                    <a:pt x="2796" y="1278"/>
                  </a:lnTo>
                  <a:lnTo>
                    <a:pt x="2796" y="1272"/>
                  </a:lnTo>
                  <a:lnTo>
                    <a:pt x="2802" y="1266"/>
                  </a:lnTo>
                  <a:lnTo>
                    <a:pt x="2814" y="1242"/>
                  </a:lnTo>
                  <a:lnTo>
                    <a:pt x="2832" y="1236"/>
                  </a:lnTo>
                  <a:lnTo>
                    <a:pt x="2862" y="1236"/>
                  </a:lnTo>
                  <a:lnTo>
                    <a:pt x="2874" y="1242"/>
                  </a:lnTo>
                  <a:lnTo>
                    <a:pt x="2886" y="1242"/>
                  </a:lnTo>
                  <a:lnTo>
                    <a:pt x="2892" y="1236"/>
                  </a:lnTo>
                  <a:lnTo>
                    <a:pt x="2904" y="1212"/>
                  </a:lnTo>
                  <a:lnTo>
                    <a:pt x="2910" y="1206"/>
                  </a:lnTo>
                  <a:lnTo>
                    <a:pt x="2916" y="1194"/>
                  </a:lnTo>
                  <a:lnTo>
                    <a:pt x="2928" y="1200"/>
                  </a:lnTo>
                  <a:lnTo>
                    <a:pt x="2934" y="1176"/>
                  </a:lnTo>
                  <a:lnTo>
                    <a:pt x="3018" y="1170"/>
                  </a:lnTo>
                  <a:lnTo>
                    <a:pt x="3024" y="1146"/>
                  </a:lnTo>
                  <a:lnTo>
                    <a:pt x="2982" y="1152"/>
                  </a:lnTo>
                  <a:lnTo>
                    <a:pt x="2988" y="1146"/>
                  </a:lnTo>
                  <a:lnTo>
                    <a:pt x="3000" y="1140"/>
                  </a:lnTo>
                  <a:lnTo>
                    <a:pt x="3006" y="1140"/>
                  </a:lnTo>
                  <a:lnTo>
                    <a:pt x="3006" y="1134"/>
                  </a:lnTo>
                  <a:lnTo>
                    <a:pt x="3000" y="1128"/>
                  </a:lnTo>
                  <a:lnTo>
                    <a:pt x="2994" y="1116"/>
                  </a:lnTo>
                  <a:lnTo>
                    <a:pt x="2988" y="1110"/>
                  </a:lnTo>
                  <a:lnTo>
                    <a:pt x="3024" y="1104"/>
                  </a:lnTo>
                  <a:lnTo>
                    <a:pt x="3048" y="1116"/>
                  </a:lnTo>
                  <a:lnTo>
                    <a:pt x="3078" y="1080"/>
                  </a:lnTo>
                  <a:lnTo>
                    <a:pt x="3024" y="1074"/>
                  </a:lnTo>
                  <a:lnTo>
                    <a:pt x="3024" y="1050"/>
                  </a:lnTo>
                  <a:lnTo>
                    <a:pt x="3036" y="1062"/>
                  </a:lnTo>
                  <a:lnTo>
                    <a:pt x="3078" y="1050"/>
                  </a:lnTo>
                  <a:lnTo>
                    <a:pt x="3084" y="990"/>
                  </a:lnTo>
                  <a:lnTo>
                    <a:pt x="3054" y="1002"/>
                  </a:lnTo>
                  <a:lnTo>
                    <a:pt x="3048" y="972"/>
                  </a:lnTo>
                  <a:lnTo>
                    <a:pt x="3024" y="960"/>
                  </a:lnTo>
                  <a:lnTo>
                    <a:pt x="3072" y="978"/>
                  </a:lnTo>
                  <a:lnTo>
                    <a:pt x="3078" y="972"/>
                  </a:lnTo>
                  <a:lnTo>
                    <a:pt x="3060" y="954"/>
                  </a:lnTo>
                  <a:lnTo>
                    <a:pt x="3090" y="954"/>
                  </a:lnTo>
                  <a:lnTo>
                    <a:pt x="3084" y="948"/>
                  </a:lnTo>
                  <a:lnTo>
                    <a:pt x="3078" y="936"/>
                  </a:lnTo>
                  <a:lnTo>
                    <a:pt x="3060" y="918"/>
                  </a:lnTo>
                  <a:lnTo>
                    <a:pt x="3054" y="906"/>
                  </a:lnTo>
                  <a:lnTo>
                    <a:pt x="3054" y="894"/>
                  </a:lnTo>
                  <a:lnTo>
                    <a:pt x="3060" y="888"/>
                  </a:lnTo>
                  <a:lnTo>
                    <a:pt x="3042" y="870"/>
                  </a:lnTo>
                  <a:lnTo>
                    <a:pt x="3042" y="864"/>
                  </a:lnTo>
                  <a:lnTo>
                    <a:pt x="3048" y="864"/>
                  </a:lnTo>
                  <a:lnTo>
                    <a:pt x="3066" y="846"/>
                  </a:lnTo>
                  <a:lnTo>
                    <a:pt x="3072" y="846"/>
                  </a:lnTo>
                  <a:lnTo>
                    <a:pt x="3066" y="870"/>
                  </a:lnTo>
                  <a:lnTo>
                    <a:pt x="3096" y="894"/>
                  </a:lnTo>
                  <a:lnTo>
                    <a:pt x="3096" y="888"/>
                  </a:lnTo>
                  <a:lnTo>
                    <a:pt x="3102" y="882"/>
                  </a:lnTo>
                  <a:lnTo>
                    <a:pt x="3102" y="864"/>
                  </a:lnTo>
                  <a:lnTo>
                    <a:pt x="3108" y="852"/>
                  </a:lnTo>
                  <a:lnTo>
                    <a:pt x="3108" y="834"/>
                  </a:lnTo>
                  <a:lnTo>
                    <a:pt x="3114" y="822"/>
                  </a:lnTo>
                  <a:lnTo>
                    <a:pt x="3144" y="792"/>
                  </a:lnTo>
                  <a:lnTo>
                    <a:pt x="3156" y="786"/>
                  </a:lnTo>
                  <a:lnTo>
                    <a:pt x="3162" y="786"/>
                  </a:lnTo>
                  <a:lnTo>
                    <a:pt x="3162" y="792"/>
                  </a:lnTo>
                  <a:lnTo>
                    <a:pt x="3150" y="816"/>
                  </a:lnTo>
                  <a:lnTo>
                    <a:pt x="3132" y="834"/>
                  </a:lnTo>
                  <a:lnTo>
                    <a:pt x="3126" y="846"/>
                  </a:lnTo>
                  <a:lnTo>
                    <a:pt x="3120" y="882"/>
                  </a:lnTo>
                  <a:lnTo>
                    <a:pt x="3138" y="882"/>
                  </a:lnTo>
                  <a:lnTo>
                    <a:pt x="3138" y="894"/>
                  </a:lnTo>
                  <a:lnTo>
                    <a:pt x="3132" y="906"/>
                  </a:lnTo>
                  <a:lnTo>
                    <a:pt x="3132" y="918"/>
                  </a:lnTo>
                  <a:lnTo>
                    <a:pt x="3114" y="936"/>
                  </a:lnTo>
                  <a:lnTo>
                    <a:pt x="3102" y="960"/>
                  </a:lnTo>
                  <a:lnTo>
                    <a:pt x="3102" y="978"/>
                  </a:lnTo>
                  <a:lnTo>
                    <a:pt x="3126" y="954"/>
                  </a:lnTo>
                  <a:lnTo>
                    <a:pt x="3132" y="942"/>
                  </a:lnTo>
                  <a:lnTo>
                    <a:pt x="3144" y="930"/>
                  </a:lnTo>
                  <a:lnTo>
                    <a:pt x="3168" y="918"/>
                  </a:lnTo>
                  <a:lnTo>
                    <a:pt x="3180" y="906"/>
                  </a:lnTo>
                  <a:lnTo>
                    <a:pt x="3192" y="882"/>
                  </a:lnTo>
                  <a:lnTo>
                    <a:pt x="3192" y="798"/>
                  </a:lnTo>
                  <a:lnTo>
                    <a:pt x="3198" y="780"/>
                  </a:lnTo>
                  <a:lnTo>
                    <a:pt x="3198" y="768"/>
                  </a:lnTo>
                  <a:lnTo>
                    <a:pt x="3204" y="756"/>
                  </a:lnTo>
                  <a:lnTo>
                    <a:pt x="3210" y="756"/>
                  </a:lnTo>
                  <a:lnTo>
                    <a:pt x="3210" y="768"/>
                  </a:lnTo>
                  <a:lnTo>
                    <a:pt x="3204" y="780"/>
                  </a:lnTo>
                  <a:lnTo>
                    <a:pt x="3204" y="798"/>
                  </a:lnTo>
                  <a:lnTo>
                    <a:pt x="3210" y="798"/>
                  </a:lnTo>
                  <a:lnTo>
                    <a:pt x="3216" y="804"/>
                  </a:lnTo>
                  <a:lnTo>
                    <a:pt x="3216" y="840"/>
                  </a:lnTo>
                  <a:lnTo>
                    <a:pt x="3234" y="822"/>
                  </a:lnTo>
                  <a:lnTo>
                    <a:pt x="3240" y="810"/>
                  </a:lnTo>
                  <a:lnTo>
                    <a:pt x="3288" y="762"/>
                  </a:lnTo>
                  <a:lnTo>
                    <a:pt x="3300" y="756"/>
                  </a:lnTo>
                  <a:lnTo>
                    <a:pt x="3324" y="732"/>
                  </a:lnTo>
                  <a:lnTo>
                    <a:pt x="3324" y="726"/>
                  </a:lnTo>
                  <a:lnTo>
                    <a:pt x="3318" y="720"/>
                  </a:lnTo>
                  <a:lnTo>
                    <a:pt x="3312" y="720"/>
                  </a:lnTo>
                  <a:lnTo>
                    <a:pt x="3306" y="714"/>
                  </a:lnTo>
                  <a:lnTo>
                    <a:pt x="3306" y="702"/>
                  </a:lnTo>
                  <a:lnTo>
                    <a:pt x="3312" y="696"/>
                  </a:lnTo>
                  <a:lnTo>
                    <a:pt x="3324" y="696"/>
                  </a:lnTo>
                  <a:lnTo>
                    <a:pt x="3330" y="702"/>
                  </a:lnTo>
                  <a:lnTo>
                    <a:pt x="3360" y="702"/>
                  </a:lnTo>
                  <a:lnTo>
                    <a:pt x="3390" y="696"/>
                  </a:lnTo>
                  <a:lnTo>
                    <a:pt x="3450" y="672"/>
                  </a:lnTo>
                  <a:lnTo>
                    <a:pt x="3462" y="666"/>
                  </a:lnTo>
                  <a:lnTo>
                    <a:pt x="3444" y="660"/>
                  </a:lnTo>
                  <a:lnTo>
                    <a:pt x="3438" y="660"/>
                  </a:lnTo>
                  <a:lnTo>
                    <a:pt x="3432" y="666"/>
                  </a:lnTo>
                  <a:lnTo>
                    <a:pt x="3414" y="672"/>
                  </a:lnTo>
                  <a:lnTo>
                    <a:pt x="3402" y="672"/>
                  </a:lnTo>
                  <a:lnTo>
                    <a:pt x="3390" y="678"/>
                  </a:lnTo>
                  <a:lnTo>
                    <a:pt x="3372" y="678"/>
                  </a:lnTo>
                  <a:lnTo>
                    <a:pt x="3360" y="684"/>
                  </a:lnTo>
                  <a:lnTo>
                    <a:pt x="3348" y="684"/>
                  </a:lnTo>
                  <a:lnTo>
                    <a:pt x="3342" y="678"/>
                  </a:lnTo>
                  <a:lnTo>
                    <a:pt x="3342" y="672"/>
                  </a:lnTo>
                  <a:lnTo>
                    <a:pt x="3348" y="666"/>
                  </a:lnTo>
                  <a:lnTo>
                    <a:pt x="3354" y="654"/>
                  </a:lnTo>
                  <a:lnTo>
                    <a:pt x="3366" y="654"/>
                  </a:lnTo>
                  <a:lnTo>
                    <a:pt x="3378" y="648"/>
                  </a:lnTo>
                  <a:lnTo>
                    <a:pt x="3402" y="648"/>
                  </a:lnTo>
                  <a:lnTo>
                    <a:pt x="3492" y="642"/>
                  </a:lnTo>
                  <a:lnTo>
                    <a:pt x="3534" y="606"/>
                  </a:lnTo>
                  <a:lnTo>
                    <a:pt x="3546" y="618"/>
                  </a:lnTo>
                  <a:lnTo>
                    <a:pt x="3570" y="606"/>
                  </a:lnTo>
                  <a:lnTo>
                    <a:pt x="3570" y="642"/>
                  </a:lnTo>
                  <a:lnTo>
                    <a:pt x="3600" y="618"/>
                  </a:lnTo>
                  <a:lnTo>
                    <a:pt x="3624" y="612"/>
                  </a:lnTo>
                  <a:lnTo>
                    <a:pt x="3630" y="582"/>
                  </a:lnTo>
                  <a:lnTo>
                    <a:pt x="3618" y="570"/>
                  </a:lnTo>
                  <a:lnTo>
                    <a:pt x="3612" y="600"/>
                  </a:lnTo>
                  <a:lnTo>
                    <a:pt x="3588" y="600"/>
                  </a:lnTo>
                  <a:lnTo>
                    <a:pt x="3588" y="576"/>
                  </a:lnTo>
                  <a:lnTo>
                    <a:pt x="3570" y="552"/>
                  </a:lnTo>
                  <a:lnTo>
                    <a:pt x="3594" y="540"/>
                  </a:lnTo>
                  <a:lnTo>
                    <a:pt x="3600" y="504"/>
                  </a:lnTo>
                  <a:lnTo>
                    <a:pt x="3612" y="498"/>
                  </a:lnTo>
                  <a:lnTo>
                    <a:pt x="3618" y="486"/>
                  </a:lnTo>
                  <a:lnTo>
                    <a:pt x="3630" y="480"/>
                  </a:lnTo>
                  <a:lnTo>
                    <a:pt x="3636" y="474"/>
                  </a:lnTo>
                  <a:lnTo>
                    <a:pt x="3648" y="468"/>
                  </a:lnTo>
                  <a:lnTo>
                    <a:pt x="3654" y="456"/>
                  </a:lnTo>
                  <a:lnTo>
                    <a:pt x="3654" y="450"/>
                  </a:lnTo>
                  <a:lnTo>
                    <a:pt x="3660" y="444"/>
                  </a:lnTo>
                  <a:lnTo>
                    <a:pt x="3660" y="438"/>
                  </a:lnTo>
                  <a:lnTo>
                    <a:pt x="3690" y="444"/>
                  </a:lnTo>
                  <a:lnTo>
                    <a:pt x="3702" y="426"/>
                  </a:lnTo>
                  <a:lnTo>
                    <a:pt x="3708" y="432"/>
                  </a:lnTo>
                  <a:lnTo>
                    <a:pt x="3720" y="432"/>
                  </a:lnTo>
                  <a:lnTo>
                    <a:pt x="3726" y="426"/>
                  </a:lnTo>
                  <a:lnTo>
                    <a:pt x="3738" y="420"/>
                  </a:lnTo>
                  <a:lnTo>
                    <a:pt x="3744" y="408"/>
                  </a:lnTo>
                  <a:lnTo>
                    <a:pt x="3756" y="402"/>
                  </a:lnTo>
                  <a:lnTo>
                    <a:pt x="3774" y="384"/>
                  </a:lnTo>
                  <a:lnTo>
                    <a:pt x="3774" y="414"/>
                  </a:lnTo>
                  <a:lnTo>
                    <a:pt x="3786" y="408"/>
                  </a:lnTo>
                  <a:lnTo>
                    <a:pt x="3792" y="402"/>
                  </a:lnTo>
                  <a:lnTo>
                    <a:pt x="3828" y="384"/>
                  </a:lnTo>
                  <a:lnTo>
                    <a:pt x="3834" y="378"/>
                  </a:lnTo>
                  <a:lnTo>
                    <a:pt x="3846" y="378"/>
                  </a:lnTo>
                  <a:lnTo>
                    <a:pt x="3858" y="372"/>
                  </a:lnTo>
                  <a:lnTo>
                    <a:pt x="3876" y="372"/>
                  </a:lnTo>
                  <a:lnTo>
                    <a:pt x="3888" y="366"/>
                  </a:lnTo>
                  <a:lnTo>
                    <a:pt x="3900" y="366"/>
                  </a:lnTo>
                  <a:lnTo>
                    <a:pt x="3900" y="330"/>
                  </a:lnTo>
                  <a:lnTo>
                    <a:pt x="3876" y="330"/>
                  </a:lnTo>
                  <a:lnTo>
                    <a:pt x="3876" y="324"/>
                  </a:lnTo>
                  <a:lnTo>
                    <a:pt x="3882" y="312"/>
                  </a:lnTo>
                  <a:lnTo>
                    <a:pt x="3894" y="300"/>
                  </a:lnTo>
                  <a:lnTo>
                    <a:pt x="3888" y="294"/>
                  </a:lnTo>
                  <a:lnTo>
                    <a:pt x="3882" y="294"/>
                  </a:lnTo>
                  <a:lnTo>
                    <a:pt x="3876" y="288"/>
                  </a:lnTo>
                  <a:lnTo>
                    <a:pt x="3876" y="276"/>
                  </a:lnTo>
                  <a:lnTo>
                    <a:pt x="3888" y="252"/>
                  </a:lnTo>
                  <a:lnTo>
                    <a:pt x="3900" y="222"/>
                  </a:lnTo>
                  <a:lnTo>
                    <a:pt x="3912" y="198"/>
                  </a:lnTo>
                  <a:lnTo>
                    <a:pt x="3918" y="174"/>
                  </a:lnTo>
                  <a:lnTo>
                    <a:pt x="3918" y="168"/>
                  </a:lnTo>
                  <a:lnTo>
                    <a:pt x="3912" y="162"/>
                  </a:lnTo>
                  <a:lnTo>
                    <a:pt x="3876" y="162"/>
                  </a:lnTo>
                  <a:lnTo>
                    <a:pt x="3864" y="168"/>
                  </a:lnTo>
                  <a:lnTo>
                    <a:pt x="3858" y="168"/>
                  </a:lnTo>
                  <a:close/>
                  <a:moveTo>
                    <a:pt x="2718" y="366"/>
                  </a:moveTo>
                  <a:lnTo>
                    <a:pt x="2712" y="366"/>
                  </a:lnTo>
                  <a:lnTo>
                    <a:pt x="2712" y="354"/>
                  </a:lnTo>
                  <a:lnTo>
                    <a:pt x="2718" y="348"/>
                  </a:lnTo>
                  <a:lnTo>
                    <a:pt x="2718" y="336"/>
                  </a:lnTo>
                  <a:lnTo>
                    <a:pt x="2712" y="336"/>
                  </a:lnTo>
                  <a:lnTo>
                    <a:pt x="2700" y="342"/>
                  </a:lnTo>
                  <a:lnTo>
                    <a:pt x="2694" y="348"/>
                  </a:lnTo>
                  <a:lnTo>
                    <a:pt x="2682" y="354"/>
                  </a:lnTo>
                  <a:lnTo>
                    <a:pt x="2676" y="372"/>
                  </a:lnTo>
                  <a:lnTo>
                    <a:pt x="2664" y="366"/>
                  </a:lnTo>
                  <a:lnTo>
                    <a:pt x="2664" y="378"/>
                  </a:lnTo>
                  <a:lnTo>
                    <a:pt x="2652" y="402"/>
                  </a:lnTo>
                  <a:lnTo>
                    <a:pt x="2628" y="414"/>
                  </a:lnTo>
                  <a:lnTo>
                    <a:pt x="2628" y="426"/>
                  </a:lnTo>
                  <a:lnTo>
                    <a:pt x="2634" y="432"/>
                  </a:lnTo>
                  <a:lnTo>
                    <a:pt x="2628" y="432"/>
                  </a:lnTo>
                  <a:lnTo>
                    <a:pt x="2598" y="462"/>
                  </a:lnTo>
                  <a:lnTo>
                    <a:pt x="2598" y="468"/>
                  </a:lnTo>
                  <a:lnTo>
                    <a:pt x="2604" y="474"/>
                  </a:lnTo>
                  <a:lnTo>
                    <a:pt x="2610" y="474"/>
                  </a:lnTo>
                  <a:lnTo>
                    <a:pt x="2616" y="480"/>
                  </a:lnTo>
                  <a:lnTo>
                    <a:pt x="2616" y="492"/>
                  </a:lnTo>
                  <a:lnTo>
                    <a:pt x="2610" y="498"/>
                  </a:lnTo>
                  <a:lnTo>
                    <a:pt x="2604" y="498"/>
                  </a:lnTo>
                  <a:lnTo>
                    <a:pt x="2604" y="510"/>
                  </a:lnTo>
                  <a:lnTo>
                    <a:pt x="2592" y="534"/>
                  </a:lnTo>
                  <a:lnTo>
                    <a:pt x="2580" y="552"/>
                  </a:lnTo>
                  <a:lnTo>
                    <a:pt x="2550" y="582"/>
                  </a:lnTo>
                  <a:lnTo>
                    <a:pt x="2478" y="618"/>
                  </a:lnTo>
                  <a:lnTo>
                    <a:pt x="2484" y="588"/>
                  </a:lnTo>
                  <a:lnTo>
                    <a:pt x="2478" y="582"/>
                  </a:lnTo>
                  <a:lnTo>
                    <a:pt x="2478" y="576"/>
                  </a:lnTo>
                  <a:lnTo>
                    <a:pt x="2472" y="570"/>
                  </a:lnTo>
                  <a:lnTo>
                    <a:pt x="2472" y="564"/>
                  </a:lnTo>
                  <a:lnTo>
                    <a:pt x="2478" y="552"/>
                  </a:lnTo>
                  <a:lnTo>
                    <a:pt x="2496" y="534"/>
                  </a:lnTo>
                  <a:lnTo>
                    <a:pt x="2502" y="522"/>
                  </a:lnTo>
                  <a:lnTo>
                    <a:pt x="2502" y="516"/>
                  </a:lnTo>
                  <a:lnTo>
                    <a:pt x="2496" y="510"/>
                  </a:lnTo>
                  <a:lnTo>
                    <a:pt x="2496" y="492"/>
                  </a:lnTo>
                  <a:lnTo>
                    <a:pt x="2502" y="480"/>
                  </a:lnTo>
                  <a:lnTo>
                    <a:pt x="2508" y="474"/>
                  </a:lnTo>
                  <a:lnTo>
                    <a:pt x="2514" y="462"/>
                  </a:lnTo>
                  <a:lnTo>
                    <a:pt x="2526" y="456"/>
                  </a:lnTo>
                  <a:lnTo>
                    <a:pt x="2532" y="450"/>
                  </a:lnTo>
                  <a:lnTo>
                    <a:pt x="2532" y="432"/>
                  </a:lnTo>
                  <a:lnTo>
                    <a:pt x="2538" y="432"/>
                  </a:lnTo>
                  <a:lnTo>
                    <a:pt x="2622" y="348"/>
                  </a:lnTo>
                  <a:lnTo>
                    <a:pt x="2592" y="354"/>
                  </a:lnTo>
                  <a:lnTo>
                    <a:pt x="2580" y="360"/>
                  </a:lnTo>
                  <a:lnTo>
                    <a:pt x="2574" y="366"/>
                  </a:lnTo>
                  <a:lnTo>
                    <a:pt x="2562" y="372"/>
                  </a:lnTo>
                  <a:lnTo>
                    <a:pt x="2556" y="378"/>
                  </a:lnTo>
                  <a:lnTo>
                    <a:pt x="2550" y="378"/>
                  </a:lnTo>
                  <a:lnTo>
                    <a:pt x="2550" y="372"/>
                  </a:lnTo>
                  <a:lnTo>
                    <a:pt x="2556" y="366"/>
                  </a:lnTo>
                  <a:lnTo>
                    <a:pt x="2568" y="360"/>
                  </a:lnTo>
                  <a:lnTo>
                    <a:pt x="2592" y="336"/>
                  </a:lnTo>
                  <a:lnTo>
                    <a:pt x="2604" y="330"/>
                  </a:lnTo>
                  <a:lnTo>
                    <a:pt x="2658" y="276"/>
                  </a:lnTo>
                  <a:lnTo>
                    <a:pt x="2670" y="288"/>
                  </a:lnTo>
                  <a:lnTo>
                    <a:pt x="2682" y="276"/>
                  </a:lnTo>
                  <a:lnTo>
                    <a:pt x="2682" y="288"/>
                  </a:lnTo>
                  <a:lnTo>
                    <a:pt x="2694" y="288"/>
                  </a:lnTo>
                  <a:lnTo>
                    <a:pt x="2700" y="282"/>
                  </a:lnTo>
                  <a:lnTo>
                    <a:pt x="2700" y="270"/>
                  </a:lnTo>
                  <a:lnTo>
                    <a:pt x="2724" y="276"/>
                  </a:lnTo>
                  <a:lnTo>
                    <a:pt x="2736" y="270"/>
                  </a:lnTo>
                  <a:lnTo>
                    <a:pt x="2742" y="270"/>
                  </a:lnTo>
                  <a:lnTo>
                    <a:pt x="2754" y="264"/>
                  </a:lnTo>
                  <a:lnTo>
                    <a:pt x="2772" y="264"/>
                  </a:lnTo>
                  <a:lnTo>
                    <a:pt x="2784" y="270"/>
                  </a:lnTo>
                  <a:lnTo>
                    <a:pt x="2790" y="276"/>
                  </a:lnTo>
                  <a:lnTo>
                    <a:pt x="2796" y="288"/>
                  </a:lnTo>
                  <a:lnTo>
                    <a:pt x="2772" y="294"/>
                  </a:lnTo>
                  <a:lnTo>
                    <a:pt x="2772" y="318"/>
                  </a:lnTo>
                  <a:lnTo>
                    <a:pt x="2742" y="318"/>
                  </a:lnTo>
                  <a:lnTo>
                    <a:pt x="2736" y="324"/>
                  </a:lnTo>
                  <a:lnTo>
                    <a:pt x="2736" y="360"/>
                  </a:lnTo>
                  <a:lnTo>
                    <a:pt x="2730" y="366"/>
                  </a:lnTo>
                  <a:lnTo>
                    <a:pt x="2718" y="366"/>
                  </a:lnTo>
                  <a:close/>
                </a:path>
              </a:pathLst>
            </a:custGeom>
            <a:solidFill>
              <a:srgbClr val="658B26"/>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54" name="Uruguay" descr="© INSCALE GmbH, 05.05.2010&#10;http://www.presentationload.com/"/>
            <p:cNvSpPr>
              <a:spLocks/>
            </p:cNvSpPr>
            <p:nvPr/>
          </p:nvSpPr>
          <p:spPr bwMode="gray">
            <a:xfrm>
              <a:off x="2632076" y="5056187"/>
              <a:ext cx="149225" cy="153988"/>
            </a:xfrm>
            <a:custGeom>
              <a:avLst/>
              <a:gdLst>
                <a:gd name="T0" fmla="*/ 2147483647 w 366"/>
                <a:gd name="T1" fmla="*/ 2147483647 h 384"/>
                <a:gd name="T2" fmla="*/ 2147483647 w 366"/>
                <a:gd name="T3" fmla="*/ 2147483647 h 384"/>
                <a:gd name="T4" fmla="*/ 2147483647 w 366"/>
                <a:gd name="T5" fmla="*/ 2147483647 h 384"/>
                <a:gd name="T6" fmla="*/ 2147483647 w 366"/>
                <a:gd name="T7" fmla="*/ 2147483647 h 384"/>
                <a:gd name="T8" fmla="*/ 2147483647 w 366"/>
                <a:gd name="T9" fmla="*/ 2147483647 h 384"/>
                <a:gd name="T10" fmla="*/ 2147483647 w 366"/>
                <a:gd name="T11" fmla="*/ 2147483647 h 384"/>
                <a:gd name="T12" fmla="*/ 2147483647 w 366"/>
                <a:gd name="T13" fmla="*/ 2147483647 h 384"/>
                <a:gd name="T14" fmla="*/ 2147483647 w 366"/>
                <a:gd name="T15" fmla="*/ 2147483647 h 384"/>
                <a:gd name="T16" fmla="*/ 2147483647 w 366"/>
                <a:gd name="T17" fmla="*/ 2147483647 h 384"/>
                <a:gd name="T18" fmla="*/ 2147483647 w 366"/>
                <a:gd name="T19" fmla="*/ 2147483647 h 384"/>
                <a:gd name="T20" fmla="*/ 2147483647 w 366"/>
                <a:gd name="T21" fmla="*/ 2147483647 h 384"/>
                <a:gd name="T22" fmla="*/ 2147483647 w 366"/>
                <a:gd name="T23" fmla="*/ 2147483647 h 384"/>
                <a:gd name="T24" fmla="*/ 2147483647 w 366"/>
                <a:gd name="T25" fmla="*/ 2147483647 h 384"/>
                <a:gd name="T26" fmla="*/ 2147483647 w 366"/>
                <a:gd name="T27" fmla="*/ 2147483647 h 384"/>
                <a:gd name="T28" fmla="*/ 2147483647 w 366"/>
                <a:gd name="T29" fmla="*/ 2147483647 h 384"/>
                <a:gd name="T30" fmla="*/ 2147483647 w 366"/>
                <a:gd name="T31" fmla="*/ 2147483647 h 384"/>
                <a:gd name="T32" fmla="*/ 2147483647 w 366"/>
                <a:gd name="T33" fmla="*/ 2147483647 h 384"/>
                <a:gd name="T34" fmla="*/ 2147483647 w 366"/>
                <a:gd name="T35" fmla="*/ 2147483647 h 384"/>
                <a:gd name="T36" fmla="*/ 2147483647 w 366"/>
                <a:gd name="T37" fmla="*/ 2147483647 h 384"/>
                <a:gd name="T38" fmla="*/ 2147483647 w 366"/>
                <a:gd name="T39" fmla="*/ 2147483647 h 384"/>
                <a:gd name="T40" fmla="*/ 2147483647 w 366"/>
                <a:gd name="T41" fmla="*/ 2147483647 h 384"/>
                <a:gd name="T42" fmla="*/ 2147483647 w 366"/>
                <a:gd name="T43" fmla="*/ 2147483647 h 384"/>
                <a:gd name="T44" fmla="*/ 2147483647 w 366"/>
                <a:gd name="T45" fmla="*/ 0 h 384"/>
                <a:gd name="T46" fmla="*/ 2147483647 w 366"/>
                <a:gd name="T47" fmla="*/ 2147483647 h 384"/>
                <a:gd name="T48" fmla="*/ 2147483647 w 366"/>
                <a:gd name="T49" fmla="*/ 2147483647 h 384"/>
                <a:gd name="T50" fmla="*/ 0 w 366"/>
                <a:gd name="T51" fmla="*/ 2147483647 h 384"/>
                <a:gd name="T52" fmla="*/ 2147483647 w 366"/>
                <a:gd name="T53" fmla="*/ 2147483647 h 384"/>
                <a:gd name="T54" fmla="*/ 2147483647 w 366"/>
                <a:gd name="T55" fmla="*/ 2147483647 h 384"/>
                <a:gd name="T56" fmla="*/ 2147483647 w 366"/>
                <a:gd name="T57" fmla="*/ 2147483647 h 384"/>
                <a:gd name="T58" fmla="*/ 2147483647 w 366"/>
                <a:gd name="T59" fmla="*/ 2147483647 h 384"/>
                <a:gd name="T60" fmla="*/ 2147483647 w 366"/>
                <a:gd name="T61" fmla="*/ 2147483647 h 384"/>
                <a:gd name="T62" fmla="*/ 2147483647 w 366"/>
                <a:gd name="T63" fmla="*/ 2147483647 h 384"/>
                <a:gd name="T64" fmla="*/ 2147483647 w 366"/>
                <a:gd name="T65" fmla="*/ 2147483647 h 384"/>
                <a:gd name="T66" fmla="*/ 2147483647 w 366"/>
                <a:gd name="T67" fmla="*/ 2147483647 h 384"/>
                <a:gd name="T68" fmla="*/ 2147483647 w 366"/>
                <a:gd name="T69" fmla="*/ 2147483647 h 384"/>
                <a:gd name="T70" fmla="*/ 2147483647 w 366"/>
                <a:gd name="T71" fmla="*/ 2147483647 h 384"/>
                <a:gd name="T72" fmla="*/ 2147483647 w 366"/>
                <a:gd name="T73" fmla="*/ 2147483647 h 384"/>
                <a:gd name="T74" fmla="*/ 2147483647 w 366"/>
                <a:gd name="T75" fmla="*/ 2147483647 h 384"/>
                <a:gd name="T76" fmla="*/ 2147483647 w 366"/>
                <a:gd name="T77" fmla="*/ 2147483647 h 3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66"/>
                <a:gd name="T118" fmla="*/ 0 h 384"/>
                <a:gd name="T119" fmla="*/ 366 w 366"/>
                <a:gd name="T120" fmla="*/ 384 h 38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66" h="384">
                  <a:moveTo>
                    <a:pt x="138" y="372"/>
                  </a:moveTo>
                  <a:lnTo>
                    <a:pt x="174" y="372"/>
                  </a:lnTo>
                  <a:lnTo>
                    <a:pt x="198" y="378"/>
                  </a:lnTo>
                  <a:lnTo>
                    <a:pt x="228" y="378"/>
                  </a:lnTo>
                  <a:lnTo>
                    <a:pt x="288" y="384"/>
                  </a:lnTo>
                  <a:lnTo>
                    <a:pt x="330" y="366"/>
                  </a:lnTo>
                  <a:lnTo>
                    <a:pt x="342" y="354"/>
                  </a:lnTo>
                  <a:lnTo>
                    <a:pt x="360" y="300"/>
                  </a:lnTo>
                  <a:lnTo>
                    <a:pt x="366" y="294"/>
                  </a:lnTo>
                  <a:lnTo>
                    <a:pt x="348" y="294"/>
                  </a:lnTo>
                  <a:lnTo>
                    <a:pt x="348" y="264"/>
                  </a:lnTo>
                  <a:lnTo>
                    <a:pt x="342" y="264"/>
                  </a:lnTo>
                  <a:lnTo>
                    <a:pt x="342" y="240"/>
                  </a:lnTo>
                  <a:lnTo>
                    <a:pt x="348" y="234"/>
                  </a:lnTo>
                  <a:lnTo>
                    <a:pt x="360" y="210"/>
                  </a:lnTo>
                  <a:lnTo>
                    <a:pt x="360" y="198"/>
                  </a:lnTo>
                  <a:lnTo>
                    <a:pt x="354" y="198"/>
                  </a:lnTo>
                  <a:lnTo>
                    <a:pt x="342" y="192"/>
                  </a:lnTo>
                  <a:lnTo>
                    <a:pt x="336" y="192"/>
                  </a:lnTo>
                  <a:lnTo>
                    <a:pt x="318" y="174"/>
                  </a:lnTo>
                  <a:lnTo>
                    <a:pt x="312" y="162"/>
                  </a:lnTo>
                  <a:lnTo>
                    <a:pt x="306" y="156"/>
                  </a:lnTo>
                  <a:lnTo>
                    <a:pt x="300" y="144"/>
                  </a:lnTo>
                  <a:lnTo>
                    <a:pt x="288" y="144"/>
                  </a:lnTo>
                  <a:lnTo>
                    <a:pt x="270" y="138"/>
                  </a:lnTo>
                  <a:lnTo>
                    <a:pt x="258" y="132"/>
                  </a:lnTo>
                  <a:lnTo>
                    <a:pt x="252" y="126"/>
                  </a:lnTo>
                  <a:lnTo>
                    <a:pt x="252" y="114"/>
                  </a:lnTo>
                  <a:lnTo>
                    <a:pt x="246" y="114"/>
                  </a:lnTo>
                  <a:lnTo>
                    <a:pt x="228" y="96"/>
                  </a:lnTo>
                  <a:lnTo>
                    <a:pt x="210" y="96"/>
                  </a:lnTo>
                  <a:lnTo>
                    <a:pt x="192" y="78"/>
                  </a:lnTo>
                  <a:lnTo>
                    <a:pt x="186" y="66"/>
                  </a:lnTo>
                  <a:lnTo>
                    <a:pt x="174" y="60"/>
                  </a:lnTo>
                  <a:lnTo>
                    <a:pt x="168" y="60"/>
                  </a:lnTo>
                  <a:lnTo>
                    <a:pt x="156" y="72"/>
                  </a:lnTo>
                  <a:lnTo>
                    <a:pt x="156" y="78"/>
                  </a:lnTo>
                  <a:lnTo>
                    <a:pt x="144" y="78"/>
                  </a:lnTo>
                  <a:lnTo>
                    <a:pt x="144" y="66"/>
                  </a:lnTo>
                  <a:lnTo>
                    <a:pt x="132" y="54"/>
                  </a:lnTo>
                  <a:lnTo>
                    <a:pt x="126" y="42"/>
                  </a:lnTo>
                  <a:lnTo>
                    <a:pt x="120" y="36"/>
                  </a:lnTo>
                  <a:lnTo>
                    <a:pt x="108" y="30"/>
                  </a:lnTo>
                  <a:lnTo>
                    <a:pt x="102" y="18"/>
                  </a:lnTo>
                  <a:lnTo>
                    <a:pt x="78" y="6"/>
                  </a:lnTo>
                  <a:lnTo>
                    <a:pt x="72" y="0"/>
                  </a:lnTo>
                  <a:lnTo>
                    <a:pt x="60" y="0"/>
                  </a:lnTo>
                  <a:lnTo>
                    <a:pt x="48" y="6"/>
                  </a:lnTo>
                  <a:lnTo>
                    <a:pt x="42" y="12"/>
                  </a:lnTo>
                  <a:lnTo>
                    <a:pt x="18" y="12"/>
                  </a:lnTo>
                  <a:lnTo>
                    <a:pt x="0" y="30"/>
                  </a:lnTo>
                  <a:lnTo>
                    <a:pt x="0" y="36"/>
                  </a:lnTo>
                  <a:lnTo>
                    <a:pt x="24" y="60"/>
                  </a:lnTo>
                  <a:lnTo>
                    <a:pt x="30" y="60"/>
                  </a:lnTo>
                  <a:lnTo>
                    <a:pt x="6" y="72"/>
                  </a:lnTo>
                  <a:lnTo>
                    <a:pt x="6" y="108"/>
                  </a:lnTo>
                  <a:lnTo>
                    <a:pt x="30" y="126"/>
                  </a:lnTo>
                  <a:lnTo>
                    <a:pt x="12" y="126"/>
                  </a:lnTo>
                  <a:lnTo>
                    <a:pt x="0" y="138"/>
                  </a:lnTo>
                  <a:lnTo>
                    <a:pt x="6" y="144"/>
                  </a:lnTo>
                  <a:lnTo>
                    <a:pt x="12" y="156"/>
                  </a:lnTo>
                  <a:lnTo>
                    <a:pt x="24" y="168"/>
                  </a:lnTo>
                  <a:lnTo>
                    <a:pt x="12" y="186"/>
                  </a:lnTo>
                  <a:lnTo>
                    <a:pt x="18" y="192"/>
                  </a:lnTo>
                  <a:lnTo>
                    <a:pt x="24" y="204"/>
                  </a:lnTo>
                  <a:lnTo>
                    <a:pt x="36" y="210"/>
                  </a:lnTo>
                  <a:lnTo>
                    <a:pt x="42" y="222"/>
                  </a:lnTo>
                  <a:lnTo>
                    <a:pt x="42" y="228"/>
                  </a:lnTo>
                  <a:lnTo>
                    <a:pt x="36" y="228"/>
                  </a:lnTo>
                  <a:lnTo>
                    <a:pt x="30" y="234"/>
                  </a:lnTo>
                  <a:lnTo>
                    <a:pt x="6" y="234"/>
                  </a:lnTo>
                  <a:lnTo>
                    <a:pt x="6" y="282"/>
                  </a:lnTo>
                  <a:lnTo>
                    <a:pt x="36" y="318"/>
                  </a:lnTo>
                  <a:lnTo>
                    <a:pt x="42" y="318"/>
                  </a:lnTo>
                  <a:lnTo>
                    <a:pt x="54" y="324"/>
                  </a:lnTo>
                  <a:lnTo>
                    <a:pt x="78" y="348"/>
                  </a:lnTo>
                  <a:lnTo>
                    <a:pt x="90" y="354"/>
                  </a:lnTo>
                  <a:lnTo>
                    <a:pt x="126" y="354"/>
                  </a:lnTo>
                  <a:lnTo>
                    <a:pt x="138" y="372"/>
                  </a:lnTo>
                  <a:close/>
                </a:path>
              </a:pathLst>
            </a:custGeom>
            <a:solidFill>
              <a:srgbClr val="658B26"/>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55" name="United Kingdom" descr="© INSCALE GmbH, 05.05.2010&#10;http://www.presentationload.com/"/>
            <p:cNvSpPr>
              <a:spLocks noEditPoints="1"/>
            </p:cNvSpPr>
            <p:nvPr/>
          </p:nvSpPr>
          <p:spPr bwMode="gray">
            <a:xfrm>
              <a:off x="4065591" y="2133600"/>
              <a:ext cx="231775" cy="331789"/>
            </a:xfrm>
            <a:custGeom>
              <a:avLst/>
              <a:gdLst>
                <a:gd name="T0" fmla="*/ 2147483647 w 576"/>
                <a:gd name="T1" fmla="*/ 2147483647 h 822"/>
                <a:gd name="T2" fmla="*/ 2147483647 w 576"/>
                <a:gd name="T3" fmla="*/ 2147483647 h 822"/>
                <a:gd name="T4" fmla="*/ 2147483647 w 576"/>
                <a:gd name="T5" fmla="*/ 2147483647 h 822"/>
                <a:gd name="T6" fmla="*/ 2147483647 w 576"/>
                <a:gd name="T7" fmla="*/ 2147483647 h 822"/>
                <a:gd name="T8" fmla="*/ 2147483647 w 576"/>
                <a:gd name="T9" fmla="*/ 2147483647 h 822"/>
                <a:gd name="T10" fmla="*/ 2147483647 w 576"/>
                <a:gd name="T11" fmla="*/ 2147483647 h 822"/>
                <a:gd name="T12" fmla="*/ 2147483647 w 576"/>
                <a:gd name="T13" fmla="*/ 2147483647 h 822"/>
                <a:gd name="T14" fmla="*/ 2147483647 w 576"/>
                <a:gd name="T15" fmla="*/ 0 h 822"/>
                <a:gd name="T16" fmla="*/ 2147483647 w 576"/>
                <a:gd name="T17" fmla="*/ 0 h 822"/>
                <a:gd name="T18" fmla="*/ 2147483647 w 576"/>
                <a:gd name="T19" fmla="*/ 2147483647 h 822"/>
                <a:gd name="T20" fmla="*/ 2147483647 w 576"/>
                <a:gd name="T21" fmla="*/ 2147483647 h 822"/>
                <a:gd name="T22" fmla="*/ 2147483647 w 576"/>
                <a:gd name="T23" fmla="*/ 2147483647 h 822"/>
                <a:gd name="T24" fmla="*/ 2147483647 w 576"/>
                <a:gd name="T25" fmla="*/ 2147483647 h 822"/>
                <a:gd name="T26" fmla="*/ 2147483647 w 576"/>
                <a:gd name="T27" fmla="*/ 2147483647 h 822"/>
                <a:gd name="T28" fmla="*/ 2147483647 w 576"/>
                <a:gd name="T29" fmla="*/ 2147483647 h 822"/>
                <a:gd name="T30" fmla="*/ 2147483647 w 576"/>
                <a:gd name="T31" fmla="*/ 2147483647 h 822"/>
                <a:gd name="T32" fmla="*/ 2147483647 w 576"/>
                <a:gd name="T33" fmla="*/ 2147483647 h 822"/>
                <a:gd name="T34" fmla="*/ 2147483647 w 576"/>
                <a:gd name="T35" fmla="*/ 2147483647 h 822"/>
                <a:gd name="T36" fmla="*/ 2147483647 w 576"/>
                <a:gd name="T37" fmla="*/ 2147483647 h 822"/>
                <a:gd name="T38" fmla="*/ 2147483647 w 576"/>
                <a:gd name="T39" fmla="*/ 2147483647 h 822"/>
                <a:gd name="T40" fmla="*/ 2147483647 w 576"/>
                <a:gd name="T41" fmla="*/ 2147483647 h 822"/>
                <a:gd name="T42" fmla="*/ 2147483647 w 576"/>
                <a:gd name="T43" fmla="*/ 2147483647 h 822"/>
                <a:gd name="T44" fmla="*/ 2147483647 w 576"/>
                <a:gd name="T45" fmla="*/ 2147483647 h 822"/>
                <a:gd name="T46" fmla="*/ 2147483647 w 576"/>
                <a:gd name="T47" fmla="*/ 2147483647 h 822"/>
                <a:gd name="T48" fmla="*/ 2147483647 w 576"/>
                <a:gd name="T49" fmla="*/ 2147483647 h 822"/>
                <a:gd name="T50" fmla="*/ 2147483647 w 576"/>
                <a:gd name="T51" fmla="*/ 2147483647 h 822"/>
                <a:gd name="T52" fmla="*/ 2147483647 w 576"/>
                <a:gd name="T53" fmla="*/ 2147483647 h 822"/>
                <a:gd name="T54" fmla="*/ 2147483647 w 576"/>
                <a:gd name="T55" fmla="*/ 2147483647 h 822"/>
                <a:gd name="T56" fmla="*/ 2147483647 w 576"/>
                <a:gd name="T57" fmla="*/ 2147483647 h 822"/>
                <a:gd name="T58" fmla="*/ 2147483647 w 576"/>
                <a:gd name="T59" fmla="*/ 2147483647 h 822"/>
                <a:gd name="T60" fmla="*/ 2147483647 w 576"/>
                <a:gd name="T61" fmla="*/ 2147483647 h 822"/>
                <a:gd name="T62" fmla="*/ 2147483647 w 576"/>
                <a:gd name="T63" fmla="*/ 2147483647 h 822"/>
                <a:gd name="T64" fmla="*/ 2147483647 w 576"/>
                <a:gd name="T65" fmla="*/ 2147483647 h 822"/>
                <a:gd name="T66" fmla="*/ 2147483647 w 576"/>
                <a:gd name="T67" fmla="*/ 2147483647 h 822"/>
                <a:gd name="T68" fmla="*/ 2147483647 w 576"/>
                <a:gd name="T69" fmla="*/ 2147483647 h 822"/>
                <a:gd name="T70" fmla="*/ 2147483647 w 576"/>
                <a:gd name="T71" fmla="*/ 2147483647 h 822"/>
                <a:gd name="T72" fmla="*/ 2147483647 w 576"/>
                <a:gd name="T73" fmla="*/ 2147483647 h 822"/>
                <a:gd name="T74" fmla="*/ 2147483647 w 576"/>
                <a:gd name="T75" fmla="*/ 2147483647 h 822"/>
                <a:gd name="T76" fmla="*/ 2147483647 w 576"/>
                <a:gd name="T77" fmla="*/ 2147483647 h 822"/>
                <a:gd name="T78" fmla="*/ 2147483647 w 576"/>
                <a:gd name="T79" fmla="*/ 2147483647 h 822"/>
                <a:gd name="T80" fmla="*/ 2147483647 w 576"/>
                <a:gd name="T81" fmla="*/ 2147483647 h 822"/>
                <a:gd name="T82" fmla="*/ 2147483647 w 576"/>
                <a:gd name="T83" fmla="*/ 2147483647 h 822"/>
                <a:gd name="T84" fmla="*/ 2147483647 w 576"/>
                <a:gd name="T85" fmla="*/ 2147483647 h 822"/>
                <a:gd name="T86" fmla="*/ 2147483647 w 576"/>
                <a:gd name="T87" fmla="*/ 2147483647 h 822"/>
                <a:gd name="T88" fmla="*/ 2147483647 w 576"/>
                <a:gd name="T89" fmla="*/ 2147483647 h 822"/>
                <a:gd name="T90" fmla="*/ 2147483647 w 576"/>
                <a:gd name="T91" fmla="*/ 2147483647 h 822"/>
                <a:gd name="T92" fmla="*/ 2147483647 w 576"/>
                <a:gd name="T93" fmla="*/ 2147483647 h 822"/>
                <a:gd name="T94" fmla="*/ 2147483647 w 576"/>
                <a:gd name="T95" fmla="*/ 2147483647 h 822"/>
                <a:gd name="T96" fmla="*/ 2147483647 w 576"/>
                <a:gd name="T97" fmla="*/ 2147483647 h 822"/>
                <a:gd name="T98" fmla="*/ 2147483647 w 576"/>
                <a:gd name="T99" fmla="*/ 2147483647 h 822"/>
                <a:gd name="T100" fmla="*/ 2147483647 w 576"/>
                <a:gd name="T101" fmla="*/ 2147483647 h 822"/>
                <a:gd name="T102" fmla="*/ 2147483647 w 576"/>
                <a:gd name="T103" fmla="*/ 2147483647 h 822"/>
                <a:gd name="T104" fmla="*/ 2147483647 w 576"/>
                <a:gd name="T105" fmla="*/ 2147483647 h 822"/>
                <a:gd name="T106" fmla="*/ 2147483647 w 576"/>
                <a:gd name="T107" fmla="*/ 2147483647 h 822"/>
                <a:gd name="T108" fmla="*/ 2147483647 w 576"/>
                <a:gd name="T109" fmla="*/ 2147483647 h 822"/>
                <a:gd name="T110" fmla="*/ 2147483647 w 576"/>
                <a:gd name="T111" fmla="*/ 2147483647 h 822"/>
                <a:gd name="T112" fmla="*/ 2147483647 w 576"/>
                <a:gd name="T113" fmla="*/ 2147483647 h 822"/>
                <a:gd name="T114" fmla="*/ 2147483647 w 576"/>
                <a:gd name="T115" fmla="*/ 2147483647 h 822"/>
                <a:gd name="T116" fmla="*/ 2147483647 w 576"/>
                <a:gd name="T117" fmla="*/ 2147483647 h 822"/>
                <a:gd name="T118" fmla="*/ 2147483647 w 576"/>
                <a:gd name="T119" fmla="*/ 2147483647 h 822"/>
                <a:gd name="T120" fmla="*/ 2147483647 w 576"/>
                <a:gd name="T121" fmla="*/ 2147483647 h 822"/>
                <a:gd name="T122" fmla="*/ 2147483647 w 576"/>
                <a:gd name="T123" fmla="*/ 2147483647 h 82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6"/>
                <a:gd name="T187" fmla="*/ 0 h 822"/>
                <a:gd name="T188" fmla="*/ 576 w 576"/>
                <a:gd name="T189" fmla="*/ 822 h 82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6" h="822">
                  <a:moveTo>
                    <a:pt x="162" y="378"/>
                  </a:moveTo>
                  <a:lnTo>
                    <a:pt x="156" y="378"/>
                  </a:lnTo>
                  <a:lnTo>
                    <a:pt x="150" y="384"/>
                  </a:lnTo>
                  <a:lnTo>
                    <a:pt x="150" y="396"/>
                  </a:lnTo>
                  <a:lnTo>
                    <a:pt x="144" y="414"/>
                  </a:lnTo>
                  <a:lnTo>
                    <a:pt x="156" y="402"/>
                  </a:lnTo>
                  <a:lnTo>
                    <a:pt x="162" y="390"/>
                  </a:lnTo>
                  <a:lnTo>
                    <a:pt x="162" y="378"/>
                  </a:lnTo>
                  <a:close/>
                  <a:moveTo>
                    <a:pt x="132" y="312"/>
                  </a:moveTo>
                  <a:lnTo>
                    <a:pt x="126" y="312"/>
                  </a:lnTo>
                  <a:lnTo>
                    <a:pt x="126" y="336"/>
                  </a:lnTo>
                  <a:lnTo>
                    <a:pt x="132" y="336"/>
                  </a:lnTo>
                  <a:lnTo>
                    <a:pt x="138" y="330"/>
                  </a:lnTo>
                  <a:lnTo>
                    <a:pt x="150" y="330"/>
                  </a:lnTo>
                  <a:lnTo>
                    <a:pt x="144" y="318"/>
                  </a:lnTo>
                  <a:lnTo>
                    <a:pt x="138" y="312"/>
                  </a:lnTo>
                  <a:lnTo>
                    <a:pt x="132" y="312"/>
                  </a:lnTo>
                  <a:close/>
                  <a:moveTo>
                    <a:pt x="114" y="390"/>
                  </a:moveTo>
                  <a:lnTo>
                    <a:pt x="126" y="390"/>
                  </a:lnTo>
                  <a:lnTo>
                    <a:pt x="138" y="384"/>
                  </a:lnTo>
                  <a:lnTo>
                    <a:pt x="138" y="372"/>
                  </a:lnTo>
                  <a:lnTo>
                    <a:pt x="132" y="366"/>
                  </a:lnTo>
                  <a:lnTo>
                    <a:pt x="120" y="366"/>
                  </a:lnTo>
                  <a:lnTo>
                    <a:pt x="114" y="372"/>
                  </a:lnTo>
                  <a:lnTo>
                    <a:pt x="108" y="384"/>
                  </a:lnTo>
                  <a:lnTo>
                    <a:pt x="108" y="390"/>
                  </a:lnTo>
                  <a:lnTo>
                    <a:pt x="114" y="390"/>
                  </a:lnTo>
                  <a:close/>
                  <a:moveTo>
                    <a:pt x="330" y="120"/>
                  </a:moveTo>
                  <a:lnTo>
                    <a:pt x="324" y="120"/>
                  </a:lnTo>
                  <a:lnTo>
                    <a:pt x="318" y="126"/>
                  </a:lnTo>
                  <a:lnTo>
                    <a:pt x="318" y="138"/>
                  </a:lnTo>
                  <a:lnTo>
                    <a:pt x="330" y="138"/>
                  </a:lnTo>
                  <a:lnTo>
                    <a:pt x="336" y="126"/>
                  </a:lnTo>
                  <a:lnTo>
                    <a:pt x="330" y="120"/>
                  </a:lnTo>
                  <a:close/>
                  <a:moveTo>
                    <a:pt x="138" y="258"/>
                  </a:moveTo>
                  <a:lnTo>
                    <a:pt x="138" y="234"/>
                  </a:lnTo>
                  <a:lnTo>
                    <a:pt x="126" y="234"/>
                  </a:lnTo>
                  <a:lnTo>
                    <a:pt x="120" y="240"/>
                  </a:lnTo>
                  <a:lnTo>
                    <a:pt x="120" y="246"/>
                  </a:lnTo>
                  <a:lnTo>
                    <a:pt x="126" y="252"/>
                  </a:lnTo>
                  <a:lnTo>
                    <a:pt x="108" y="252"/>
                  </a:lnTo>
                  <a:lnTo>
                    <a:pt x="108" y="258"/>
                  </a:lnTo>
                  <a:lnTo>
                    <a:pt x="114" y="264"/>
                  </a:lnTo>
                  <a:lnTo>
                    <a:pt x="120" y="264"/>
                  </a:lnTo>
                  <a:lnTo>
                    <a:pt x="126" y="270"/>
                  </a:lnTo>
                  <a:lnTo>
                    <a:pt x="150" y="270"/>
                  </a:lnTo>
                  <a:lnTo>
                    <a:pt x="138" y="258"/>
                  </a:lnTo>
                  <a:close/>
                  <a:moveTo>
                    <a:pt x="474" y="0"/>
                  </a:moveTo>
                  <a:lnTo>
                    <a:pt x="468" y="0"/>
                  </a:lnTo>
                  <a:lnTo>
                    <a:pt x="456" y="12"/>
                  </a:lnTo>
                  <a:lnTo>
                    <a:pt x="474" y="12"/>
                  </a:lnTo>
                  <a:lnTo>
                    <a:pt x="474" y="6"/>
                  </a:lnTo>
                  <a:lnTo>
                    <a:pt x="480" y="0"/>
                  </a:lnTo>
                  <a:lnTo>
                    <a:pt x="474" y="0"/>
                  </a:lnTo>
                  <a:close/>
                  <a:moveTo>
                    <a:pt x="432" y="48"/>
                  </a:moveTo>
                  <a:lnTo>
                    <a:pt x="432" y="66"/>
                  </a:lnTo>
                  <a:lnTo>
                    <a:pt x="438" y="66"/>
                  </a:lnTo>
                  <a:lnTo>
                    <a:pt x="444" y="60"/>
                  </a:lnTo>
                  <a:lnTo>
                    <a:pt x="450" y="48"/>
                  </a:lnTo>
                  <a:lnTo>
                    <a:pt x="450" y="24"/>
                  </a:lnTo>
                  <a:lnTo>
                    <a:pt x="438" y="12"/>
                  </a:lnTo>
                  <a:lnTo>
                    <a:pt x="432" y="24"/>
                  </a:lnTo>
                  <a:lnTo>
                    <a:pt x="426" y="30"/>
                  </a:lnTo>
                  <a:lnTo>
                    <a:pt x="420" y="30"/>
                  </a:lnTo>
                  <a:lnTo>
                    <a:pt x="420" y="42"/>
                  </a:lnTo>
                  <a:lnTo>
                    <a:pt x="426" y="42"/>
                  </a:lnTo>
                  <a:lnTo>
                    <a:pt x="432" y="48"/>
                  </a:lnTo>
                  <a:close/>
                  <a:moveTo>
                    <a:pt x="342" y="138"/>
                  </a:moveTo>
                  <a:lnTo>
                    <a:pt x="342" y="150"/>
                  </a:lnTo>
                  <a:lnTo>
                    <a:pt x="354" y="138"/>
                  </a:lnTo>
                  <a:lnTo>
                    <a:pt x="342" y="138"/>
                  </a:lnTo>
                  <a:close/>
                  <a:moveTo>
                    <a:pt x="192" y="402"/>
                  </a:moveTo>
                  <a:lnTo>
                    <a:pt x="192" y="390"/>
                  </a:lnTo>
                  <a:lnTo>
                    <a:pt x="186" y="384"/>
                  </a:lnTo>
                  <a:lnTo>
                    <a:pt x="186" y="378"/>
                  </a:lnTo>
                  <a:lnTo>
                    <a:pt x="174" y="390"/>
                  </a:lnTo>
                  <a:lnTo>
                    <a:pt x="174" y="396"/>
                  </a:lnTo>
                  <a:lnTo>
                    <a:pt x="180" y="402"/>
                  </a:lnTo>
                  <a:lnTo>
                    <a:pt x="192" y="402"/>
                  </a:lnTo>
                  <a:close/>
                  <a:moveTo>
                    <a:pt x="504" y="588"/>
                  </a:moveTo>
                  <a:lnTo>
                    <a:pt x="498" y="594"/>
                  </a:lnTo>
                  <a:lnTo>
                    <a:pt x="498" y="600"/>
                  </a:lnTo>
                  <a:lnTo>
                    <a:pt x="480" y="600"/>
                  </a:lnTo>
                  <a:lnTo>
                    <a:pt x="480" y="588"/>
                  </a:lnTo>
                  <a:lnTo>
                    <a:pt x="486" y="576"/>
                  </a:lnTo>
                  <a:lnTo>
                    <a:pt x="498" y="564"/>
                  </a:lnTo>
                  <a:lnTo>
                    <a:pt x="492" y="558"/>
                  </a:lnTo>
                  <a:lnTo>
                    <a:pt x="456" y="540"/>
                  </a:lnTo>
                  <a:lnTo>
                    <a:pt x="450" y="540"/>
                  </a:lnTo>
                  <a:lnTo>
                    <a:pt x="444" y="534"/>
                  </a:lnTo>
                  <a:lnTo>
                    <a:pt x="450" y="534"/>
                  </a:lnTo>
                  <a:lnTo>
                    <a:pt x="456" y="528"/>
                  </a:lnTo>
                  <a:lnTo>
                    <a:pt x="480" y="528"/>
                  </a:lnTo>
                  <a:lnTo>
                    <a:pt x="468" y="516"/>
                  </a:lnTo>
                  <a:lnTo>
                    <a:pt x="468" y="510"/>
                  </a:lnTo>
                  <a:lnTo>
                    <a:pt x="456" y="498"/>
                  </a:lnTo>
                  <a:lnTo>
                    <a:pt x="450" y="486"/>
                  </a:lnTo>
                  <a:lnTo>
                    <a:pt x="432" y="468"/>
                  </a:lnTo>
                  <a:lnTo>
                    <a:pt x="420" y="468"/>
                  </a:lnTo>
                  <a:lnTo>
                    <a:pt x="414" y="456"/>
                  </a:lnTo>
                  <a:lnTo>
                    <a:pt x="402" y="450"/>
                  </a:lnTo>
                  <a:lnTo>
                    <a:pt x="390" y="438"/>
                  </a:lnTo>
                  <a:lnTo>
                    <a:pt x="390" y="414"/>
                  </a:lnTo>
                  <a:lnTo>
                    <a:pt x="396" y="402"/>
                  </a:lnTo>
                  <a:lnTo>
                    <a:pt x="396" y="390"/>
                  </a:lnTo>
                  <a:lnTo>
                    <a:pt x="384" y="390"/>
                  </a:lnTo>
                  <a:lnTo>
                    <a:pt x="378" y="384"/>
                  </a:lnTo>
                  <a:lnTo>
                    <a:pt x="372" y="372"/>
                  </a:lnTo>
                  <a:lnTo>
                    <a:pt x="360" y="360"/>
                  </a:lnTo>
                  <a:lnTo>
                    <a:pt x="342" y="354"/>
                  </a:lnTo>
                  <a:lnTo>
                    <a:pt x="324" y="354"/>
                  </a:lnTo>
                  <a:lnTo>
                    <a:pt x="306" y="360"/>
                  </a:lnTo>
                  <a:lnTo>
                    <a:pt x="294" y="366"/>
                  </a:lnTo>
                  <a:lnTo>
                    <a:pt x="288" y="366"/>
                  </a:lnTo>
                  <a:lnTo>
                    <a:pt x="270" y="348"/>
                  </a:lnTo>
                  <a:lnTo>
                    <a:pt x="282" y="348"/>
                  </a:lnTo>
                  <a:lnTo>
                    <a:pt x="294" y="354"/>
                  </a:lnTo>
                  <a:lnTo>
                    <a:pt x="306" y="354"/>
                  </a:lnTo>
                  <a:lnTo>
                    <a:pt x="330" y="342"/>
                  </a:lnTo>
                  <a:lnTo>
                    <a:pt x="336" y="336"/>
                  </a:lnTo>
                  <a:lnTo>
                    <a:pt x="330" y="336"/>
                  </a:lnTo>
                  <a:lnTo>
                    <a:pt x="324" y="330"/>
                  </a:lnTo>
                  <a:lnTo>
                    <a:pt x="306" y="330"/>
                  </a:lnTo>
                  <a:lnTo>
                    <a:pt x="330" y="324"/>
                  </a:lnTo>
                  <a:lnTo>
                    <a:pt x="336" y="318"/>
                  </a:lnTo>
                  <a:lnTo>
                    <a:pt x="348" y="312"/>
                  </a:lnTo>
                  <a:lnTo>
                    <a:pt x="360" y="300"/>
                  </a:lnTo>
                  <a:lnTo>
                    <a:pt x="360" y="288"/>
                  </a:lnTo>
                  <a:lnTo>
                    <a:pt x="366" y="276"/>
                  </a:lnTo>
                  <a:lnTo>
                    <a:pt x="372" y="270"/>
                  </a:lnTo>
                  <a:lnTo>
                    <a:pt x="378" y="258"/>
                  </a:lnTo>
                  <a:lnTo>
                    <a:pt x="384" y="252"/>
                  </a:lnTo>
                  <a:lnTo>
                    <a:pt x="396" y="246"/>
                  </a:lnTo>
                  <a:lnTo>
                    <a:pt x="402" y="246"/>
                  </a:lnTo>
                  <a:lnTo>
                    <a:pt x="402" y="240"/>
                  </a:lnTo>
                  <a:lnTo>
                    <a:pt x="396" y="234"/>
                  </a:lnTo>
                  <a:lnTo>
                    <a:pt x="318" y="234"/>
                  </a:lnTo>
                  <a:lnTo>
                    <a:pt x="318" y="228"/>
                  </a:lnTo>
                  <a:lnTo>
                    <a:pt x="288" y="228"/>
                  </a:lnTo>
                  <a:lnTo>
                    <a:pt x="276" y="234"/>
                  </a:lnTo>
                  <a:lnTo>
                    <a:pt x="264" y="234"/>
                  </a:lnTo>
                  <a:lnTo>
                    <a:pt x="258" y="240"/>
                  </a:lnTo>
                  <a:lnTo>
                    <a:pt x="252" y="240"/>
                  </a:lnTo>
                  <a:lnTo>
                    <a:pt x="264" y="228"/>
                  </a:lnTo>
                  <a:lnTo>
                    <a:pt x="252" y="216"/>
                  </a:lnTo>
                  <a:lnTo>
                    <a:pt x="270" y="210"/>
                  </a:lnTo>
                  <a:lnTo>
                    <a:pt x="300" y="192"/>
                  </a:lnTo>
                  <a:lnTo>
                    <a:pt x="312" y="186"/>
                  </a:lnTo>
                  <a:lnTo>
                    <a:pt x="324" y="162"/>
                  </a:lnTo>
                  <a:lnTo>
                    <a:pt x="318" y="156"/>
                  </a:lnTo>
                  <a:lnTo>
                    <a:pt x="288" y="156"/>
                  </a:lnTo>
                  <a:lnTo>
                    <a:pt x="276" y="162"/>
                  </a:lnTo>
                  <a:lnTo>
                    <a:pt x="258" y="168"/>
                  </a:lnTo>
                  <a:lnTo>
                    <a:pt x="240" y="168"/>
                  </a:lnTo>
                  <a:lnTo>
                    <a:pt x="228" y="162"/>
                  </a:lnTo>
                  <a:lnTo>
                    <a:pt x="216" y="162"/>
                  </a:lnTo>
                  <a:lnTo>
                    <a:pt x="210" y="168"/>
                  </a:lnTo>
                  <a:lnTo>
                    <a:pt x="210" y="174"/>
                  </a:lnTo>
                  <a:lnTo>
                    <a:pt x="216" y="180"/>
                  </a:lnTo>
                  <a:lnTo>
                    <a:pt x="204" y="180"/>
                  </a:lnTo>
                  <a:lnTo>
                    <a:pt x="192" y="192"/>
                  </a:lnTo>
                  <a:lnTo>
                    <a:pt x="192" y="210"/>
                  </a:lnTo>
                  <a:lnTo>
                    <a:pt x="198" y="216"/>
                  </a:lnTo>
                  <a:lnTo>
                    <a:pt x="156" y="222"/>
                  </a:lnTo>
                  <a:lnTo>
                    <a:pt x="156" y="234"/>
                  </a:lnTo>
                  <a:lnTo>
                    <a:pt x="168" y="240"/>
                  </a:lnTo>
                  <a:lnTo>
                    <a:pt x="180" y="264"/>
                  </a:lnTo>
                  <a:lnTo>
                    <a:pt x="162" y="282"/>
                  </a:lnTo>
                  <a:lnTo>
                    <a:pt x="162" y="294"/>
                  </a:lnTo>
                  <a:lnTo>
                    <a:pt x="144" y="300"/>
                  </a:lnTo>
                  <a:lnTo>
                    <a:pt x="156" y="312"/>
                  </a:lnTo>
                  <a:lnTo>
                    <a:pt x="168" y="312"/>
                  </a:lnTo>
                  <a:lnTo>
                    <a:pt x="180" y="306"/>
                  </a:lnTo>
                  <a:lnTo>
                    <a:pt x="186" y="300"/>
                  </a:lnTo>
                  <a:lnTo>
                    <a:pt x="186" y="318"/>
                  </a:lnTo>
                  <a:lnTo>
                    <a:pt x="180" y="318"/>
                  </a:lnTo>
                  <a:lnTo>
                    <a:pt x="168" y="330"/>
                  </a:lnTo>
                  <a:lnTo>
                    <a:pt x="156" y="336"/>
                  </a:lnTo>
                  <a:lnTo>
                    <a:pt x="156" y="360"/>
                  </a:lnTo>
                  <a:lnTo>
                    <a:pt x="162" y="372"/>
                  </a:lnTo>
                  <a:lnTo>
                    <a:pt x="168" y="366"/>
                  </a:lnTo>
                  <a:lnTo>
                    <a:pt x="198" y="366"/>
                  </a:lnTo>
                  <a:lnTo>
                    <a:pt x="210" y="360"/>
                  </a:lnTo>
                  <a:lnTo>
                    <a:pt x="216" y="354"/>
                  </a:lnTo>
                  <a:lnTo>
                    <a:pt x="198" y="372"/>
                  </a:lnTo>
                  <a:lnTo>
                    <a:pt x="210" y="402"/>
                  </a:lnTo>
                  <a:lnTo>
                    <a:pt x="204" y="408"/>
                  </a:lnTo>
                  <a:lnTo>
                    <a:pt x="198" y="420"/>
                  </a:lnTo>
                  <a:lnTo>
                    <a:pt x="186" y="426"/>
                  </a:lnTo>
                  <a:lnTo>
                    <a:pt x="180" y="438"/>
                  </a:lnTo>
                  <a:lnTo>
                    <a:pt x="180" y="450"/>
                  </a:lnTo>
                  <a:lnTo>
                    <a:pt x="186" y="456"/>
                  </a:lnTo>
                  <a:lnTo>
                    <a:pt x="204" y="456"/>
                  </a:lnTo>
                  <a:lnTo>
                    <a:pt x="216" y="450"/>
                  </a:lnTo>
                  <a:lnTo>
                    <a:pt x="240" y="450"/>
                  </a:lnTo>
                  <a:lnTo>
                    <a:pt x="252" y="444"/>
                  </a:lnTo>
                  <a:lnTo>
                    <a:pt x="258" y="438"/>
                  </a:lnTo>
                  <a:lnTo>
                    <a:pt x="270" y="432"/>
                  </a:lnTo>
                  <a:lnTo>
                    <a:pt x="300" y="438"/>
                  </a:lnTo>
                  <a:lnTo>
                    <a:pt x="288" y="444"/>
                  </a:lnTo>
                  <a:lnTo>
                    <a:pt x="264" y="468"/>
                  </a:lnTo>
                  <a:lnTo>
                    <a:pt x="264" y="474"/>
                  </a:lnTo>
                  <a:lnTo>
                    <a:pt x="282" y="492"/>
                  </a:lnTo>
                  <a:lnTo>
                    <a:pt x="294" y="492"/>
                  </a:lnTo>
                  <a:lnTo>
                    <a:pt x="300" y="498"/>
                  </a:lnTo>
                  <a:lnTo>
                    <a:pt x="306" y="498"/>
                  </a:lnTo>
                  <a:lnTo>
                    <a:pt x="312" y="516"/>
                  </a:lnTo>
                  <a:lnTo>
                    <a:pt x="294" y="534"/>
                  </a:lnTo>
                  <a:lnTo>
                    <a:pt x="294" y="564"/>
                  </a:lnTo>
                  <a:lnTo>
                    <a:pt x="222" y="564"/>
                  </a:lnTo>
                  <a:lnTo>
                    <a:pt x="216" y="558"/>
                  </a:lnTo>
                  <a:lnTo>
                    <a:pt x="198" y="558"/>
                  </a:lnTo>
                  <a:lnTo>
                    <a:pt x="192" y="564"/>
                  </a:lnTo>
                  <a:lnTo>
                    <a:pt x="210" y="582"/>
                  </a:lnTo>
                  <a:lnTo>
                    <a:pt x="186" y="600"/>
                  </a:lnTo>
                  <a:lnTo>
                    <a:pt x="228" y="594"/>
                  </a:lnTo>
                  <a:lnTo>
                    <a:pt x="228" y="618"/>
                  </a:lnTo>
                  <a:lnTo>
                    <a:pt x="216" y="642"/>
                  </a:lnTo>
                  <a:lnTo>
                    <a:pt x="210" y="648"/>
                  </a:lnTo>
                  <a:lnTo>
                    <a:pt x="198" y="654"/>
                  </a:lnTo>
                  <a:lnTo>
                    <a:pt x="180" y="660"/>
                  </a:lnTo>
                  <a:lnTo>
                    <a:pt x="168" y="666"/>
                  </a:lnTo>
                  <a:lnTo>
                    <a:pt x="162" y="666"/>
                  </a:lnTo>
                  <a:lnTo>
                    <a:pt x="162" y="690"/>
                  </a:lnTo>
                  <a:lnTo>
                    <a:pt x="168" y="696"/>
                  </a:lnTo>
                  <a:lnTo>
                    <a:pt x="174" y="696"/>
                  </a:lnTo>
                  <a:lnTo>
                    <a:pt x="180" y="690"/>
                  </a:lnTo>
                  <a:lnTo>
                    <a:pt x="192" y="684"/>
                  </a:lnTo>
                  <a:lnTo>
                    <a:pt x="198" y="678"/>
                  </a:lnTo>
                  <a:lnTo>
                    <a:pt x="204" y="684"/>
                  </a:lnTo>
                  <a:lnTo>
                    <a:pt x="204" y="690"/>
                  </a:lnTo>
                  <a:lnTo>
                    <a:pt x="210" y="696"/>
                  </a:lnTo>
                  <a:lnTo>
                    <a:pt x="234" y="696"/>
                  </a:lnTo>
                  <a:lnTo>
                    <a:pt x="240" y="702"/>
                  </a:lnTo>
                  <a:lnTo>
                    <a:pt x="252" y="708"/>
                  </a:lnTo>
                  <a:lnTo>
                    <a:pt x="258" y="708"/>
                  </a:lnTo>
                  <a:lnTo>
                    <a:pt x="276" y="702"/>
                  </a:lnTo>
                  <a:lnTo>
                    <a:pt x="288" y="696"/>
                  </a:lnTo>
                  <a:lnTo>
                    <a:pt x="294" y="690"/>
                  </a:lnTo>
                  <a:lnTo>
                    <a:pt x="318" y="690"/>
                  </a:lnTo>
                  <a:lnTo>
                    <a:pt x="312" y="696"/>
                  </a:lnTo>
                  <a:lnTo>
                    <a:pt x="300" y="702"/>
                  </a:lnTo>
                  <a:lnTo>
                    <a:pt x="294" y="714"/>
                  </a:lnTo>
                  <a:lnTo>
                    <a:pt x="282" y="720"/>
                  </a:lnTo>
                  <a:lnTo>
                    <a:pt x="276" y="726"/>
                  </a:lnTo>
                  <a:lnTo>
                    <a:pt x="210" y="726"/>
                  </a:lnTo>
                  <a:lnTo>
                    <a:pt x="210" y="738"/>
                  </a:lnTo>
                  <a:lnTo>
                    <a:pt x="198" y="738"/>
                  </a:lnTo>
                  <a:lnTo>
                    <a:pt x="186" y="744"/>
                  </a:lnTo>
                  <a:lnTo>
                    <a:pt x="180" y="750"/>
                  </a:lnTo>
                  <a:lnTo>
                    <a:pt x="180" y="768"/>
                  </a:lnTo>
                  <a:lnTo>
                    <a:pt x="174" y="774"/>
                  </a:lnTo>
                  <a:lnTo>
                    <a:pt x="144" y="774"/>
                  </a:lnTo>
                  <a:lnTo>
                    <a:pt x="144" y="780"/>
                  </a:lnTo>
                  <a:lnTo>
                    <a:pt x="138" y="786"/>
                  </a:lnTo>
                  <a:lnTo>
                    <a:pt x="138" y="792"/>
                  </a:lnTo>
                  <a:lnTo>
                    <a:pt x="126" y="804"/>
                  </a:lnTo>
                  <a:lnTo>
                    <a:pt x="114" y="810"/>
                  </a:lnTo>
                  <a:lnTo>
                    <a:pt x="108" y="810"/>
                  </a:lnTo>
                  <a:lnTo>
                    <a:pt x="108" y="816"/>
                  </a:lnTo>
                  <a:lnTo>
                    <a:pt x="114" y="816"/>
                  </a:lnTo>
                  <a:lnTo>
                    <a:pt x="120" y="822"/>
                  </a:lnTo>
                  <a:lnTo>
                    <a:pt x="150" y="822"/>
                  </a:lnTo>
                  <a:lnTo>
                    <a:pt x="156" y="810"/>
                  </a:lnTo>
                  <a:lnTo>
                    <a:pt x="174" y="792"/>
                  </a:lnTo>
                  <a:lnTo>
                    <a:pt x="210" y="792"/>
                  </a:lnTo>
                  <a:lnTo>
                    <a:pt x="216" y="798"/>
                  </a:lnTo>
                  <a:lnTo>
                    <a:pt x="228" y="804"/>
                  </a:lnTo>
                  <a:lnTo>
                    <a:pt x="240" y="804"/>
                  </a:lnTo>
                  <a:lnTo>
                    <a:pt x="246" y="792"/>
                  </a:lnTo>
                  <a:lnTo>
                    <a:pt x="252" y="786"/>
                  </a:lnTo>
                  <a:lnTo>
                    <a:pt x="258" y="774"/>
                  </a:lnTo>
                  <a:lnTo>
                    <a:pt x="270" y="762"/>
                  </a:lnTo>
                  <a:lnTo>
                    <a:pt x="288" y="762"/>
                  </a:lnTo>
                  <a:lnTo>
                    <a:pt x="300" y="774"/>
                  </a:lnTo>
                  <a:lnTo>
                    <a:pt x="330" y="774"/>
                  </a:lnTo>
                  <a:lnTo>
                    <a:pt x="354" y="762"/>
                  </a:lnTo>
                  <a:lnTo>
                    <a:pt x="360" y="762"/>
                  </a:lnTo>
                  <a:lnTo>
                    <a:pt x="366" y="768"/>
                  </a:lnTo>
                  <a:lnTo>
                    <a:pt x="378" y="768"/>
                  </a:lnTo>
                  <a:lnTo>
                    <a:pt x="390" y="774"/>
                  </a:lnTo>
                  <a:lnTo>
                    <a:pt x="396" y="774"/>
                  </a:lnTo>
                  <a:lnTo>
                    <a:pt x="396" y="768"/>
                  </a:lnTo>
                  <a:lnTo>
                    <a:pt x="390" y="762"/>
                  </a:lnTo>
                  <a:lnTo>
                    <a:pt x="390" y="750"/>
                  </a:lnTo>
                  <a:lnTo>
                    <a:pt x="396" y="750"/>
                  </a:lnTo>
                  <a:lnTo>
                    <a:pt x="408" y="756"/>
                  </a:lnTo>
                  <a:lnTo>
                    <a:pt x="414" y="762"/>
                  </a:lnTo>
                  <a:lnTo>
                    <a:pt x="426" y="756"/>
                  </a:lnTo>
                  <a:lnTo>
                    <a:pt x="498" y="756"/>
                  </a:lnTo>
                  <a:lnTo>
                    <a:pt x="522" y="750"/>
                  </a:lnTo>
                  <a:lnTo>
                    <a:pt x="534" y="744"/>
                  </a:lnTo>
                  <a:lnTo>
                    <a:pt x="540" y="732"/>
                  </a:lnTo>
                  <a:lnTo>
                    <a:pt x="546" y="726"/>
                  </a:lnTo>
                  <a:lnTo>
                    <a:pt x="552" y="714"/>
                  </a:lnTo>
                  <a:lnTo>
                    <a:pt x="498" y="708"/>
                  </a:lnTo>
                  <a:lnTo>
                    <a:pt x="522" y="702"/>
                  </a:lnTo>
                  <a:lnTo>
                    <a:pt x="516" y="684"/>
                  </a:lnTo>
                  <a:lnTo>
                    <a:pt x="528" y="672"/>
                  </a:lnTo>
                  <a:lnTo>
                    <a:pt x="540" y="666"/>
                  </a:lnTo>
                  <a:lnTo>
                    <a:pt x="546" y="666"/>
                  </a:lnTo>
                  <a:lnTo>
                    <a:pt x="558" y="660"/>
                  </a:lnTo>
                  <a:lnTo>
                    <a:pt x="564" y="654"/>
                  </a:lnTo>
                  <a:lnTo>
                    <a:pt x="576" y="618"/>
                  </a:lnTo>
                  <a:lnTo>
                    <a:pt x="570" y="606"/>
                  </a:lnTo>
                  <a:lnTo>
                    <a:pt x="564" y="600"/>
                  </a:lnTo>
                  <a:lnTo>
                    <a:pt x="552" y="594"/>
                  </a:lnTo>
                  <a:lnTo>
                    <a:pt x="540" y="594"/>
                  </a:lnTo>
                  <a:lnTo>
                    <a:pt x="528" y="588"/>
                  </a:lnTo>
                  <a:lnTo>
                    <a:pt x="504" y="588"/>
                  </a:lnTo>
                  <a:close/>
                  <a:moveTo>
                    <a:pt x="222" y="486"/>
                  </a:moveTo>
                  <a:lnTo>
                    <a:pt x="216" y="480"/>
                  </a:lnTo>
                  <a:lnTo>
                    <a:pt x="204" y="480"/>
                  </a:lnTo>
                  <a:lnTo>
                    <a:pt x="204" y="486"/>
                  </a:lnTo>
                  <a:lnTo>
                    <a:pt x="198" y="498"/>
                  </a:lnTo>
                  <a:lnTo>
                    <a:pt x="192" y="504"/>
                  </a:lnTo>
                  <a:lnTo>
                    <a:pt x="210" y="504"/>
                  </a:lnTo>
                  <a:lnTo>
                    <a:pt x="222" y="492"/>
                  </a:lnTo>
                  <a:lnTo>
                    <a:pt x="222" y="486"/>
                  </a:lnTo>
                  <a:close/>
                  <a:moveTo>
                    <a:pt x="126" y="504"/>
                  </a:moveTo>
                  <a:lnTo>
                    <a:pt x="132" y="498"/>
                  </a:lnTo>
                  <a:lnTo>
                    <a:pt x="132" y="492"/>
                  </a:lnTo>
                  <a:lnTo>
                    <a:pt x="144" y="492"/>
                  </a:lnTo>
                  <a:lnTo>
                    <a:pt x="150" y="480"/>
                  </a:lnTo>
                  <a:lnTo>
                    <a:pt x="156" y="474"/>
                  </a:lnTo>
                  <a:lnTo>
                    <a:pt x="156" y="462"/>
                  </a:lnTo>
                  <a:lnTo>
                    <a:pt x="138" y="444"/>
                  </a:lnTo>
                  <a:lnTo>
                    <a:pt x="138" y="432"/>
                  </a:lnTo>
                  <a:lnTo>
                    <a:pt x="132" y="438"/>
                  </a:lnTo>
                  <a:lnTo>
                    <a:pt x="126" y="426"/>
                  </a:lnTo>
                  <a:lnTo>
                    <a:pt x="120" y="420"/>
                  </a:lnTo>
                  <a:lnTo>
                    <a:pt x="78" y="420"/>
                  </a:lnTo>
                  <a:lnTo>
                    <a:pt x="72" y="426"/>
                  </a:lnTo>
                  <a:lnTo>
                    <a:pt x="30" y="450"/>
                  </a:lnTo>
                  <a:lnTo>
                    <a:pt x="30" y="462"/>
                  </a:lnTo>
                  <a:lnTo>
                    <a:pt x="24" y="462"/>
                  </a:lnTo>
                  <a:lnTo>
                    <a:pt x="18" y="468"/>
                  </a:lnTo>
                  <a:lnTo>
                    <a:pt x="12" y="468"/>
                  </a:lnTo>
                  <a:lnTo>
                    <a:pt x="0" y="480"/>
                  </a:lnTo>
                  <a:lnTo>
                    <a:pt x="6" y="486"/>
                  </a:lnTo>
                  <a:lnTo>
                    <a:pt x="30" y="498"/>
                  </a:lnTo>
                  <a:lnTo>
                    <a:pt x="42" y="498"/>
                  </a:lnTo>
                  <a:lnTo>
                    <a:pt x="66" y="474"/>
                  </a:lnTo>
                  <a:lnTo>
                    <a:pt x="84" y="498"/>
                  </a:lnTo>
                  <a:lnTo>
                    <a:pt x="120" y="504"/>
                  </a:lnTo>
                  <a:lnTo>
                    <a:pt x="126" y="504"/>
                  </a:lnTo>
                  <a:close/>
                  <a:moveTo>
                    <a:pt x="78" y="228"/>
                  </a:moveTo>
                  <a:lnTo>
                    <a:pt x="72" y="228"/>
                  </a:lnTo>
                  <a:lnTo>
                    <a:pt x="66" y="234"/>
                  </a:lnTo>
                  <a:lnTo>
                    <a:pt x="66" y="240"/>
                  </a:lnTo>
                  <a:lnTo>
                    <a:pt x="84" y="240"/>
                  </a:lnTo>
                  <a:lnTo>
                    <a:pt x="84" y="228"/>
                  </a:lnTo>
                  <a:lnTo>
                    <a:pt x="78" y="228"/>
                  </a:lnTo>
                  <a:close/>
                  <a:moveTo>
                    <a:pt x="108" y="210"/>
                  </a:moveTo>
                  <a:lnTo>
                    <a:pt x="126" y="210"/>
                  </a:lnTo>
                  <a:lnTo>
                    <a:pt x="132" y="204"/>
                  </a:lnTo>
                  <a:lnTo>
                    <a:pt x="132" y="198"/>
                  </a:lnTo>
                  <a:lnTo>
                    <a:pt x="138" y="186"/>
                  </a:lnTo>
                  <a:lnTo>
                    <a:pt x="150" y="174"/>
                  </a:lnTo>
                  <a:lnTo>
                    <a:pt x="150" y="168"/>
                  </a:lnTo>
                  <a:lnTo>
                    <a:pt x="138" y="174"/>
                  </a:lnTo>
                  <a:lnTo>
                    <a:pt x="132" y="174"/>
                  </a:lnTo>
                  <a:lnTo>
                    <a:pt x="114" y="192"/>
                  </a:lnTo>
                  <a:lnTo>
                    <a:pt x="108" y="186"/>
                  </a:lnTo>
                  <a:lnTo>
                    <a:pt x="96" y="186"/>
                  </a:lnTo>
                  <a:lnTo>
                    <a:pt x="90" y="192"/>
                  </a:lnTo>
                  <a:lnTo>
                    <a:pt x="90" y="210"/>
                  </a:lnTo>
                  <a:lnTo>
                    <a:pt x="96" y="216"/>
                  </a:lnTo>
                  <a:lnTo>
                    <a:pt x="96" y="228"/>
                  </a:lnTo>
                  <a:lnTo>
                    <a:pt x="108" y="210"/>
                  </a:lnTo>
                  <a:close/>
                  <a:moveTo>
                    <a:pt x="72" y="252"/>
                  </a:moveTo>
                  <a:lnTo>
                    <a:pt x="60" y="282"/>
                  </a:lnTo>
                  <a:lnTo>
                    <a:pt x="78" y="258"/>
                  </a:lnTo>
                  <a:lnTo>
                    <a:pt x="72" y="252"/>
                  </a:lnTo>
                  <a:close/>
                </a:path>
              </a:pathLst>
            </a:custGeom>
            <a:solidFill>
              <a:srgbClr val="005995"/>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56" name="United Arab Emirates" descr="© INSCALE GmbH, 05.05.2010&#10;http://www.presentationload.com/"/>
            <p:cNvSpPr>
              <a:spLocks/>
            </p:cNvSpPr>
            <p:nvPr/>
          </p:nvSpPr>
          <p:spPr bwMode="gray">
            <a:xfrm>
              <a:off x="5662617" y="3217863"/>
              <a:ext cx="134937" cy="128587"/>
            </a:xfrm>
            <a:custGeom>
              <a:avLst/>
              <a:gdLst>
                <a:gd name="T0" fmla="*/ 2147483647 w 336"/>
                <a:gd name="T1" fmla="*/ 2147483647 h 318"/>
                <a:gd name="T2" fmla="*/ 2147483647 w 336"/>
                <a:gd name="T3" fmla="*/ 2147483647 h 318"/>
                <a:gd name="T4" fmla="*/ 2147483647 w 336"/>
                <a:gd name="T5" fmla="*/ 2147483647 h 318"/>
                <a:gd name="T6" fmla="*/ 2147483647 w 336"/>
                <a:gd name="T7" fmla="*/ 2147483647 h 318"/>
                <a:gd name="T8" fmla="*/ 2147483647 w 336"/>
                <a:gd name="T9" fmla="*/ 2147483647 h 318"/>
                <a:gd name="T10" fmla="*/ 2147483647 w 336"/>
                <a:gd name="T11" fmla="*/ 0 h 318"/>
                <a:gd name="T12" fmla="*/ 2147483647 w 336"/>
                <a:gd name="T13" fmla="*/ 2147483647 h 318"/>
                <a:gd name="T14" fmla="*/ 2147483647 w 336"/>
                <a:gd name="T15" fmla="*/ 2147483647 h 318"/>
                <a:gd name="T16" fmla="*/ 2147483647 w 336"/>
                <a:gd name="T17" fmla="*/ 2147483647 h 318"/>
                <a:gd name="T18" fmla="*/ 2147483647 w 336"/>
                <a:gd name="T19" fmla="*/ 2147483647 h 318"/>
                <a:gd name="T20" fmla="*/ 2147483647 w 336"/>
                <a:gd name="T21" fmla="*/ 2147483647 h 318"/>
                <a:gd name="T22" fmla="*/ 2147483647 w 336"/>
                <a:gd name="T23" fmla="*/ 2147483647 h 318"/>
                <a:gd name="T24" fmla="*/ 2147483647 w 336"/>
                <a:gd name="T25" fmla="*/ 2147483647 h 318"/>
                <a:gd name="T26" fmla="*/ 2147483647 w 336"/>
                <a:gd name="T27" fmla="*/ 2147483647 h 318"/>
                <a:gd name="T28" fmla="*/ 2147483647 w 336"/>
                <a:gd name="T29" fmla="*/ 2147483647 h 318"/>
                <a:gd name="T30" fmla="*/ 2147483647 w 336"/>
                <a:gd name="T31" fmla="*/ 2147483647 h 318"/>
                <a:gd name="T32" fmla="*/ 2147483647 w 336"/>
                <a:gd name="T33" fmla="*/ 2147483647 h 318"/>
                <a:gd name="T34" fmla="*/ 2147483647 w 336"/>
                <a:gd name="T35" fmla="*/ 2147483647 h 318"/>
                <a:gd name="T36" fmla="*/ 0 w 336"/>
                <a:gd name="T37" fmla="*/ 2147483647 h 318"/>
                <a:gd name="T38" fmla="*/ 2147483647 w 336"/>
                <a:gd name="T39" fmla="*/ 2147483647 h 318"/>
                <a:gd name="T40" fmla="*/ 2147483647 w 336"/>
                <a:gd name="T41" fmla="*/ 2147483647 h 318"/>
                <a:gd name="T42" fmla="*/ 2147483647 w 336"/>
                <a:gd name="T43" fmla="*/ 2147483647 h 318"/>
                <a:gd name="T44" fmla="*/ 2147483647 w 336"/>
                <a:gd name="T45" fmla="*/ 2147483647 h 318"/>
                <a:gd name="T46" fmla="*/ 2147483647 w 336"/>
                <a:gd name="T47" fmla="*/ 2147483647 h 318"/>
                <a:gd name="T48" fmla="*/ 2147483647 w 336"/>
                <a:gd name="T49" fmla="*/ 2147483647 h 318"/>
                <a:gd name="T50" fmla="*/ 2147483647 w 336"/>
                <a:gd name="T51" fmla="*/ 2147483647 h 318"/>
                <a:gd name="T52" fmla="*/ 2147483647 w 336"/>
                <a:gd name="T53" fmla="*/ 2147483647 h 318"/>
                <a:gd name="T54" fmla="*/ 2147483647 w 336"/>
                <a:gd name="T55" fmla="*/ 2147483647 h 318"/>
                <a:gd name="T56" fmla="*/ 2147483647 w 336"/>
                <a:gd name="T57" fmla="*/ 2147483647 h 318"/>
                <a:gd name="T58" fmla="*/ 2147483647 w 336"/>
                <a:gd name="T59" fmla="*/ 2147483647 h 318"/>
                <a:gd name="T60" fmla="*/ 2147483647 w 336"/>
                <a:gd name="T61" fmla="*/ 2147483647 h 318"/>
                <a:gd name="T62" fmla="*/ 2147483647 w 336"/>
                <a:gd name="T63" fmla="*/ 2147483647 h 318"/>
                <a:gd name="T64" fmla="*/ 2147483647 w 336"/>
                <a:gd name="T65" fmla="*/ 2147483647 h 318"/>
                <a:gd name="T66" fmla="*/ 2147483647 w 336"/>
                <a:gd name="T67" fmla="*/ 2147483647 h 318"/>
                <a:gd name="T68" fmla="*/ 2147483647 w 336"/>
                <a:gd name="T69" fmla="*/ 2147483647 h 31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6"/>
                <a:gd name="T106" fmla="*/ 0 h 318"/>
                <a:gd name="T107" fmla="*/ 336 w 336"/>
                <a:gd name="T108" fmla="*/ 318 h 31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6" h="318">
                  <a:moveTo>
                    <a:pt x="300" y="120"/>
                  </a:moveTo>
                  <a:lnTo>
                    <a:pt x="306" y="120"/>
                  </a:lnTo>
                  <a:lnTo>
                    <a:pt x="306" y="126"/>
                  </a:lnTo>
                  <a:lnTo>
                    <a:pt x="312" y="138"/>
                  </a:lnTo>
                  <a:lnTo>
                    <a:pt x="336" y="132"/>
                  </a:lnTo>
                  <a:lnTo>
                    <a:pt x="330" y="120"/>
                  </a:lnTo>
                  <a:lnTo>
                    <a:pt x="324" y="102"/>
                  </a:lnTo>
                  <a:lnTo>
                    <a:pt x="324" y="60"/>
                  </a:lnTo>
                  <a:lnTo>
                    <a:pt x="330" y="42"/>
                  </a:lnTo>
                  <a:lnTo>
                    <a:pt x="330" y="6"/>
                  </a:lnTo>
                  <a:lnTo>
                    <a:pt x="324" y="0"/>
                  </a:lnTo>
                  <a:lnTo>
                    <a:pt x="318" y="0"/>
                  </a:lnTo>
                  <a:lnTo>
                    <a:pt x="312" y="6"/>
                  </a:lnTo>
                  <a:lnTo>
                    <a:pt x="306" y="18"/>
                  </a:lnTo>
                  <a:lnTo>
                    <a:pt x="300" y="36"/>
                  </a:lnTo>
                  <a:lnTo>
                    <a:pt x="288" y="60"/>
                  </a:lnTo>
                  <a:lnTo>
                    <a:pt x="282" y="66"/>
                  </a:lnTo>
                  <a:lnTo>
                    <a:pt x="282" y="72"/>
                  </a:lnTo>
                  <a:lnTo>
                    <a:pt x="276" y="72"/>
                  </a:lnTo>
                  <a:lnTo>
                    <a:pt x="264" y="78"/>
                  </a:lnTo>
                  <a:lnTo>
                    <a:pt x="234" y="108"/>
                  </a:lnTo>
                  <a:lnTo>
                    <a:pt x="228" y="120"/>
                  </a:lnTo>
                  <a:lnTo>
                    <a:pt x="216" y="132"/>
                  </a:lnTo>
                  <a:lnTo>
                    <a:pt x="204" y="138"/>
                  </a:lnTo>
                  <a:lnTo>
                    <a:pt x="198" y="150"/>
                  </a:lnTo>
                  <a:lnTo>
                    <a:pt x="198" y="168"/>
                  </a:lnTo>
                  <a:lnTo>
                    <a:pt x="192" y="180"/>
                  </a:lnTo>
                  <a:lnTo>
                    <a:pt x="192" y="186"/>
                  </a:lnTo>
                  <a:lnTo>
                    <a:pt x="186" y="192"/>
                  </a:lnTo>
                  <a:lnTo>
                    <a:pt x="150" y="192"/>
                  </a:lnTo>
                  <a:lnTo>
                    <a:pt x="132" y="186"/>
                  </a:lnTo>
                  <a:lnTo>
                    <a:pt x="90" y="186"/>
                  </a:lnTo>
                  <a:lnTo>
                    <a:pt x="72" y="192"/>
                  </a:lnTo>
                  <a:lnTo>
                    <a:pt x="48" y="204"/>
                  </a:lnTo>
                  <a:lnTo>
                    <a:pt x="24" y="204"/>
                  </a:lnTo>
                  <a:lnTo>
                    <a:pt x="12" y="192"/>
                  </a:lnTo>
                  <a:lnTo>
                    <a:pt x="0" y="186"/>
                  </a:lnTo>
                  <a:lnTo>
                    <a:pt x="0" y="198"/>
                  </a:lnTo>
                  <a:lnTo>
                    <a:pt x="18" y="216"/>
                  </a:lnTo>
                  <a:lnTo>
                    <a:pt x="30" y="240"/>
                  </a:lnTo>
                  <a:lnTo>
                    <a:pt x="54" y="264"/>
                  </a:lnTo>
                  <a:lnTo>
                    <a:pt x="60" y="276"/>
                  </a:lnTo>
                  <a:lnTo>
                    <a:pt x="72" y="282"/>
                  </a:lnTo>
                  <a:lnTo>
                    <a:pt x="78" y="294"/>
                  </a:lnTo>
                  <a:lnTo>
                    <a:pt x="96" y="294"/>
                  </a:lnTo>
                  <a:lnTo>
                    <a:pt x="132" y="300"/>
                  </a:lnTo>
                  <a:lnTo>
                    <a:pt x="228" y="312"/>
                  </a:lnTo>
                  <a:lnTo>
                    <a:pt x="270" y="318"/>
                  </a:lnTo>
                  <a:lnTo>
                    <a:pt x="264" y="306"/>
                  </a:lnTo>
                  <a:lnTo>
                    <a:pt x="258" y="300"/>
                  </a:lnTo>
                  <a:lnTo>
                    <a:pt x="252" y="288"/>
                  </a:lnTo>
                  <a:lnTo>
                    <a:pt x="252" y="276"/>
                  </a:lnTo>
                  <a:lnTo>
                    <a:pt x="258" y="270"/>
                  </a:lnTo>
                  <a:lnTo>
                    <a:pt x="264" y="258"/>
                  </a:lnTo>
                  <a:lnTo>
                    <a:pt x="270" y="252"/>
                  </a:lnTo>
                  <a:lnTo>
                    <a:pt x="276" y="240"/>
                  </a:lnTo>
                  <a:lnTo>
                    <a:pt x="276" y="228"/>
                  </a:lnTo>
                  <a:lnTo>
                    <a:pt x="282" y="216"/>
                  </a:lnTo>
                  <a:lnTo>
                    <a:pt x="282" y="204"/>
                  </a:lnTo>
                  <a:lnTo>
                    <a:pt x="288" y="198"/>
                  </a:lnTo>
                  <a:lnTo>
                    <a:pt x="288" y="192"/>
                  </a:lnTo>
                  <a:lnTo>
                    <a:pt x="300" y="192"/>
                  </a:lnTo>
                  <a:lnTo>
                    <a:pt x="300" y="198"/>
                  </a:lnTo>
                  <a:lnTo>
                    <a:pt x="306" y="198"/>
                  </a:lnTo>
                  <a:lnTo>
                    <a:pt x="306" y="192"/>
                  </a:lnTo>
                  <a:lnTo>
                    <a:pt x="288" y="174"/>
                  </a:lnTo>
                  <a:lnTo>
                    <a:pt x="288" y="144"/>
                  </a:lnTo>
                  <a:lnTo>
                    <a:pt x="294" y="132"/>
                  </a:lnTo>
                  <a:lnTo>
                    <a:pt x="294" y="126"/>
                  </a:lnTo>
                  <a:lnTo>
                    <a:pt x="300" y="120"/>
                  </a:lnTo>
                  <a:close/>
                </a:path>
              </a:pathLst>
            </a:custGeom>
            <a:solidFill>
              <a:srgbClr val="FFC000"/>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57" name="Ukraine" descr="© INSCALE GmbH, 05.05.2010&#10;http://www.presentationload.com/"/>
            <p:cNvSpPr>
              <a:spLocks/>
            </p:cNvSpPr>
            <p:nvPr/>
          </p:nvSpPr>
          <p:spPr bwMode="gray">
            <a:xfrm>
              <a:off x="4806954" y="2389188"/>
              <a:ext cx="449262" cy="252412"/>
            </a:xfrm>
            <a:custGeom>
              <a:avLst/>
              <a:gdLst>
                <a:gd name="T0" fmla="*/ 2147483647 w 1116"/>
                <a:gd name="T1" fmla="*/ 2147483647 h 624"/>
                <a:gd name="T2" fmla="*/ 2147483647 w 1116"/>
                <a:gd name="T3" fmla="*/ 2147483647 h 624"/>
                <a:gd name="T4" fmla="*/ 2147483647 w 1116"/>
                <a:gd name="T5" fmla="*/ 2147483647 h 624"/>
                <a:gd name="T6" fmla="*/ 2147483647 w 1116"/>
                <a:gd name="T7" fmla="*/ 2147483647 h 624"/>
                <a:gd name="T8" fmla="*/ 2147483647 w 1116"/>
                <a:gd name="T9" fmla="*/ 2147483647 h 624"/>
                <a:gd name="T10" fmla="*/ 2147483647 w 1116"/>
                <a:gd name="T11" fmla="*/ 2147483647 h 624"/>
                <a:gd name="T12" fmla="*/ 2147483647 w 1116"/>
                <a:gd name="T13" fmla="*/ 2147483647 h 624"/>
                <a:gd name="T14" fmla="*/ 2147483647 w 1116"/>
                <a:gd name="T15" fmla="*/ 2147483647 h 624"/>
                <a:gd name="T16" fmla="*/ 2147483647 w 1116"/>
                <a:gd name="T17" fmla="*/ 2147483647 h 624"/>
                <a:gd name="T18" fmla="*/ 2147483647 w 1116"/>
                <a:gd name="T19" fmla="*/ 2147483647 h 624"/>
                <a:gd name="T20" fmla="*/ 2147483647 w 1116"/>
                <a:gd name="T21" fmla="*/ 2147483647 h 624"/>
                <a:gd name="T22" fmla="*/ 2147483647 w 1116"/>
                <a:gd name="T23" fmla="*/ 2147483647 h 624"/>
                <a:gd name="T24" fmla="*/ 2147483647 w 1116"/>
                <a:gd name="T25" fmla="*/ 2147483647 h 624"/>
                <a:gd name="T26" fmla="*/ 2147483647 w 1116"/>
                <a:gd name="T27" fmla="*/ 2147483647 h 624"/>
                <a:gd name="T28" fmla="*/ 2147483647 w 1116"/>
                <a:gd name="T29" fmla="*/ 2147483647 h 624"/>
                <a:gd name="T30" fmla="*/ 2147483647 w 1116"/>
                <a:gd name="T31" fmla="*/ 2147483647 h 624"/>
                <a:gd name="T32" fmla="*/ 2147483647 w 1116"/>
                <a:gd name="T33" fmla="*/ 2147483647 h 624"/>
                <a:gd name="T34" fmla="*/ 2147483647 w 1116"/>
                <a:gd name="T35" fmla="*/ 2147483647 h 624"/>
                <a:gd name="T36" fmla="*/ 2147483647 w 1116"/>
                <a:gd name="T37" fmla="*/ 2147483647 h 624"/>
                <a:gd name="T38" fmla="*/ 2147483647 w 1116"/>
                <a:gd name="T39" fmla="*/ 2147483647 h 624"/>
                <a:gd name="T40" fmla="*/ 2147483647 w 1116"/>
                <a:gd name="T41" fmla="*/ 2147483647 h 624"/>
                <a:gd name="T42" fmla="*/ 2147483647 w 1116"/>
                <a:gd name="T43" fmla="*/ 2147483647 h 624"/>
                <a:gd name="T44" fmla="*/ 2147483647 w 1116"/>
                <a:gd name="T45" fmla="*/ 2147483647 h 624"/>
                <a:gd name="T46" fmla="*/ 2147483647 w 1116"/>
                <a:gd name="T47" fmla="*/ 2147483647 h 624"/>
                <a:gd name="T48" fmla="*/ 2147483647 w 1116"/>
                <a:gd name="T49" fmla="*/ 2147483647 h 624"/>
                <a:gd name="T50" fmla="*/ 2147483647 w 1116"/>
                <a:gd name="T51" fmla="*/ 2147483647 h 624"/>
                <a:gd name="T52" fmla="*/ 2147483647 w 1116"/>
                <a:gd name="T53" fmla="*/ 2147483647 h 624"/>
                <a:gd name="T54" fmla="*/ 2147483647 w 1116"/>
                <a:gd name="T55" fmla="*/ 2147483647 h 624"/>
                <a:gd name="T56" fmla="*/ 2147483647 w 1116"/>
                <a:gd name="T57" fmla="*/ 2147483647 h 624"/>
                <a:gd name="T58" fmla="*/ 2147483647 w 1116"/>
                <a:gd name="T59" fmla="*/ 2147483647 h 624"/>
                <a:gd name="T60" fmla="*/ 2147483647 w 1116"/>
                <a:gd name="T61" fmla="*/ 2147483647 h 624"/>
                <a:gd name="T62" fmla="*/ 2147483647 w 1116"/>
                <a:gd name="T63" fmla="*/ 2147483647 h 624"/>
                <a:gd name="T64" fmla="*/ 2147483647 w 1116"/>
                <a:gd name="T65" fmla="*/ 2147483647 h 624"/>
                <a:gd name="T66" fmla="*/ 2147483647 w 1116"/>
                <a:gd name="T67" fmla="*/ 2147483647 h 624"/>
                <a:gd name="T68" fmla="*/ 2147483647 w 1116"/>
                <a:gd name="T69" fmla="*/ 2147483647 h 624"/>
                <a:gd name="T70" fmla="*/ 2147483647 w 1116"/>
                <a:gd name="T71" fmla="*/ 2147483647 h 624"/>
                <a:gd name="T72" fmla="*/ 2147483647 w 1116"/>
                <a:gd name="T73" fmla="*/ 2147483647 h 624"/>
                <a:gd name="T74" fmla="*/ 2147483647 w 1116"/>
                <a:gd name="T75" fmla="*/ 2147483647 h 624"/>
                <a:gd name="T76" fmla="*/ 2147483647 w 1116"/>
                <a:gd name="T77" fmla="*/ 2147483647 h 624"/>
                <a:gd name="T78" fmla="*/ 2147483647 w 1116"/>
                <a:gd name="T79" fmla="*/ 2147483647 h 624"/>
                <a:gd name="T80" fmla="*/ 2147483647 w 1116"/>
                <a:gd name="T81" fmla="*/ 2147483647 h 624"/>
                <a:gd name="T82" fmla="*/ 2147483647 w 1116"/>
                <a:gd name="T83" fmla="*/ 2147483647 h 624"/>
                <a:gd name="T84" fmla="*/ 2147483647 w 1116"/>
                <a:gd name="T85" fmla="*/ 2147483647 h 624"/>
                <a:gd name="T86" fmla="*/ 2147483647 w 1116"/>
                <a:gd name="T87" fmla="*/ 2147483647 h 624"/>
                <a:gd name="T88" fmla="*/ 2147483647 w 1116"/>
                <a:gd name="T89" fmla="*/ 0 h 624"/>
                <a:gd name="T90" fmla="*/ 2147483647 w 1116"/>
                <a:gd name="T91" fmla="*/ 2147483647 h 624"/>
                <a:gd name="T92" fmla="*/ 2147483647 w 1116"/>
                <a:gd name="T93" fmla="*/ 2147483647 h 624"/>
                <a:gd name="T94" fmla="*/ 2147483647 w 1116"/>
                <a:gd name="T95" fmla="*/ 2147483647 h 624"/>
                <a:gd name="T96" fmla="*/ 2147483647 w 1116"/>
                <a:gd name="T97" fmla="*/ 2147483647 h 624"/>
                <a:gd name="T98" fmla="*/ 2147483647 w 1116"/>
                <a:gd name="T99" fmla="*/ 2147483647 h 624"/>
                <a:gd name="T100" fmla="*/ 2147483647 w 1116"/>
                <a:gd name="T101" fmla="*/ 2147483647 h 624"/>
                <a:gd name="T102" fmla="*/ 2147483647 w 1116"/>
                <a:gd name="T103" fmla="*/ 2147483647 h 624"/>
                <a:gd name="T104" fmla="*/ 2147483647 w 1116"/>
                <a:gd name="T105" fmla="*/ 2147483647 h 624"/>
                <a:gd name="T106" fmla="*/ 2147483647 w 1116"/>
                <a:gd name="T107" fmla="*/ 2147483647 h 624"/>
                <a:gd name="T108" fmla="*/ 2147483647 w 1116"/>
                <a:gd name="T109" fmla="*/ 2147483647 h 624"/>
                <a:gd name="T110" fmla="*/ 2147483647 w 1116"/>
                <a:gd name="T111" fmla="*/ 2147483647 h 624"/>
                <a:gd name="T112" fmla="*/ 2147483647 w 1116"/>
                <a:gd name="T113" fmla="*/ 2147483647 h 624"/>
                <a:gd name="T114" fmla="*/ 2147483647 w 1116"/>
                <a:gd name="T115" fmla="*/ 2147483647 h 624"/>
                <a:gd name="T116" fmla="*/ 2147483647 w 1116"/>
                <a:gd name="T117" fmla="*/ 2147483647 h 6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16"/>
                <a:gd name="T178" fmla="*/ 0 h 624"/>
                <a:gd name="T179" fmla="*/ 1116 w 1116"/>
                <a:gd name="T180" fmla="*/ 624 h 6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16" h="624">
                  <a:moveTo>
                    <a:pt x="24" y="324"/>
                  </a:moveTo>
                  <a:lnTo>
                    <a:pt x="30" y="324"/>
                  </a:lnTo>
                  <a:lnTo>
                    <a:pt x="36" y="330"/>
                  </a:lnTo>
                  <a:lnTo>
                    <a:pt x="48" y="330"/>
                  </a:lnTo>
                  <a:lnTo>
                    <a:pt x="54" y="336"/>
                  </a:lnTo>
                  <a:lnTo>
                    <a:pt x="78" y="336"/>
                  </a:lnTo>
                  <a:lnTo>
                    <a:pt x="84" y="342"/>
                  </a:lnTo>
                  <a:lnTo>
                    <a:pt x="108" y="342"/>
                  </a:lnTo>
                  <a:lnTo>
                    <a:pt x="114" y="348"/>
                  </a:lnTo>
                  <a:lnTo>
                    <a:pt x="126" y="342"/>
                  </a:lnTo>
                  <a:lnTo>
                    <a:pt x="132" y="342"/>
                  </a:lnTo>
                  <a:lnTo>
                    <a:pt x="144" y="336"/>
                  </a:lnTo>
                  <a:lnTo>
                    <a:pt x="150" y="336"/>
                  </a:lnTo>
                  <a:lnTo>
                    <a:pt x="174" y="360"/>
                  </a:lnTo>
                  <a:lnTo>
                    <a:pt x="186" y="360"/>
                  </a:lnTo>
                  <a:lnTo>
                    <a:pt x="198" y="348"/>
                  </a:lnTo>
                  <a:lnTo>
                    <a:pt x="198" y="342"/>
                  </a:lnTo>
                  <a:lnTo>
                    <a:pt x="222" y="348"/>
                  </a:lnTo>
                  <a:lnTo>
                    <a:pt x="228" y="336"/>
                  </a:lnTo>
                  <a:lnTo>
                    <a:pt x="234" y="342"/>
                  </a:lnTo>
                  <a:lnTo>
                    <a:pt x="252" y="342"/>
                  </a:lnTo>
                  <a:lnTo>
                    <a:pt x="258" y="336"/>
                  </a:lnTo>
                  <a:lnTo>
                    <a:pt x="258" y="330"/>
                  </a:lnTo>
                  <a:lnTo>
                    <a:pt x="270" y="318"/>
                  </a:lnTo>
                  <a:lnTo>
                    <a:pt x="282" y="318"/>
                  </a:lnTo>
                  <a:lnTo>
                    <a:pt x="288" y="306"/>
                  </a:lnTo>
                  <a:lnTo>
                    <a:pt x="294" y="306"/>
                  </a:lnTo>
                  <a:lnTo>
                    <a:pt x="306" y="312"/>
                  </a:lnTo>
                  <a:lnTo>
                    <a:pt x="318" y="312"/>
                  </a:lnTo>
                  <a:lnTo>
                    <a:pt x="318" y="306"/>
                  </a:lnTo>
                  <a:lnTo>
                    <a:pt x="324" y="306"/>
                  </a:lnTo>
                  <a:lnTo>
                    <a:pt x="336" y="300"/>
                  </a:lnTo>
                  <a:lnTo>
                    <a:pt x="342" y="300"/>
                  </a:lnTo>
                  <a:lnTo>
                    <a:pt x="354" y="312"/>
                  </a:lnTo>
                  <a:lnTo>
                    <a:pt x="360" y="312"/>
                  </a:lnTo>
                  <a:lnTo>
                    <a:pt x="360" y="318"/>
                  </a:lnTo>
                  <a:lnTo>
                    <a:pt x="402" y="318"/>
                  </a:lnTo>
                  <a:lnTo>
                    <a:pt x="408" y="324"/>
                  </a:lnTo>
                  <a:lnTo>
                    <a:pt x="408" y="336"/>
                  </a:lnTo>
                  <a:lnTo>
                    <a:pt x="426" y="336"/>
                  </a:lnTo>
                  <a:lnTo>
                    <a:pt x="438" y="342"/>
                  </a:lnTo>
                  <a:lnTo>
                    <a:pt x="444" y="348"/>
                  </a:lnTo>
                  <a:lnTo>
                    <a:pt x="450" y="360"/>
                  </a:lnTo>
                  <a:lnTo>
                    <a:pt x="444" y="366"/>
                  </a:lnTo>
                  <a:lnTo>
                    <a:pt x="444" y="390"/>
                  </a:lnTo>
                  <a:lnTo>
                    <a:pt x="456" y="384"/>
                  </a:lnTo>
                  <a:lnTo>
                    <a:pt x="462" y="384"/>
                  </a:lnTo>
                  <a:lnTo>
                    <a:pt x="468" y="390"/>
                  </a:lnTo>
                  <a:lnTo>
                    <a:pt x="462" y="396"/>
                  </a:lnTo>
                  <a:lnTo>
                    <a:pt x="462" y="414"/>
                  </a:lnTo>
                  <a:lnTo>
                    <a:pt x="474" y="414"/>
                  </a:lnTo>
                  <a:lnTo>
                    <a:pt x="480" y="420"/>
                  </a:lnTo>
                  <a:lnTo>
                    <a:pt x="492" y="420"/>
                  </a:lnTo>
                  <a:lnTo>
                    <a:pt x="498" y="426"/>
                  </a:lnTo>
                  <a:lnTo>
                    <a:pt x="498" y="456"/>
                  </a:lnTo>
                  <a:lnTo>
                    <a:pt x="492" y="456"/>
                  </a:lnTo>
                  <a:lnTo>
                    <a:pt x="480" y="462"/>
                  </a:lnTo>
                  <a:lnTo>
                    <a:pt x="462" y="462"/>
                  </a:lnTo>
                  <a:lnTo>
                    <a:pt x="456" y="456"/>
                  </a:lnTo>
                  <a:lnTo>
                    <a:pt x="438" y="456"/>
                  </a:lnTo>
                  <a:lnTo>
                    <a:pt x="432" y="462"/>
                  </a:lnTo>
                  <a:lnTo>
                    <a:pt x="432" y="468"/>
                  </a:lnTo>
                  <a:lnTo>
                    <a:pt x="438" y="468"/>
                  </a:lnTo>
                  <a:lnTo>
                    <a:pt x="450" y="474"/>
                  </a:lnTo>
                  <a:lnTo>
                    <a:pt x="456" y="480"/>
                  </a:lnTo>
                  <a:lnTo>
                    <a:pt x="438" y="492"/>
                  </a:lnTo>
                  <a:lnTo>
                    <a:pt x="432" y="498"/>
                  </a:lnTo>
                  <a:lnTo>
                    <a:pt x="420" y="504"/>
                  </a:lnTo>
                  <a:lnTo>
                    <a:pt x="414" y="504"/>
                  </a:lnTo>
                  <a:lnTo>
                    <a:pt x="414" y="516"/>
                  </a:lnTo>
                  <a:lnTo>
                    <a:pt x="420" y="522"/>
                  </a:lnTo>
                  <a:lnTo>
                    <a:pt x="420" y="534"/>
                  </a:lnTo>
                  <a:lnTo>
                    <a:pt x="396" y="540"/>
                  </a:lnTo>
                  <a:lnTo>
                    <a:pt x="390" y="528"/>
                  </a:lnTo>
                  <a:lnTo>
                    <a:pt x="390" y="516"/>
                  </a:lnTo>
                  <a:lnTo>
                    <a:pt x="390" y="528"/>
                  </a:lnTo>
                  <a:lnTo>
                    <a:pt x="396" y="540"/>
                  </a:lnTo>
                  <a:lnTo>
                    <a:pt x="396" y="546"/>
                  </a:lnTo>
                  <a:lnTo>
                    <a:pt x="408" y="552"/>
                  </a:lnTo>
                  <a:lnTo>
                    <a:pt x="438" y="552"/>
                  </a:lnTo>
                  <a:lnTo>
                    <a:pt x="444" y="546"/>
                  </a:lnTo>
                  <a:lnTo>
                    <a:pt x="450" y="546"/>
                  </a:lnTo>
                  <a:lnTo>
                    <a:pt x="456" y="540"/>
                  </a:lnTo>
                  <a:lnTo>
                    <a:pt x="474" y="540"/>
                  </a:lnTo>
                  <a:lnTo>
                    <a:pt x="480" y="534"/>
                  </a:lnTo>
                  <a:lnTo>
                    <a:pt x="486" y="534"/>
                  </a:lnTo>
                  <a:lnTo>
                    <a:pt x="480" y="528"/>
                  </a:lnTo>
                  <a:lnTo>
                    <a:pt x="486" y="528"/>
                  </a:lnTo>
                  <a:lnTo>
                    <a:pt x="492" y="522"/>
                  </a:lnTo>
                  <a:lnTo>
                    <a:pt x="510" y="516"/>
                  </a:lnTo>
                  <a:lnTo>
                    <a:pt x="522" y="510"/>
                  </a:lnTo>
                  <a:lnTo>
                    <a:pt x="528" y="504"/>
                  </a:lnTo>
                  <a:lnTo>
                    <a:pt x="534" y="492"/>
                  </a:lnTo>
                  <a:lnTo>
                    <a:pt x="540" y="486"/>
                  </a:lnTo>
                  <a:lnTo>
                    <a:pt x="546" y="474"/>
                  </a:lnTo>
                  <a:lnTo>
                    <a:pt x="552" y="468"/>
                  </a:lnTo>
                  <a:lnTo>
                    <a:pt x="552" y="462"/>
                  </a:lnTo>
                  <a:lnTo>
                    <a:pt x="582" y="450"/>
                  </a:lnTo>
                  <a:lnTo>
                    <a:pt x="600" y="438"/>
                  </a:lnTo>
                  <a:lnTo>
                    <a:pt x="612" y="444"/>
                  </a:lnTo>
                  <a:lnTo>
                    <a:pt x="624" y="444"/>
                  </a:lnTo>
                  <a:lnTo>
                    <a:pt x="636" y="450"/>
                  </a:lnTo>
                  <a:lnTo>
                    <a:pt x="654" y="450"/>
                  </a:lnTo>
                  <a:lnTo>
                    <a:pt x="666" y="438"/>
                  </a:lnTo>
                  <a:lnTo>
                    <a:pt x="648" y="462"/>
                  </a:lnTo>
                  <a:lnTo>
                    <a:pt x="624" y="462"/>
                  </a:lnTo>
                  <a:lnTo>
                    <a:pt x="630" y="468"/>
                  </a:lnTo>
                  <a:lnTo>
                    <a:pt x="642" y="474"/>
                  </a:lnTo>
                  <a:lnTo>
                    <a:pt x="654" y="486"/>
                  </a:lnTo>
                  <a:lnTo>
                    <a:pt x="726" y="486"/>
                  </a:lnTo>
                  <a:lnTo>
                    <a:pt x="738" y="504"/>
                  </a:lnTo>
                  <a:lnTo>
                    <a:pt x="726" y="510"/>
                  </a:lnTo>
                  <a:lnTo>
                    <a:pt x="720" y="516"/>
                  </a:lnTo>
                  <a:lnTo>
                    <a:pt x="684" y="534"/>
                  </a:lnTo>
                  <a:lnTo>
                    <a:pt x="678" y="540"/>
                  </a:lnTo>
                  <a:lnTo>
                    <a:pt x="678" y="546"/>
                  </a:lnTo>
                  <a:lnTo>
                    <a:pt x="684" y="546"/>
                  </a:lnTo>
                  <a:lnTo>
                    <a:pt x="690" y="552"/>
                  </a:lnTo>
                  <a:lnTo>
                    <a:pt x="720" y="552"/>
                  </a:lnTo>
                  <a:lnTo>
                    <a:pt x="732" y="558"/>
                  </a:lnTo>
                  <a:lnTo>
                    <a:pt x="744" y="570"/>
                  </a:lnTo>
                  <a:lnTo>
                    <a:pt x="744" y="594"/>
                  </a:lnTo>
                  <a:lnTo>
                    <a:pt x="738" y="606"/>
                  </a:lnTo>
                  <a:lnTo>
                    <a:pt x="738" y="618"/>
                  </a:lnTo>
                  <a:lnTo>
                    <a:pt x="756" y="618"/>
                  </a:lnTo>
                  <a:lnTo>
                    <a:pt x="768" y="624"/>
                  </a:lnTo>
                  <a:lnTo>
                    <a:pt x="780" y="624"/>
                  </a:lnTo>
                  <a:lnTo>
                    <a:pt x="780" y="618"/>
                  </a:lnTo>
                  <a:lnTo>
                    <a:pt x="792" y="606"/>
                  </a:lnTo>
                  <a:lnTo>
                    <a:pt x="804" y="600"/>
                  </a:lnTo>
                  <a:lnTo>
                    <a:pt x="810" y="594"/>
                  </a:lnTo>
                  <a:lnTo>
                    <a:pt x="840" y="594"/>
                  </a:lnTo>
                  <a:lnTo>
                    <a:pt x="858" y="576"/>
                  </a:lnTo>
                  <a:lnTo>
                    <a:pt x="858" y="570"/>
                  </a:lnTo>
                  <a:lnTo>
                    <a:pt x="864" y="564"/>
                  </a:lnTo>
                  <a:lnTo>
                    <a:pt x="870" y="564"/>
                  </a:lnTo>
                  <a:lnTo>
                    <a:pt x="882" y="576"/>
                  </a:lnTo>
                  <a:lnTo>
                    <a:pt x="918" y="570"/>
                  </a:lnTo>
                  <a:lnTo>
                    <a:pt x="918" y="552"/>
                  </a:lnTo>
                  <a:lnTo>
                    <a:pt x="930" y="540"/>
                  </a:lnTo>
                  <a:lnTo>
                    <a:pt x="900" y="540"/>
                  </a:lnTo>
                  <a:lnTo>
                    <a:pt x="894" y="546"/>
                  </a:lnTo>
                  <a:lnTo>
                    <a:pt x="882" y="552"/>
                  </a:lnTo>
                  <a:lnTo>
                    <a:pt x="852" y="552"/>
                  </a:lnTo>
                  <a:lnTo>
                    <a:pt x="846" y="546"/>
                  </a:lnTo>
                  <a:lnTo>
                    <a:pt x="834" y="540"/>
                  </a:lnTo>
                  <a:lnTo>
                    <a:pt x="828" y="534"/>
                  </a:lnTo>
                  <a:lnTo>
                    <a:pt x="828" y="522"/>
                  </a:lnTo>
                  <a:lnTo>
                    <a:pt x="822" y="516"/>
                  </a:lnTo>
                  <a:lnTo>
                    <a:pt x="810" y="516"/>
                  </a:lnTo>
                  <a:lnTo>
                    <a:pt x="786" y="498"/>
                  </a:lnTo>
                  <a:lnTo>
                    <a:pt x="750" y="492"/>
                  </a:lnTo>
                  <a:lnTo>
                    <a:pt x="744" y="480"/>
                  </a:lnTo>
                  <a:lnTo>
                    <a:pt x="810" y="480"/>
                  </a:lnTo>
                  <a:lnTo>
                    <a:pt x="822" y="474"/>
                  </a:lnTo>
                  <a:lnTo>
                    <a:pt x="834" y="462"/>
                  </a:lnTo>
                  <a:lnTo>
                    <a:pt x="846" y="468"/>
                  </a:lnTo>
                  <a:lnTo>
                    <a:pt x="852" y="462"/>
                  </a:lnTo>
                  <a:lnTo>
                    <a:pt x="864" y="456"/>
                  </a:lnTo>
                  <a:lnTo>
                    <a:pt x="870" y="450"/>
                  </a:lnTo>
                  <a:lnTo>
                    <a:pt x="882" y="444"/>
                  </a:lnTo>
                  <a:lnTo>
                    <a:pt x="906" y="444"/>
                  </a:lnTo>
                  <a:lnTo>
                    <a:pt x="918" y="438"/>
                  </a:lnTo>
                  <a:lnTo>
                    <a:pt x="930" y="438"/>
                  </a:lnTo>
                  <a:lnTo>
                    <a:pt x="978" y="408"/>
                  </a:lnTo>
                  <a:lnTo>
                    <a:pt x="1014" y="408"/>
                  </a:lnTo>
                  <a:lnTo>
                    <a:pt x="1014" y="372"/>
                  </a:lnTo>
                  <a:lnTo>
                    <a:pt x="1032" y="372"/>
                  </a:lnTo>
                  <a:lnTo>
                    <a:pt x="1038" y="366"/>
                  </a:lnTo>
                  <a:lnTo>
                    <a:pt x="1038" y="360"/>
                  </a:lnTo>
                  <a:lnTo>
                    <a:pt x="1050" y="348"/>
                  </a:lnTo>
                  <a:lnTo>
                    <a:pt x="1080" y="348"/>
                  </a:lnTo>
                  <a:lnTo>
                    <a:pt x="1092" y="342"/>
                  </a:lnTo>
                  <a:lnTo>
                    <a:pt x="1104" y="342"/>
                  </a:lnTo>
                  <a:lnTo>
                    <a:pt x="1116" y="330"/>
                  </a:lnTo>
                  <a:lnTo>
                    <a:pt x="1116" y="324"/>
                  </a:lnTo>
                  <a:lnTo>
                    <a:pt x="1110" y="312"/>
                  </a:lnTo>
                  <a:lnTo>
                    <a:pt x="1110" y="300"/>
                  </a:lnTo>
                  <a:lnTo>
                    <a:pt x="1098" y="294"/>
                  </a:lnTo>
                  <a:lnTo>
                    <a:pt x="1086" y="282"/>
                  </a:lnTo>
                  <a:lnTo>
                    <a:pt x="1092" y="276"/>
                  </a:lnTo>
                  <a:lnTo>
                    <a:pt x="1110" y="276"/>
                  </a:lnTo>
                  <a:lnTo>
                    <a:pt x="1116" y="270"/>
                  </a:lnTo>
                  <a:lnTo>
                    <a:pt x="1110" y="264"/>
                  </a:lnTo>
                  <a:lnTo>
                    <a:pt x="1104" y="264"/>
                  </a:lnTo>
                  <a:lnTo>
                    <a:pt x="1098" y="258"/>
                  </a:lnTo>
                  <a:lnTo>
                    <a:pt x="1092" y="258"/>
                  </a:lnTo>
                  <a:lnTo>
                    <a:pt x="1110" y="246"/>
                  </a:lnTo>
                  <a:lnTo>
                    <a:pt x="1110" y="222"/>
                  </a:lnTo>
                  <a:lnTo>
                    <a:pt x="1104" y="216"/>
                  </a:lnTo>
                  <a:lnTo>
                    <a:pt x="1080" y="216"/>
                  </a:lnTo>
                  <a:lnTo>
                    <a:pt x="1062" y="204"/>
                  </a:lnTo>
                  <a:lnTo>
                    <a:pt x="1056" y="198"/>
                  </a:lnTo>
                  <a:lnTo>
                    <a:pt x="1056" y="192"/>
                  </a:lnTo>
                  <a:lnTo>
                    <a:pt x="1014" y="192"/>
                  </a:lnTo>
                  <a:lnTo>
                    <a:pt x="1002" y="186"/>
                  </a:lnTo>
                  <a:lnTo>
                    <a:pt x="996" y="180"/>
                  </a:lnTo>
                  <a:lnTo>
                    <a:pt x="978" y="180"/>
                  </a:lnTo>
                  <a:lnTo>
                    <a:pt x="966" y="186"/>
                  </a:lnTo>
                  <a:lnTo>
                    <a:pt x="942" y="162"/>
                  </a:lnTo>
                  <a:lnTo>
                    <a:pt x="936" y="150"/>
                  </a:lnTo>
                  <a:lnTo>
                    <a:pt x="924" y="150"/>
                  </a:lnTo>
                  <a:lnTo>
                    <a:pt x="918" y="156"/>
                  </a:lnTo>
                  <a:lnTo>
                    <a:pt x="918" y="162"/>
                  </a:lnTo>
                  <a:lnTo>
                    <a:pt x="912" y="156"/>
                  </a:lnTo>
                  <a:lnTo>
                    <a:pt x="864" y="156"/>
                  </a:lnTo>
                  <a:lnTo>
                    <a:pt x="858" y="150"/>
                  </a:lnTo>
                  <a:lnTo>
                    <a:pt x="846" y="150"/>
                  </a:lnTo>
                  <a:lnTo>
                    <a:pt x="840" y="144"/>
                  </a:lnTo>
                  <a:lnTo>
                    <a:pt x="816" y="150"/>
                  </a:lnTo>
                  <a:lnTo>
                    <a:pt x="810" y="150"/>
                  </a:lnTo>
                  <a:lnTo>
                    <a:pt x="798" y="102"/>
                  </a:lnTo>
                  <a:lnTo>
                    <a:pt x="756" y="84"/>
                  </a:lnTo>
                  <a:lnTo>
                    <a:pt x="720" y="84"/>
                  </a:lnTo>
                  <a:lnTo>
                    <a:pt x="720" y="66"/>
                  </a:lnTo>
                  <a:lnTo>
                    <a:pt x="714" y="48"/>
                  </a:lnTo>
                  <a:lnTo>
                    <a:pt x="720" y="48"/>
                  </a:lnTo>
                  <a:lnTo>
                    <a:pt x="726" y="42"/>
                  </a:lnTo>
                  <a:lnTo>
                    <a:pt x="726" y="30"/>
                  </a:lnTo>
                  <a:lnTo>
                    <a:pt x="720" y="30"/>
                  </a:lnTo>
                  <a:lnTo>
                    <a:pt x="708" y="24"/>
                  </a:lnTo>
                  <a:lnTo>
                    <a:pt x="702" y="18"/>
                  </a:lnTo>
                  <a:lnTo>
                    <a:pt x="696" y="18"/>
                  </a:lnTo>
                  <a:lnTo>
                    <a:pt x="690" y="0"/>
                  </a:lnTo>
                  <a:lnTo>
                    <a:pt x="642" y="0"/>
                  </a:lnTo>
                  <a:lnTo>
                    <a:pt x="630" y="6"/>
                  </a:lnTo>
                  <a:lnTo>
                    <a:pt x="600" y="6"/>
                  </a:lnTo>
                  <a:lnTo>
                    <a:pt x="600" y="18"/>
                  </a:lnTo>
                  <a:lnTo>
                    <a:pt x="594" y="24"/>
                  </a:lnTo>
                  <a:lnTo>
                    <a:pt x="558" y="24"/>
                  </a:lnTo>
                  <a:lnTo>
                    <a:pt x="546" y="18"/>
                  </a:lnTo>
                  <a:lnTo>
                    <a:pt x="516" y="18"/>
                  </a:lnTo>
                  <a:lnTo>
                    <a:pt x="510" y="30"/>
                  </a:lnTo>
                  <a:lnTo>
                    <a:pt x="498" y="36"/>
                  </a:lnTo>
                  <a:lnTo>
                    <a:pt x="492" y="42"/>
                  </a:lnTo>
                  <a:lnTo>
                    <a:pt x="486" y="54"/>
                  </a:lnTo>
                  <a:lnTo>
                    <a:pt x="492" y="60"/>
                  </a:lnTo>
                  <a:lnTo>
                    <a:pt x="492" y="72"/>
                  </a:lnTo>
                  <a:lnTo>
                    <a:pt x="486" y="78"/>
                  </a:lnTo>
                  <a:lnTo>
                    <a:pt x="468" y="78"/>
                  </a:lnTo>
                  <a:lnTo>
                    <a:pt x="462" y="72"/>
                  </a:lnTo>
                  <a:lnTo>
                    <a:pt x="438" y="72"/>
                  </a:lnTo>
                  <a:lnTo>
                    <a:pt x="426" y="78"/>
                  </a:lnTo>
                  <a:lnTo>
                    <a:pt x="420" y="78"/>
                  </a:lnTo>
                  <a:lnTo>
                    <a:pt x="420" y="66"/>
                  </a:lnTo>
                  <a:lnTo>
                    <a:pt x="414" y="60"/>
                  </a:lnTo>
                  <a:lnTo>
                    <a:pt x="396" y="60"/>
                  </a:lnTo>
                  <a:lnTo>
                    <a:pt x="390" y="66"/>
                  </a:lnTo>
                  <a:lnTo>
                    <a:pt x="390" y="72"/>
                  </a:lnTo>
                  <a:lnTo>
                    <a:pt x="378" y="60"/>
                  </a:lnTo>
                  <a:lnTo>
                    <a:pt x="366" y="66"/>
                  </a:lnTo>
                  <a:lnTo>
                    <a:pt x="360" y="60"/>
                  </a:lnTo>
                  <a:lnTo>
                    <a:pt x="342" y="66"/>
                  </a:lnTo>
                  <a:lnTo>
                    <a:pt x="336" y="54"/>
                  </a:lnTo>
                  <a:lnTo>
                    <a:pt x="324" y="66"/>
                  </a:lnTo>
                  <a:lnTo>
                    <a:pt x="306" y="54"/>
                  </a:lnTo>
                  <a:lnTo>
                    <a:pt x="300" y="60"/>
                  </a:lnTo>
                  <a:lnTo>
                    <a:pt x="282" y="48"/>
                  </a:lnTo>
                  <a:lnTo>
                    <a:pt x="258" y="42"/>
                  </a:lnTo>
                  <a:lnTo>
                    <a:pt x="222" y="42"/>
                  </a:lnTo>
                  <a:lnTo>
                    <a:pt x="216" y="36"/>
                  </a:lnTo>
                  <a:lnTo>
                    <a:pt x="216" y="30"/>
                  </a:lnTo>
                  <a:lnTo>
                    <a:pt x="168" y="30"/>
                  </a:lnTo>
                  <a:lnTo>
                    <a:pt x="162" y="36"/>
                  </a:lnTo>
                  <a:lnTo>
                    <a:pt x="150" y="42"/>
                  </a:lnTo>
                  <a:lnTo>
                    <a:pt x="114" y="42"/>
                  </a:lnTo>
                  <a:lnTo>
                    <a:pt x="114" y="48"/>
                  </a:lnTo>
                  <a:lnTo>
                    <a:pt x="96" y="66"/>
                  </a:lnTo>
                  <a:lnTo>
                    <a:pt x="78" y="66"/>
                  </a:lnTo>
                  <a:lnTo>
                    <a:pt x="66" y="60"/>
                  </a:lnTo>
                  <a:lnTo>
                    <a:pt x="72" y="78"/>
                  </a:lnTo>
                  <a:lnTo>
                    <a:pt x="90" y="96"/>
                  </a:lnTo>
                  <a:lnTo>
                    <a:pt x="90" y="102"/>
                  </a:lnTo>
                  <a:lnTo>
                    <a:pt x="102" y="108"/>
                  </a:lnTo>
                  <a:lnTo>
                    <a:pt x="108" y="114"/>
                  </a:lnTo>
                  <a:lnTo>
                    <a:pt x="102" y="126"/>
                  </a:lnTo>
                  <a:lnTo>
                    <a:pt x="108" y="132"/>
                  </a:lnTo>
                  <a:lnTo>
                    <a:pt x="108" y="138"/>
                  </a:lnTo>
                  <a:lnTo>
                    <a:pt x="114" y="144"/>
                  </a:lnTo>
                  <a:lnTo>
                    <a:pt x="108" y="150"/>
                  </a:lnTo>
                  <a:lnTo>
                    <a:pt x="102" y="150"/>
                  </a:lnTo>
                  <a:lnTo>
                    <a:pt x="96" y="156"/>
                  </a:lnTo>
                  <a:lnTo>
                    <a:pt x="84" y="156"/>
                  </a:lnTo>
                  <a:lnTo>
                    <a:pt x="30" y="204"/>
                  </a:lnTo>
                  <a:lnTo>
                    <a:pt x="30" y="246"/>
                  </a:lnTo>
                  <a:lnTo>
                    <a:pt x="42" y="258"/>
                  </a:lnTo>
                  <a:lnTo>
                    <a:pt x="18" y="258"/>
                  </a:lnTo>
                  <a:lnTo>
                    <a:pt x="18" y="270"/>
                  </a:lnTo>
                  <a:lnTo>
                    <a:pt x="12" y="276"/>
                  </a:lnTo>
                  <a:lnTo>
                    <a:pt x="12" y="282"/>
                  </a:lnTo>
                  <a:lnTo>
                    <a:pt x="6" y="288"/>
                  </a:lnTo>
                  <a:lnTo>
                    <a:pt x="0" y="288"/>
                  </a:lnTo>
                  <a:lnTo>
                    <a:pt x="0" y="306"/>
                  </a:lnTo>
                  <a:lnTo>
                    <a:pt x="6" y="306"/>
                  </a:lnTo>
                  <a:lnTo>
                    <a:pt x="24" y="324"/>
                  </a:lnTo>
                  <a:close/>
                </a:path>
              </a:pathLst>
            </a:cu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2700000" scaled="1"/>
              <a:tileRect/>
            </a:gra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58" name="Uganda" descr="© INSCALE GmbH, 05.05.2010&#10;http://www.presentationload.com/"/>
            <p:cNvSpPr>
              <a:spLocks noEditPoints="1"/>
            </p:cNvSpPr>
            <p:nvPr/>
          </p:nvSpPr>
          <p:spPr bwMode="gray">
            <a:xfrm>
              <a:off x="5062543" y="3943350"/>
              <a:ext cx="157161" cy="185738"/>
            </a:xfrm>
            <a:custGeom>
              <a:avLst/>
              <a:gdLst>
                <a:gd name="T0" fmla="*/ 2147483647 w 390"/>
                <a:gd name="T1" fmla="*/ 2147483647 h 462"/>
                <a:gd name="T2" fmla="*/ 2147483647 w 390"/>
                <a:gd name="T3" fmla="*/ 2147483647 h 462"/>
                <a:gd name="T4" fmla="*/ 2147483647 w 390"/>
                <a:gd name="T5" fmla="*/ 2147483647 h 462"/>
                <a:gd name="T6" fmla="*/ 2147483647 w 390"/>
                <a:gd name="T7" fmla="*/ 2147483647 h 462"/>
                <a:gd name="T8" fmla="*/ 2147483647 w 390"/>
                <a:gd name="T9" fmla="*/ 2147483647 h 462"/>
                <a:gd name="T10" fmla="*/ 2147483647 w 390"/>
                <a:gd name="T11" fmla="*/ 2147483647 h 462"/>
                <a:gd name="T12" fmla="*/ 2147483647 w 390"/>
                <a:gd name="T13" fmla="*/ 2147483647 h 462"/>
                <a:gd name="T14" fmla="*/ 2147483647 w 390"/>
                <a:gd name="T15" fmla="*/ 2147483647 h 462"/>
                <a:gd name="T16" fmla="*/ 2147483647 w 390"/>
                <a:gd name="T17" fmla="*/ 2147483647 h 462"/>
                <a:gd name="T18" fmla="*/ 2147483647 w 390"/>
                <a:gd name="T19" fmla="*/ 2147483647 h 462"/>
                <a:gd name="T20" fmla="*/ 2147483647 w 390"/>
                <a:gd name="T21" fmla="*/ 2147483647 h 462"/>
                <a:gd name="T22" fmla="*/ 2147483647 w 390"/>
                <a:gd name="T23" fmla="*/ 2147483647 h 462"/>
                <a:gd name="T24" fmla="*/ 2147483647 w 390"/>
                <a:gd name="T25" fmla="*/ 0 h 462"/>
                <a:gd name="T26" fmla="*/ 2147483647 w 390"/>
                <a:gd name="T27" fmla="*/ 2147483647 h 462"/>
                <a:gd name="T28" fmla="*/ 2147483647 w 390"/>
                <a:gd name="T29" fmla="*/ 2147483647 h 462"/>
                <a:gd name="T30" fmla="*/ 2147483647 w 390"/>
                <a:gd name="T31" fmla="*/ 2147483647 h 462"/>
                <a:gd name="T32" fmla="*/ 2147483647 w 390"/>
                <a:gd name="T33" fmla="*/ 2147483647 h 462"/>
                <a:gd name="T34" fmla="*/ 2147483647 w 390"/>
                <a:gd name="T35" fmla="*/ 2147483647 h 462"/>
                <a:gd name="T36" fmla="*/ 2147483647 w 390"/>
                <a:gd name="T37" fmla="*/ 2147483647 h 462"/>
                <a:gd name="T38" fmla="*/ 2147483647 w 390"/>
                <a:gd name="T39" fmla="*/ 2147483647 h 462"/>
                <a:gd name="T40" fmla="*/ 2147483647 w 390"/>
                <a:gd name="T41" fmla="*/ 2147483647 h 462"/>
                <a:gd name="T42" fmla="*/ 2147483647 w 390"/>
                <a:gd name="T43" fmla="*/ 2147483647 h 462"/>
                <a:gd name="T44" fmla="*/ 2147483647 w 390"/>
                <a:gd name="T45" fmla="*/ 2147483647 h 462"/>
                <a:gd name="T46" fmla="*/ 2147483647 w 390"/>
                <a:gd name="T47" fmla="*/ 2147483647 h 462"/>
                <a:gd name="T48" fmla="*/ 2147483647 w 390"/>
                <a:gd name="T49" fmla="*/ 2147483647 h 462"/>
                <a:gd name="T50" fmla="*/ 2147483647 w 390"/>
                <a:gd name="T51" fmla="*/ 2147483647 h 462"/>
                <a:gd name="T52" fmla="*/ 2147483647 w 390"/>
                <a:gd name="T53" fmla="*/ 2147483647 h 462"/>
                <a:gd name="T54" fmla="*/ 2147483647 w 390"/>
                <a:gd name="T55" fmla="*/ 2147483647 h 462"/>
                <a:gd name="T56" fmla="*/ 2147483647 w 390"/>
                <a:gd name="T57" fmla="*/ 2147483647 h 462"/>
                <a:gd name="T58" fmla="*/ 2147483647 w 390"/>
                <a:gd name="T59" fmla="*/ 2147483647 h 462"/>
                <a:gd name="T60" fmla="*/ 2147483647 w 390"/>
                <a:gd name="T61" fmla="*/ 2147483647 h 462"/>
                <a:gd name="T62" fmla="*/ 2147483647 w 390"/>
                <a:gd name="T63" fmla="*/ 2147483647 h 462"/>
                <a:gd name="T64" fmla="*/ 2147483647 w 390"/>
                <a:gd name="T65" fmla="*/ 2147483647 h 462"/>
                <a:gd name="T66" fmla="*/ 2147483647 w 390"/>
                <a:gd name="T67" fmla="*/ 2147483647 h 462"/>
                <a:gd name="T68" fmla="*/ 2147483647 w 390"/>
                <a:gd name="T69" fmla="*/ 2147483647 h 462"/>
                <a:gd name="T70" fmla="*/ 2147483647 w 390"/>
                <a:gd name="T71" fmla="*/ 2147483647 h 462"/>
                <a:gd name="T72" fmla="*/ 2147483647 w 390"/>
                <a:gd name="T73" fmla="*/ 2147483647 h 462"/>
                <a:gd name="T74" fmla="*/ 2147483647 w 390"/>
                <a:gd name="T75" fmla="*/ 2147483647 h 462"/>
                <a:gd name="T76" fmla="*/ 2147483647 w 390"/>
                <a:gd name="T77" fmla="*/ 2147483647 h 462"/>
                <a:gd name="T78" fmla="*/ 2147483647 w 390"/>
                <a:gd name="T79" fmla="*/ 2147483647 h 462"/>
                <a:gd name="T80" fmla="*/ 2147483647 w 390"/>
                <a:gd name="T81" fmla="*/ 2147483647 h 462"/>
                <a:gd name="T82" fmla="*/ 2147483647 w 390"/>
                <a:gd name="T83" fmla="*/ 2147483647 h 462"/>
                <a:gd name="T84" fmla="*/ 2147483647 w 390"/>
                <a:gd name="T85" fmla="*/ 2147483647 h 462"/>
                <a:gd name="T86" fmla="*/ 2147483647 w 390"/>
                <a:gd name="T87" fmla="*/ 2147483647 h 462"/>
                <a:gd name="T88" fmla="*/ 2147483647 w 390"/>
                <a:gd name="T89" fmla="*/ 2147483647 h 462"/>
                <a:gd name="T90" fmla="*/ 2147483647 w 390"/>
                <a:gd name="T91" fmla="*/ 2147483647 h 462"/>
                <a:gd name="T92" fmla="*/ 2147483647 w 390"/>
                <a:gd name="T93" fmla="*/ 2147483647 h 462"/>
                <a:gd name="T94" fmla="*/ 2147483647 w 390"/>
                <a:gd name="T95" fmla="*/ 2147483647 h 462"/>
                <a:gd name="T96" fmla="*/ 2147483647 w 390"/>
                <a:gd name="T97" fmla="*/ 2147483647 h 462"/>
                <a:gd name="T98" fmla="*/ 2147483647 w 390"/>
                <a:gd name="T99" fmla="*/ 2147483647 h 462"/>
                <a:gd name="T100" fmla="*/ 2147483647 w 390"/>
                <a:gd name="T101" fmla="*/ 2147483647 h 462"/>
                <a:gd name="T102" fmla="*/ 2147483647 w 390"/>
                <a:gd name="T103" fmla="*/ 2147483647 h 462"/>
                <a:gd name="T104" fmla="*/ 2147483647 w 390"/>
                <a:gd name="T105" fmla="*/ 2147483647 h 462"/>
                <a:gd name="T106" fmla="*/ 2147483647 w 390"/>
                <a:gd name="T107" fmla="*/ 2147483647 h 46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90"/>
                <a:gd name="T163" fmla="*/ 0 h 462"/>
                <a:gd name="T164" fmla="*/ 390 w 390"/>
                <a:gd name="T165" fmla="*/ 462 h 46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90" h="462">
                  <a:moveTo>
                    <a:pt x="306" y="426"/>
                  </a:moveTo>
                  <a:lnTo>
                    <a:pt x="318" y="426"/>
                  </a:lnTo>
                  <a:lnTo>
                    <a:pt x="318" y="420"/>
                  </a:lnTo>
                  <a:lnTo>
                    <a:pt x="306" y="420"/>
                  </a:lnTo>
                  <a:lnTo>
                    <a:pt x="306" y="426"/>
                  </a:lnTo>
                  <a:close/>
                  <a:moveTo>
                    <a:pt x="390" y="192"/>
                  </a:moveTo>
                  <a:lnTo>
                    <a:pt x="384" y="180"/>
                  </a:lnTo>
                  <a:lnTo>
                    <a:pt x="378" y="174"/>
                  </a:lnTo>
                  <a:lnTo>
                    <a:pt x="366" y="150"/>
                  </a:lnTo>
                  <a:lnTo>
                    <a:pt x="366" y="144"/>
                  </a:lnTo>
                  <a:lnTo>
                    <a:pt x="372" y="138"/>
                  </a:lnTo>
                  <a:lnTo>
                    <a:pt x="378" y="138"/>
                  </a:lnTo>
                  <a:lnTo>
                    <a:pt x="384" y="132"/>
                  </a:lnTo>
                  <a:lnTo>
                    <a:pt x="348" y="90"/>
                  </a:lnTo>
                  <a:lnTo>
                    <a:pt x="354" y="84"/>
                  </a:lnTo>
                  <a:lnTo>
                    <a:pt x="336" y="66"/>
                  </a:lnTo>
                  <a:lnTo>
                    <a:pt x="336" y="60"/>
                  </a:lnTo>
                  <a:lnTo>
                    <a:pt x="342" y="54"/>
                  </a:lnTo>
                  <a:lnTo>
                    <a:pt x="342" y="42"/>
                  </a:lnTo>
                  <a:lnTo>
                    <a:pt x="336" y="42"/>
                  </a:lnTo>
                  <a:lnTo>
                    <a:pt x="336" y="48"/>
                  </a:lnTo>
                  <a:lnTo>
                    <a:pt x="330" y="42"/>
                  </a:lnTo>
                  <a:lnTo>
                    <a:pt x="324" y="42"/>
                  </a:lnTo>
                  <a:lnTo>
                    <a:pt x="324" y="18"/>
                  </a:lnTo>
                  <a:lnTo>
                    <a:pt x="318" y="6"/>
                  </a:lnTo>
                  <a:lnTo>
                    <a:pt x="312" y="0"/>
                  </a:lnTo>
                  <a:lnTo>
                    <a:pt x="300" y="0"/>
                  </a:lnTo>
                  <a:lnTo>
                    <a:pt x="300" y="6"/>
                  </a:lnTo>
                  <a:lnTo>
                    <a:pt x="294" y="12"/>
                  </a:lnTo>
                  <a:lnTo>
                    <a:pt x="294" y="18"/>
                  </a:lnTo>
                  <a:lnTo>
                    <a:pt x="276" y="36"/>
                  </a:lnTo>
                  <a:lnTo>
                    <a:pt x="252" y="36"/>
                  </a:lnTo>
                  <a:lnTo>
                    <a:pt x="246" y="30"/>
                  </a:lnTo>
                  <a:lnTo>
                    <a:pt x="246" y="24"/>
                  </a:lnTo>
                  <a:lnTo>
                    <a:pt x="234" y="24"/>
                  </a:lnTo>
                  <a:lnTo>
                    <a:pt x="222" y="36"/>
                  </a:lnTo>
                  <a:lnTo>
                    <a:pt x="198" y="36"/>
                  </a:lnTo>
                  <a:lnTo>
                    <a:pt x="180" y="60"/>
                  </a:lnTo>
                  <a:lnTo>
                    <a:pt x="156" y="30"/>
                  </a:lnTo>
                  <a:lnTo>
                    <a:pt x="150" y="30"/>
                  </a:lnTo>
                  <a:lnTo>
                    <a:pt x="144" y="36"/>
                  </a:lnTo>
                  <a:lnTo>
                    <a:pt x="144" y="42"/>
                  </a:lnTo>
                  <a:lnTo>
                    <a:pt x="132" y="42"/>
                  </a:lnTo>
                  <a:lnTo>
                    <a:pt x="120" y="36"/>
                  </a:lnTo>
                  <a:lnTo>
                    <a:pt x="114" y="30"/>
                  </a:lnTo>
                  <a:lnTo>
                    <a:pt x="102" y="30"/>
                  </a:lnTo>
                  <a:lnTo>
                    <a:pt x="84" y="48"/>
                  </a:lnTo>
                  <a:lnTo>
                    <a:pt x="90" y="72"/>
                  </a:lnTo>
                  <a:lnTo>
                    <a:pt x="72" y="90"/>
                  </a:lnTo>
                  <a:lnTo>
                    <a:pt x="84" y="96"/>
                  </a:lnTo>
                  <a:lnTo>
                    <a:pt x="90" y="102"/>
                  </a:lnTo>
                  <a:lnTo>
                    <a:pt x="90" y="108"/>
                  </a:lnTo>
                  <a:lnTo>
                    <a:pt x="84" y="114"/>
                  </a:lnTo>
                  <a:lnTo>
                    <a:pt x="78" y="126"/>
                  </a:lnTo>
                  <a:lnTo>
                    <a:pt x="78" y="138"/>
                  </a:lnTo>
                  <a:lnTo>
                    <a:pt x="84" y="144"/>
                  </a:lnTo>
                  <a:lnTo>
                    <a:pt x="96" y="144"/>
                  </a:lnTo>
                  <a:lnTo>
                    <a:pt x="108" y="150"/>
                  </a:lnTo>
                  <a:lnTo>
                    <a:pt x="114" y="156"/>
                  </a:lnTo>
                  <a:lnTo>
                    <a:pt x="114" y="168"/>
                  </a:lnTo>
                  <a:lnTo>
                    <a:pt x="108" y="180"/>
                  </a:lnTo>
                  <a:lnTo>
                    <a:pt x="96" y="192"/>
                  </a:lnTo>
                  <a:lnTo>
                    <a:pt x="84" y="216"/>
                  </a:lnTo>
                  <a:lnTo>
                    <a:pt x="72" y="222"/>
                  </a:lnTo>
                  <a:lnTo>
                    <a:pt x="66" y="234"/>
                  </a:lnTo>
                  <a:lnTo>
                    <a:pt x="42" y="246"/>
                  </a:lnTo>
                  <a:lnTo>
                    <a:pt x="42" y="258"/>
                  </a:lnTo>
                  <a:lnTo>
                    <a:pt x="24" y="270"/>
                  </a:lnTo>
                  <a:lnTo>
                    <a:pt x="6" y="342"/>
                  </a:lnTo>
                  <a:lnTo>
                    <a:pt x="6" y="372"/>
                  </a:lnTo>
                  <a:lnTo>
                    <a:pt x="0" y="450"/>
                  </a:lnTo>
                  <a:lnTo>
                    <a:pt x="12" y="450"/>
                  </a:lnTo>
                  <a:lnTo>
                    <a:pt x="24" y="462"/>
                  </a:lnTo>
                  <a:lnTo>
                    <a:pt x="30" y="462"/>
                  </a:lnTo>
                  <a:lnTo>
                    <a:pt x="42" y="438"/>
                  </a:lnTo>
                  <a:lnTo>
                    <a:pt x="48" y="432"/>
                  </a:lnTo>
                  <a:lnTo>
                    <a:pt x="48" y="426"/>
                  </a:lnTo>
                  <a:lnTo>
                    <a:pt x="72" y="420"/>
                  </a:lnTo>
                  <a:lnTo>
                    <a:pt x="162" y="426"/>
                  </a:lnTo>
                  <a:lnTo>
                    <a:pt x="162" y="414"/>
                  </a:lnTo>
                  <a:lnTo>
                    <a:pt x="156" y="408"/>
                  </a:lnTo>
                  <a:lnTo>
                    <a:pt x="150" y="396"/>
                  </a:lnTo>
                  <a:lnTo>
                    <a:pt x="162" y="372"/>
                  </a:lnTo>
                  <a:lnTo>
                    <a:pt x="168" y="366"/>
                  </a:lnTo>
                  <a:lnTo>
                    <a:pt x="168" y="342"/>
                  </a:lnTo>
                  <a:lnTo>
                    <a:pt x="174" y="336"/>
                  </a:lnTo>
                  <a:lnTo>
                    <a:pt x="186" y="330"/>
                  </a:lnTo>
                  <a:lnTo>
                    <a:pt x="204" y="324"/>
                  </a:lnTo>
                  <a:lnTo>
                    <a:pt x="240" y="324"/>
                  </a:lnTo>
                  <a:lnTo>
                    <a:pt x="252" y="312"/>
                  </a:lnTo>
                  <a:lnTo>
                    <a:pt x="258" y="300"/>
                  </a:lnTo>
                  <a:lnTo>
                    <a:pt x="264" y="300"/>
                  </a:lnTo>
                  <a:lnTo>
                    <a:pt x="264" y="306"/>
                  </a:lnTo>
                  <a:lnTo>
                    <a:pt x="270" y="312"/>
                  </a:lnTo>
                  <a:lnTo>
                    <a:pt x="270" y="330"/>
                  </a:lnTo>
                  <a:lnTo>
                    <a:pt x="276" y="324"/>
                  </a:lnTo>
                  <a:lnTo>
                    <a:pt x="312" y="324"/>
                  </a:lnTo>
                  <a:lnTo>
                    <a:pt x="312" y="330"/>
                  </a:lnTo>
                  <a:lnTo>
                    <a:pt x="312" y="318"/>
                  </a:lnTo>
                  <a:lnTo>
                    <a:pt x="318" y="306"/>
                  </a:lnTo>
                  <a:lnTo>
                    <a:pt x="324" y="300"/>
                  </a:lnTo>
                  <a:lnTo>
                    <a:pt x="330" y="282"/>
                  </a:lnTo>
                  <a:lnTo>
                    <a:pt x="348" y="270"/>
                  </a:lnTo>
                  <a:lnTo>
                    <a:pt x="348" y="246"/>
                  </a:lnTo>
                  <a:lnTo>
                    <a:pt x="354" y="240"/>
                  </a:lnTo>
                  <a:lnTo>
                    <a:pt x="372" y="240"/>
                  </a:lnTo>
                  <a:lnTo>
                    <a:pt x="378" y="216"/>
                  </a:lnTo>
                  <a:lnTo>
                    <a:pt x="390" y="204"/>
                  </a:lnTo>
                  <a:lnTo>
                    <a:pt x="390" y="192"/>
                  </a:lnTo>
                  <a:close/>
                </a:path>
              </a:pathLst>
            </a:custGeom>
            <a:solidFill>
              <a:srgbClr val="692864"/>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59" name="Turkey" descr="© INSCALE GmbH, 05.05.2010&#10;http://www.presentationload.com/"/>
            <p:cNvSpPr>
              <a:spLocks noEditPoints="1"/>
            </p:cNvSpPr>
            <p:nvPr/>
          </p:nvSpPr>
          <p:spPr bwMode="gray">
            <a:xfrm>
              <a:off x="4899028" y="2711449"/>
              <a:ext cx="534989" cy="203200"/>
            </a:xfrm>
            <a:custGeom>
              <a:avLst/>
              <a:gdLst>
                <a:gd name="T0" fmla="*/ 2147483647 w 1332"/>
                <a:gd name="T1" fmla="*/ 2147483647 h 510"/>
                <a:gd name="T2" fmla="*/ 2147483647 w 1332"/>
                <a:gd name="T3" fmla="*/ 2147483647 h 510"/>
                <a:gd name="T4" fmla="*/ 2147483647 w 1332"/>
                <a:gd name="T5" fmla="*/ 2147483647 h 510"/>
                <a:gd name="T6" fmla="*/ 2147483647 w 1332"/>
                <a:gd name="T7" fmla="*/ 2147483647 h 510"/>
                <a:gd name="T8" fmla="*/ 2147483647 w 1332"/>
                <a:gd name="T9" fmla="*/ 2147483647 h 510"/>
                <a:gd name="T10" fmla="*/ 2147483647 w 1332"/>
                <a:gd name="T11" fmla="*/ 2147483647 h 510"/>
                <a:gd name="T12" fmla="*/ 2147483647 w 1332"/>
                <a:gd name="T13" fmla="*/ 2147483647 h 510"/>
                <a:gd name="T14" fmla="*/ 2147483647 w 1332"/>
                <a:gd name="T15" fmla="*/ 2147483647 h 510"/>
                <a:gd name="T16" fmla="*/ 2147483647 w 1332"/>
                <a:gd name="T17" fmla="*/ 2147483647 h 510"/>
                <a:gd name="T18" fmla="*/ 2147483647 w 1332"/>
                <a:gd name="T19" fmla="*/ 2147483647 h 510"/>
                <a:gd name="T20" fmla="*/ 2147483647 w 1332"/>
                <a:gd name="T21" fmla="*/ 2147483647 h 510"/>
                <a:gd name="T22" fmla="*/ 2147483647 w 1332"/>
                <a:gd name="T23" fmla="*/ 2147483647 h 510"/>
                <a:gd name="T24" fmla="*/ 2147483647 w 1332"/>
                <a:gd name="T25" fmla="*/ 2147483647 h 510"/>
                <a:gd name="T26" fmla="*/ 2147483647 w 1332"/>
                <a:gd name="T27" fmla="*/ 2147483647 h 510"/>
                <a:gd name="T28" fmla="*/ 2147483647 w 1332"/>
                <a:gd name="T29" fmla="*/ 2147483647 h 510"/>
                <a:gd name="T30" fmla="*/ 2147483647 w 1332"/>
                <a:gd name="T31" fmla="*/ 2147483647 h 510"/>
                <a:gd name="T32" fmla="*/ 2147483647 w 1332"/>
                <a:gd name="T33" fmla="*/ 2147483647 h 510"/>
                <a:gd name="T34" fmla="*/ 2147483647 w 1332"/>
                <a:gd name="T35" fmla="*/ 2147483647 h 510"/>
                <a:gd name="T36" fmla="*/ 2147483647 w 1332"/>
                <a:gd name="T37" fmla="*/ 2147483647 h 510"/>
                <a:gd name="T38" fmla="*/ 2147483647 w 1332"/>
                <a:gd name="T39" fmla="*/ 2147483647 h 510"/>
                <a:gd name="T40" fmla="*/ 2147483647 w 1332"/>
                <a:gd name="T41" fmla="*/ 2147483647 h 510"/>
                <a:gd name="T42" fmla="*/ 2147483647 w 1332"/>
                <a:gd name="T43" fmla="*/ 2147483647 h 510"/>
                <a:gd name="T44" fmla="*/ 2147483647 w 1332"/>
                <a:gd name="T45" fmla="*/ 2147483647 h 510"/>
                <a:gd name="T46" fmla="*/ 2147483647 w 1332"/>
                <a:gd name="T47" fmla="*/ 2147483647 h 510"/>
                <a:gd name="T48" fmla="*/ 2147483647 w 1332"/>
                <a:gd name="T49" fmla="*/ 2147483647 h 510"/>
                <a:gd name="T50" fmla="*/ 2147483647 w 1332"/>
                <a:gd name="T51" fmla="*/ 2147483647 h 510"/>
                <a:gd name="T52" fmla="*/ 2147483647 w 1332"/>
                <a:gd name="T53" fmla="*/ 2147483647 h 510"/>
                <a:gd name="T54" fmla="*/ 2147483647 w 1332"/>
                <a:gd name="T55" fmla="*/ 2147483647 h 510"/>
                <a:gd name="T56" fmla="*/ 2147483647 w 1332"/>
                <a:gd name="T57" fmla="*/ 2147483647 h 510"/>
                <a:gd name="T58" fmla="*/ 2147483647 w 1332"/>
                <a:gd name="T59" fmla="*/ 2147483647 h 510"/>
                <a:gd name="T60" fmla="*/ 2147483647 w 1332"/>
                <a:gd name="T61" fmla="*/ 2147483647 h 510"/>
                <a:gd name="T62" fmla="*/ 2147483647 w 1332"/>
                <a:gd name="T63" fmla="*/ 2147483647 h 510"/>
                <a:gd name="T64" fmla="*/ 2147483647 w 1332"/>
                <a:gd name="T65" fmla="*/ 2147483647 h 510"/>
                <a:gd name="T66" fmla="*/ 2147483647 w 1332"/>
                <a:gd name="T67" fmla="*/ 2147483647 h 510"/>
                <a:gd name="T68" fmla="*/ 2147483647 w 1332"/>
                <a:gd name="T69" fmla="*/ 2147483647 h 510"/>
                <a:gd name="T70" fmla="*/ 2147483647 w 1332"/>
                <a:gd name="T71" fmla="*/ 2147483647 h 510"/>
                <a:gd name="T72" fmla="*/ 2147483647 w 1332"/>
                <a:gd name="T73" fmla="*/ 2147483647 h 510"/>
                <a:gd name="T74" fmla="*/ 2147483647 w 1332"/>
                <a:gd name="T75" fmla="*/ 2147483647 h 510"/>
                <a:gd name="T76" fmla="*/ 2147483647 w 1332"/>
                <a:gd name="T77" fmla="*/ 2147483647 h 510"/>
                <a:gd name="T78" fmla="*/ 2147483647 w 1332"/>
                <a:gd name="T79" fmla="*/ 2147483647 h 510"/>
                <a:gd name="T80" fmla="*/ 2147483647 w 1332"/>
                <a:gd name="T81" fmla="*/ 2147483647 h 510"/>
                <a:gd name="T82" fmla="*/ 2147483647 w 1332"/>
                <a:gd name="T83" fmla="*/ 2147483647 h 510"/>
                <a:gd name="T84" fmla="*/ 2147483647 w 1332"/>
                <a:gd name="T85" fmla="*/ 2147483647 h 510"/>
                <a:gd name="T86" fmla="*/ 2147483647 w 1332"/>
                <a:gd name="T87" fmla="*/ 2147483647 h 510"/>
                <a:gd name="T88" fmla="*/ 2147483647 w 1332"/>
                <a:gd name="T89" fmla="*/ 2147483647 h 510"/>
                <a:gd name="T90" fmla="*/ 2147483647 w 1332"/>
                <a:gd name="T91" fmla="*/ 2147483647 h 510"/>
                <a:gd name="T92" fmla="*/ 2147483647 w 1332"/>
                <a:gd name="T93" fmla="*/ 2147483647 h 510"/>
                <a:gd name="T94" fmla="*/ 2147483647 w 1332"/>
                <a:gd name="T95" fmla="*/ 2147483647 h 510"/>
                <a:gd name="T96" fmla="*/ 2147483647 w 1332"/>
                <a:gd name="T97" fmla="*/ 2147483647 h 510"/>
                <a:gd name="T98" fmla="*/ 2147483647 w 1332"/>
                <a:gd name="T99" fmla="*/ 2147483647 h 510"/>
                <a:gd name="T100" fmla="*/ 2147483647 w 1332"/>
                <a:gd name="T101" fmla="*/ 2147483647 h 510"/>
                <a:gd name="T102" fmla="*/ 2147483647 w 1332"/>
                <a:gd name="T103" fmla="*/ 2147483647 h 510"/>
                <a:gd name="T104" fmla="*/ 2147483647 w 1332"/>
                <a:gd name="T105" fmla="*/ 2147483647 h 510"/>
                <a:gd name="T106" fmla="*/ 2147483647 w 1332"/>
                <a:gd name="T107" fmla="*/ 2147483647 h 510"/>
                <a:gd name="T108" fmla="*/ 2147483647 w 1332"/>
                <a:gd name="T109" fmla="*/ 2147483647 h 510"/>
                <a:gd name="T110" fmla="*/ 2147483647 w 1332"/>
                <a:gd name="T111" fmla="*/ 2147483647 h 510"/>
                <a:gd name="T112" fmla="*/ 2147483647 w 1332"/>
                <a:gd name="T113" fmla="*/ 2147483647 h 510"/>
                <a:gd name="T114" fmla="*/ 2147483647 w 1332"/>
                <a:gd name="T115" fmla="*/ 2147483647 h 5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32"/>
                <a:gd name="T175" fmla="*/ 0 h 510"/>
                <a:gd name="T176" fmla="*/ 1332 w 1332"/>
                <a:gd name="T177" fmla="*/ 510 h 5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32" h="510">
                  <a:moveTo>
                    <a:pt x="6" y="192"/>
                  </a:moveTo>
                  <a:lnTo>
                    <a:pt x="24" y="186"/>
                  </a:lnTo>
                  <a:lnTo>
                    <a:pt x="30" y="174"/>
                  </a:lnTo>
                  <a:lnTo>
                    <a:pt x="0" y="174"/>
                  </a:lnTo>
                  <a:lnTo>
                    <a:pt x="6" y="192"/>
                  </a:lnTo>
                  <a:close/>
                  <a:moveTo>
                    <a:pt x="42" y="162"/>
                  </a:moveTo>
                  <a:lnTo>
                    <a:pt x="42" y="168"/>
                  </a:lnTo>
                  <a:lnTo>
                    <a:pt x="48" y="174"/>
                  </a:lnTo>
                  <a:lnTo>
                    <a:pt x="60" y="174"/>
                  </a:lnTo>
                  <a:lnTo>
                    <a:pt x="60" y="162"/>
                  </a:lnTo>
                  <a:lnTo>
                    <a:pt x="54" y="156"/>
                  </a:lnTo>
                  <a:lnTo>
                    <a:pt x="54" y="150"/>
                  </a:lnTo>
                  <a:lnTo>
                    <a:pt x="48" y="150"/>
                  </a:lnTo>
                  <a:lnTo>
                    <a:pt x="48" y="156"/>
                  </a:lnTo>
                  <a:lnTo>
                    <a:pt x="42" y="162"/>
                  </a:lnTo>
                  <a:close/>
                  <a:moveTo>
                    <a:pt x="96" y="138"/>
                  </a:moveTo>
                  <a:lnTo>
                    <a:pt x="66" y="138"/>
                  </a:lnTo>
                  <a:lnTo>
                    <a:pt x="66" y="174"/>
                  </a:lnTo>
                  <a:lnTo>
                    <a:pt x="78" y="150"/>
                  </a:lnTo>
                  <a:lnTo>
                    <a:pt x="96" y="138"/>
                  </a:lnTo>
                  <a:close/>
                  <a:moveTo>
                    <a:pt x="1332" y="402"/>
                  </a:moveTo>
                  <a:lnTo>
                    <a:pt x="1332" y="390"/>
                  </a:lnTo>
                  <a:lnTo>
                    <a:pt x="1308" y="384"/>
                  </a:lnTo>
                  <a:lnTo>
                    <a:pt x="1308" y="354"/>
                  </a:lnTo>
                  <a:lnTo>
                    <a:pt x="1272" y="336"/>
                  </a:lnTo>
                  <a:lnTo>
                    <a:pt x="1278" y="330"/>
                  </a:lnTo>
                  <a:lnTo>
                    <a:pt x="1284" y="318"/>
                  </a:lnTo>
                  <a:lnTo>
                    <a:pt x="1284" y="312"/>
                  </a:lnTo>
                  <a:lnTo>
                    <a:pt x="1290" y="306"/>
                  </a:lnTo>
                  <a:lnTo>
                    <a:pt x="1284" y="306"/>
                  </a:lnTo>
                  <a:lnTo>
                    <a:pt x="1278" y="300"/>
                  </a:lnTo>
                  <a:lnTo>
                    <a:pt x="1278" y="288"/>
                  </a:lnTo>
                  <a:lnTo>
                    <a:pt x="1266" y="276"/>
                  </a:lnTo>
                  <a:lnTo>
                    <a:pt x="1266" y="246"/>
                  </a:lnTo>
                  <a:lnTo>
                    <a:pt x="1248" y="222"/>
                  </a:lnTo>
                  <a:lnTo>
                    <a:pt x="1272" y="222"/>
                  </a:lnTo>
                  <a:lnTo>
                    <a:pt x="1272" y="216"/>
                  </a:lnTo>
                  <a:lnTo>
                    <a:pt x="1278" y="210"/>
                  </a:lnTo>
                  <a:lnTo>
                    <a:pt x="1272" y="198"/>
                  </a:lnTo>
                  <a:lnTo>
                    <a:pt x="1272" y="186"/>
                  </a:lnTo>
                  <a:lnTo>
                    <a:pt x="1266" y="180"/>
                  </a:lnTo>
                  <a:lnTo>
                    <a:pt x="1266" y="174"/>
                  </a:lnTo>
                  <a:lnTo>
                    <a:pt x="1260" y="174"/>
                  </a:lnTo>
                  <a:lnTo>
                    <a:pt x="1248" y="180"/>
                  </a:lnTo>
                  <a:lnTo>
                    <a:pt x="1236" y="180"/>
                  </a:lnTo>
                  <a:lnTo>
                    <a:pt x="1224" y="174"/>
                  </a:lnTo>
                  <a:lnTo>
                    <a:pt x="1218" y="168"/>
                  </a:lnTo>
                  <a:lnTo>
                    <a:pt x="1212" y="156"/>
                  </a:lnTo>
                  <a:lnTo>
                    <a:pt x="1212" y="144"/>
                  </a:lnTo>
                  <a:lnTo>
                    <a:pt x="1200" y="108"/>
                  </a:lnTo>
                  <a:lnTo>
                    <a:pt x="1194" y="96"/>
                  </a:lnTo>
                  <a:lnTo>
                    <a:pt x="1194" y="84"/>
                  </a:lnTo>
                  <a:lnTo>
                    <a:pt x="1188" y="78"/>
                  </a:lnTo>
                  <a:lnTo>
                    <a:pt x="1164" y="78"/>
                  </a:lnTo>
                  <a:lnTo>
                    <a:pt x="1164" y="72"/>
                  </a:lnTo>
                  <a:lnTo>
                    <a:pt x="1158" y="60"/>
                  </a:lnTo>
                  <a:lnTo>
                    <a:pt x="1152" y="54"/>
                  </a:lnTo>
                  <a:lnTo>
                    <a:pt x="1140" y="48"/>
                  </a:lnTo>
                  <a:lnTo>
                    <a:pt x="1128" y="48"/>
                  </a:lnTo>
                  <a:lnTo>
                    <a:pt x="1116" y="54"/>
                  </a:lnTo>
                  <a:lnTo>
                    <a:pt x="1110" y="60"/>
                  </a:lnTo>
                  <a:lnTo>
                    <a:pt x="1074" y="54"/>
                  </a:lnTo>
                  <a:lnTo>
                    <a:pt x="1062" y="66"/>
                  </a:lnTo>
                  <a:lnTo>
                    <a:pt x="1026" y="90"/>
                  </a:lnTo>
                  <a:lnTo>
                    <a:pt x="1014" y="96"/>
                  </a:lnTo>
                  <a:lnTo>
                    <a:pt x="930" y="96"/>
                  </a:lnTo>
                  <a:lnTo>
                    <a:pt x="876" y="108"/>
                  </a:lnTo>
                  <a:lnTo>
                    <a:pt x="810" y="84"/>
                  </a:lnTo>
                  <a:lnTo>
                    <a:pt x="786" y="96"/>
                  </a:lnTo>
                  <a:lnTo>
                    <a:pt x="786" y="90"/>
                  </a:lnTo>
                  <a:lnTo>
                    <a:pt x="780" y="84"/>
                  </a:lnTo>
                  <a:lnTo>
                    <a:pt x="774" y="72"/>
                  </a:lnTo>
                  <a:lnTo>
                    <a:pt x="768" y="66"/>
                  </a:lnTo>
                  <a:lnTo>
                    <a:pt x="756" y="66"/>
                  </a:lnTo>
                  <a:lnTo>
                    <a:pt x="744" y="72"/>
                  </a:lnTo>
                  <a:lnTo>
                    <a:pt x="738" y="78"/>
                  </a:lnTo>
                  <a:lnTo>
                    <a:pt x="708" y="60"/>
                  </a:lnTo>
                  <a:lnTo>
                    <a:pt x="708" y="36"/>
                  </a:lnTo>
                  <a:lnTo>
                    <a:pt x="660" y="48"/>
                  </a:lnTo>
                  <a:lnTo>
                    <a:pt x="636" y="30"/>
                  </a:lnTo>
                  <a:lnTo>
                    <a:pt x="630" y="12"/>
                  </a:lnTo>
                  <a:lnTo>
                    <a:pt x="624" y="12"/>
                  </a:lnTo>
                  <a:lnTo>
                    <a:pt x="618" y="18"/>
                  </a:lnTo>
                  <a:lnTo>
                    <a:pt x="600" y="18"/>
                  </a:lnTo>
                  <a:lnTo>
                    <a:pt x="588" y="24"/>
                  </a:lnTo>
                  <a:lnTo>
                    <a:pt x="558" y="24"/>
                  </a:lnTo>
                  <a:lnTo>
                    <a:pt x="534" y="18"/>
                  </a:lnTo>
                  <a:lnTo>
                    <a:pt x="504" y="18"/>
                  </a:lnTo>
                  <a:lnTo>
                    <a:pt x="492" y="24"/>
                  </a:lnTo>
                  <a:lnTo>
                    <a:pt x="456" y="36"/>
                  </a:lnTo>
                  <a:lnTo>
                    <a:pt x="444" y="42"/>
                  </a:lnTo>
                  <a:lnTo>
                    <a:pt x="438" y="48"/>
                  </a:lnTo>
                  <a:lnTo>
                    <a:pt x="426" y="54"/>
                  </a:lnTo>
                  <a:lnTo>
                    <a:pt x="414" y="66"/>
                  </a:lnTo>
                  <a:lnTo>
                    <a:pt x="408" y="66"/>
                  </a:lnTo>
                  <a:lnTo>
                    <a:pt x="396" y="90"/>
                  </a:lnTo>
                  <a:lnTo>
                    <a:pt x="378" y="90"/>
                  </a:lnTo>
                  <a:lnTo>
                    <a:pt x="354" y="84"/>
                  </a:lnTo>
                  <a:lnTo>
                    <a:pt x="294" y="84"/>
                  </a:lnTo>
                  <a:lnTo>
                    <a:pt x="282" y="78"/>
                  </a:lnTo>
                  <a:lnTo>
                    <a:pt x="264" y="78"/>
                  </a:lnTo>
                  <a:lnTo>
                    <a:pt x="252" y="72"/>
                  </a:lnTo>
                  <a:lnTo>
                    <a:pt x="240" y="72"/>
                  </a:lnTo>
                  <a:lnTo>
                    <a:pt x="234" y="66"/>
                  </a:lnTo>
                  <a:lnTo>
                    <a:pt x="198" y="66"/>
                  </a:lnTo>
                  <a:lnTo>
                    <a:pt x="186" y="54"/>
                  </a:lnTo>
                  <a:lnTo>
                    <a:pt x="180" y="36"/>
                  </a:lnTo>
                  <a:lnTo>
                    <a:pt x="180" y="24"/>
                  </a:lnTo>
                  <a:lnTo>
                    <a:pt x="168" y="24"/>
                  </a:lnTo>
                  <a:lnTo>
                    <a:pt x="156" y="18"/>
                  </a:lnTo>
                  <a:lnTo>
                    <a:pt x="144" y="18"/>
                  </a:lnTo>
                  <a:lnTo>
                    <a:pt x="132" y="0"/>
                  </a:lnTo>
                  <a:lnTo>
                    <a:pt x="120" y="18"/>
                  </a:lnTo>
                  <a:lnTo>
                    <a:pt x="90" y="12"/>
                  </a:lnTo>
                  <a:lnTo>
                    <a:pt x="72" y="36"/>
                  </a:lnTo>
                  <a:lnTo>
                    <a:pt x="78" y="42"/>
                  </a:lnTo>
                  <a:lnTo>
                    <a:pt x="90" y="42"/>
                  </a:lnTo>
                  <a:lnTo>
                    <a:pt x="90" y="48"/>
                  </a:lnTo>
                  <a:lnTo>
                    <a:pt x="96" y="54"/>
                  </a:lnTo>
                  <a:lnTo>
                    <a:pt x="96" y="66"/>
                  </a:lnTo>
                  <a:lnTo>
                    <a:pt x="78" y="66"/>
                  </a:lnTo>
                  <a:lnTo>
                    <a:pt x="72" y="72"/>
                  </a:lnTo>
                  <a:lnTo>
                    <a:pt x="72" y="78"/>
                  </a:lnTo>
                  <a:lnTo>
                    <a:pt x="78" y="84"/>
                  </a:lnTo>
                  <a:lnTo>
                    <a:pt x="78" y="96"/>
                  </a:lnTo>
                  <a:lnTo>
                    <a:pt x="72" y="108"/>
                  </a:lnTo>
                  <a:lnTo>
                    <a:pt x="72" y="114"/>
                  </a:lnTo>
                  <a:lnTo>
                    <a:pt x="66" y="120"/>
                  </a:lnTo>
                  <a:lnTo>
                    <a:pt x="66" y="132"/>
                  </a:lnTo>
                  <a:lnTo>
                    <a:pt x="72" y="132"/>
                  </a:lnTo>
                  <a:lnTo>
                    <a:pt x="90" y="126"/>
                  </a:lnTo>
                  <a:lnTo>
                    <a:pt x="102" y="126"/>
                  </a:lnTo>
                  <a:lnTo>
                    <a:pt x="108" y="120"/>
                  </a:lnTo>
                  <a:lnTo>
                    <a:pt x="114" y="120"/>
                  </a:lnTo>
                  <a:lnTo>
                    <a:pt x="114" y="132"/>
                  </a:lnTo>
                  <a:lnTo>
                    <a:pt x="120" y="132"/>
                  </a:lnTo>
                  <a:lnTo>
                    <a:pt x="126" y="126"/>
                  </a:lnTo>
                  <a:lnTo>
                    <a:pt x="138" y="120"/>
                  </a:lnTo>
                  <a:lnTo>
                    <a:pt x="162" y="96"/>
                  </a:lnTo>
                  <a:lnTo>
                    <a:pt x="168" y="96"/>
                  </a:lnTo>
                  <a:lnTo>
                    <a:pt x="174" y="90"/>
                  </a:lnTo>
                  <a:lnTo>
                    <a:pt x="186" y="90"/>
                  </a:lnTo>
                  <a:lnTo>
                    <a:pt x="204" y="84"/>
                  </a:lnTo>
                  <a:lnTo>
                    <a:pt x="216" y="84"/>
                  </a:lnTo>
                  <a:lnTo>
                    <a:pt x="252" y="102"/>
                  </a:lnTo>
                  <a:lnTo>
                    <a:pt x="270" y="108"/>
                  </a:lnTo>
                  <a:lnTo>
                    <a:pt x="282" y="108"/>
                  </a:lnTo>
                  <a:lnTo>
                    <a:pt x="288" y="114"/>
                  </a:lnTo>
                  <a:lnTo>
                    <a:pt x="294" y="114"/>
                  </a:lnTo>
                  <a:lnTo>
                    <a:pt x="270" y="114"/>
                  </a:lnTo>
                  <a:lnTo>
                    <a:pt x="258" y="120"/>
                  </a:lnTo>
                  <a:lnTo>
                    <a:pt x="246" y="120"/>
                  </a:lnTo>
                  <a:lnTo>
                    <a:pt x="246" y="132"/>
                  </a:lnTo>
                  <a:lnTo>
                    <a:pt x="240" y="138"/>
                  </a:lnTo>
                  <a:lnTo>
                    <a:pt x="186" y="144"/>
                  </a:lnTo>
                  <a:lnTo>
                    <a:pt x="138" y="138"/>
                  </a:lnTo>
                  <a:lnTo>
                    <a:pt x="120" y="138"/>
                  </a:lnTo>
                  <a:lnTo>
                    <a:pt x="96" y="150"/>
                  </a:lnTo>
                  <a:lnTo>
                    <a:pt x="84" y="162"/>
                  </a:lnTo>
                  <a:lnTo>
                    <a:pt x="84" y="174"/>
                  </a:lnTo>
                  <a:lnTo>
                    <a:pt x="78" y="192"/>
                  </a:lnTo>
                  <a:lnTo>
                    <a:pt x="78" y="204"/>
                  </a:lnTo>
                  <a:lnTo>
                    <a:pt x="72" y="210"/>
                  </a:lnTo>
                  <a:lnTo>
                    <a:pt x="72" y="216"/>
                  </a:lnTo>
                  <a:lnTo>
                    <a:pt x="114" y="216"/>
                  </a:lnTo>
                  <a:lnTo>
                    <a:pt x="114" y="240"/>
                  </a:lnTo>
                  <a:lnTo>
                    <a:pt x="120" y="246"/>
                  </a:lnTo>
                  <a:lnTo>
                    <a:pt x="126" y="258"/>
                  </a:lnTo>
                  <a:lnTo>
                    <a:pt x="132" y="264"/>
                  </a:lnTo>
                  <a:lnTo>
                    <a:pt x="126" y="282"/>
                  </a:lnTo>
                  <a:lnTo>
                    <a:pt x="138" y="300"/>
                  </a:lnTo>
                  <a:lnTo>
                    <a:pt x="126" y="318"/>
                  </a:lnTo>
                  <a:lnTo>
                    <a:pt x="162" y="354"/>
                  </a:lnTo>
                  <a:lnTo>
                    <a:pt x="156" y="390"/>
                  </a:lnTo>
                  <a:lnTo>
                    <a:pt x="210" y="414"/>
                  </a:lnTo>
                  <a:lnTo>
                    <a:pt x="216" y="444"/>
                  </a:lnTo>
                  <a:lnTo>
                    <a:pt x="216" y="438"/>
                  </a:lnTo>
                  <a:lnTo>
                    <a:pt x="222" y="438"/>
                  </a:lnTo>
                  <a:lnTo>
                    <a:pt x="222" y="432"/>
                  </a:lnTo>
                  <a:lnTo>
                    <a:pt x="228" y="432"/>
                  </a:lnTo>
                  <a:lnTo>
                    <a:pt x="252" y="444"/>
                  </a:lnTo>
                  <a:lnTo>
                    <a:pt x="258" y="444"/>
                  </a:lnTo>
                  <a:lnTo>
                    <a:pt x="264" y="450"/>
                  </a:lnTo>
                  <a:lnTo>
                    <a:pt x="270" y="462"/>
                  </a:lnTo>
                  <a:lnTo>
                    <a:pt x="282" y="468"/>
                  </a:lnTo>
                  <a:lnTo>
                    <a:pt x="294" y="468"/>
                  </a:lnTo>
                  <a:lnTo>
                    <a:pt x="312" y="474"/>
                  </a:lnTo>
                  <a:lnTo>
                    <a:pt x="372" y="474"/>
                  </a:lnTo>
                  <a:lnTo>
                    <a:pt x="372" y="450"/>
                  </a:lnTo>
                  <a:lnTo>
                    <a:pt x="378" y="438"/>
                  </a:lnTo>
                  <a:lnTo>
                    <a:pt x="390" y="426"/>
                  </a:lnTo>
                  <a:lnTo>
                    <a:pt x="408" y="426"/>
                  </a:lnTo>
                  <a:lnTo>
                    <a:pt x="432" y="432"/>
                  </a:lnTo>
                  <a:lnTo>
                    <a:pt x="468" y="444"/>
                  </a:lnTo>
                  <a:lnTo>
                    <a:pt x="474" y="450"/>
                  </a:lnTo>
                  <a:lnTo>
                    <a:pt x="480" y="450"/>
                  </a:lnTo>
                  <a:lnTo>
                    <a:pt x="480" y="456"/>
                  </a:lnTo>
                  <a:lnTo>
                    <a:pt x="486" y="468"/>
                  </a:lnTo>
                  <a:lnTo>
                    <a:pt x="486" y="474"/>
                  </a:lnTo>
                  <a:lnTo>
                    <a:pt x="492" y="480"/>
                  </a:lnTo>
                  <a:lnTo>
                    <a:pt x="504" y="486"/>
                  </a:lnTo>
                  <a:lnTo>
                    <a:pt x="564" y="486"/>
                  </a:lnTo>
                  <a:lnTo>
                    <a:pt x="576" y="480"/>
                  </a:lnTo>
                  <a:lnTo>
                    <a:pt x="594" y="474"/>
                  </a:lnTo>
                  <a:lnTo>
                    <a:pt x="606" y="462"/>
                  </a:lnTo>
                  <a:lnTo>
                    <a:pt x="618" y="456"/>
                  </a:lnTo>
                  <a:lnTo>
                    <a:pt x="630" y="444"/>
                  </a:lnTo>
                  <a:lnTo>
                    <a:pt x="648" y="438"/>
                  </a:lnTo>
                  <a:lnTo>
                    <a:pt x="660" y="432"/>
                  </a:lnTo>
                  <a:lnTo>
                    <a:pt x="672" y="432"/>
                  </a:lnTo>
                  <a:lnTo>
                    <a:pt x="684" y="438"/>
                  </a:lnTo>
                  <a:lnTo>
                    <a:pt x="690" y="444"/>
                  </a:lnTo>
                  <a:lnTo>
                    <a:pt x="696" y="444"/>
                  </a:lnTo>
                  <a:lnTo>
                    <a:pt x="702" y="450"/>
                  </a:lnTo>
                  <a:lnTo>
                    <a:pt x="714" y="450"/>
                  </a:lnTo>
                  <a:lnTo>
                    <a:pt x="726" y="444"/>
                  </a:lnTo>
                  <a:lnTo>
                    <a:pt x="732" y="432"/>
                  </a:lnTo>
                  <a:lnTo>
                    <a:pt x="744" y="420"/>
                  </a:lnTo>
                  <a:lnTo>
                    <a:pt x="756" y="432"/>
                  </a:lnTo>
                  <a:lnTo>
                    <a:pt x="756" y="444"/>
                  </a:lnTo>
                  <a:lnTo>
                    <a:pt x="750" y="450"/>
                  </a:lnTo>
                  <a:lnTo>
                    <a:pt x="744" y="462"/>
                  </a:lnTo>
                  <a:lnTo>
                    <a:pt x="744" y="468"/>
                  </a:lnTo>
                  <a:lnTo>
                    <a:pt x="738" y="474"/>
                  </a:lnTo>
                  <a:lnTo>
                    <a:pt x="738" y="486"/>
                  </a:lnTo>
                  <a:lnTo>
                    <a:pt x="744" y="492"/>
                  </a:lnTo>
                  <a:lnTo>
                    <a:pt x="744" y="498"/>
                  </a:lnTo>
                  <a:lnTo>
                    <a:pt x="756" y="510"/>
                  </a:lnTo>
                  <a:lnTo>
                    <a:pt x="768" y="510"/>
                  </a:lnTo>
                  <a:lnTo>
                    <a:pt x="768" y="504"/>
                  </a:lnTo>
                  <a:lnTo>
                    <a:pt x="774" y="498"/>
                  </a:lnTo>
                  <a:lnTo>
                    <a:pt x="774" y="480"/>
                  </a:lnTo>
                  <a:lnTo>
                    <a:pt x="780" y="486"/>
                  </a:lnTo>
                  <a:lnTo>
                    <a:pt x="792" y="486"/>
                  </a:lnTo>
                  <a:lnTo>
                    <a:pt x="792" y="462"/>
                  </a:lnTo>
                  <a:lnTo>
                    <a:pt x="786" y="462"/>
                  </a:lnTo>
                  <a:lnTo>
                    <a:pt x="786" y="432"/>
                  </a:lnTo>
                  <a:lnTo>
                    <a:pt x="810" y="432"/>
                  </a:lnTo>
                  <a:lnTo>
                    <a:pt x="804" y="438"/>
                  </a:lnTo>
                  <a:lnTo>
                    <a:pt x="804" y="444"/>
                  </a:lnTo>
                  <a:lnTo>
                    <a:pt x="840" y="444"/>
                  </a:lnTo>
                  <a:lnTo>
                    <a:pt x="858" y="438"/>
                  </a:lnTo>
                  <a:lnTo>
                    <a:pt x="864" y="432"/>
                  </a:lnTo>
                  <a:lnTo>
                    <a:pt x="870" y="432"/>
                  </a:lnTo>
                  <a:lnTo>
                    <a:pt x="888" y="414"/>
                  </a:lnTo>
                  <a:lnTo>
                    <a:pt x="894" y="414"/>
                  </a:lnTo>
                  <a:lnTo>
                    <a:pt x="900" y="420"/>
                  </a:lnTo>
                  <a:lnTo>
                    <a:pt x="912" y="426"/>
                  </a:lnTo>
                  <a:lnTo>
                    <a:pt x="924" y="438"/>
                  </a:lnTo>
                  <a:lnTo>
                    <a:pt x="942" y="438"/>
                  </a:lnTo>
                  <a:lnTo>
                    <a:pt x="954" y="444"/>
                  </a:lnTo>
                  <a:lnTo>
                    <a:pt x="966" y="444"/>
                  </a:lnTo>
                  <a:lnTo>
                    <a:pt x="978" y="438"/>
                  </a:lnTo>
                  <a:lnTo>
                    <a:pt x="996" y="438"/>
                  </a:lnTo>
                  <a:lnTo>
                    <a:pt x="1002" y="432"/>
                  </a:lnTo>
                  <a:lnTo>
                    <a:pt x="1014" y="426"/>
                  </a:lnTo>
                  <a:lnTo>
                    <a:pt x="1026" y="414"/>
                  </a:lnTo>
                  <a:lnTo>
                    <a:pt x="1038" y="408"/>
                  </a:lnTo>
                  <a:lnTo>
                    <a:pt x="1086" y="408"/>
                  </a:lnTo>
                  <a:lnTo>
                    <a:pt x="1092" y="414"/>
                  </a:lnTo>
                  <a:lnTo>
                    <a:pt x="1110" y="414"/>
                  </a:lnTo>
                  <a:lnTo>
                    <a:pt x="1122" y="402"/>
                  </a:lnTo>
                  <a:lnTo>
                    <a:pt x="1146" y="402"/>
                  </a:lnTo>
                  <a:lnTo>
                    <a:pt x="1152" y="390"/>
                  </a:lnTo>
                  <a:lnTo>
                    <a:pt x="1152" y="384"/>
                  </a:lnTo>
                  <a:lnTo>
                    <a:pt x="1158" y="384"/>
                  </a:lnTo>
                  <a:lnTo>
                    <a:pt x="1158" y="408"/>
                  </a:lnTo>
                  <a:lnTo>
                    <a:pt x="1164" y="414"/>
                  </a:lnTo>
                  <a:lnTo>
                    <a:pt x="1170" y="414"/>
                  </a:lnTo>
                  <a:lnTo>
                    <a:pt x="1182" y="408"/>
                  </a:lnTo>
                  <a:lnTo>
                    <a:pt x="1188" y="402"/>
                  </a:lnTo>
                  <a:lnTo>
                    <a:pt x="1188" y="390"/>
                  </a:lnTo>
                  <a:lnTo>
                    <a:pt x="1230" y="390"/>
                  </a:lnTo>
                  <a:lnTo>
                    <a:pt x="1242" y="402"/>
                  </a:lnTo>
                  <a:lnTo>
                    <a:pt x="1254" y="402"/>
                  </a:lnTo>
                  <a:lnTo>
                    <a:pt x="1260" y="396"/>
                  </a:lnTo>
                  <a:lnTo>
                    <a:pt x="1260" y="390"/>
                  </a:lnTo>
                  <a:lnTo>
                    <a:pt x="1284" y="390"/>
                  </a:lnTo>
                  <a:lnTo>
                    <a:pt x="1290" y="396"/>
                  </a:lnTo>
                  <a:lnTo>
                    <a:pt x="1290" y="414"/>
                  </a:lnTo>
                  <a:lnTo>
                    <a:pt x="1332" y="402"/>
                  </a:lnTo>
                  <a:close/>
                  <a:moveTo>
                    <a:pt x="102" y="282"/>
                  </a:moveTo>
                  <a:lnTo>
                    <a:pt x="96" y="282"/>
                  </a:lnTo>
                  <a:lnTo>
                    <a:pt x="96" y="312"/>
                  </a:lnTo>
                  <a:lnTo>
                    <a:pt x="102" y="324"/>
                  </a:lnTo>
                  <a:lnTo>
                    <a:pt x="108" y="330"/>
                  </a:lnTo>
                  <a:lnTo>
                    <a:pt x="114" y="324"/>
                  </a:lnTo>
                  <a:lnTo>
                    <a:pt x="114" y="318"/>
                  </a:lnTo>
                  <a:lnTo>
                    <a:pt x="120" y="312"/>
                  </a:lnTo>
                  <a:lnTo>
                    <a:pt x="120" y="300"/>
                  </a:lnTo>
                  <a:lnTo>
                    <a:pt x="102" y="282"/>
                  </a:lnTo>
                  <a:close/>
                </a:path>
              </a:pathLst>
            </a:custGeom>
            <a:solidFill>
              <a:srgbClr val="FFC000"/>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60" name="Tunisia" descr="© INSCALE GmbH, 05.05.2010&#10;http://www.presentationload.com/"/>
            <p:cNvSpPr>
              <a:spLocks/>
            </p:cNvSpPr>
            <p:nvPr/>
          </p:nvSpPr>
          <p:spPr bwMode="gray">
            <a:xfrm>
              <a:off x="4433892" y="2868613"/>
              <a:ext cx="109537" cy="228599"/>
            </a:xfrm>
            <a:custGeom>
              <a:avLst/>
              <a:gdLst>
                <a:gd name="T0" fmla="*/ 2147483647 w 276"/>
                <a:gd name="T1" fmla="*/ 2147483647 h 570"/>
                <a:gd name="T2" fmla="*/ 2147483647 w 276"/>
                <a:gd name="T3" fmla="*/ 2147483647 h 570"/>
                <a:gd name="T4" fmla="*/ 2147483647 w 276"/>
                <a:gd name="T5" fmla="*/ 2147483647 h 570"/>
                <a:gd name="T6" fmla="*/ 2147483647 w 276"/>
                <a:gd name="T7" fmla="*/ 2147483647 h 570"/>
                <a:gd name="T8" fmla="*/ 2147483647 w 276"/>
                <a:gd name="T9" fmla="*/ 2147483647 h 570"/>
                <a:gd name="T10" fmla="*/ 2147483647 w 276"/>
                <a:gd name="T11" fmla="*/ 2147483647 h 570"/>
                <a:gd name="T12" fmla="*/ 0 w 276"/>
                <a:gd name="T13" fmla="*/ 2147483647 h 570"/>
                <a:gd name="T14" fmla="*/ 2147483647 w 276"/>
                <a:gd name="T15" fmla="*/ 2147483647 h 570"/>
                <a:gd name="T16" fmla="*/ 2147483647 w 276"/>
                <a:gd name="T17" fmla="*/ 2147483647 h 570"/>
                <a:gd name="T18" fmla="*/ 2147483647 w 276"/>
                <a:gd name="T19" fmla="*/ 2147483647 h 570"/>
                <a:gd name="T20" fmla="*/ 2147483647 w 276"/>
                <a:gd name="T21" fmla="*/ 2147483647 h 570"/>
                <a:gd name="T22" fmla="*/ 2147483647 w 276"/>
                <a:gd name="T23" fmla="*/ 2147483647 h 570"/>
                <a:gd name="T24" fmla="*/ 2147483647 w 276"/>
                <a:gd name="T25" fmla="*/ 2147483647 h 570"/>
                <a:gd name="T26" fmla="*/ 2147483647 w 276"/>
                <a:gd name="T27" fmla="*/ 2147483647 h 570"/>
                <a:gd name="T28" fmla="*/ 2147483647 w 276"/>
                <a:gd name="T29" fmla="*/ 2147483647 h 570"/>
                <a:gd name="T30" fmla="*/ 2147483647 w 276"/>
                <a:gd name="T31" fmla="*/ 2147483647 h 570"/>
                <a:gd name="T32" fmla="*/ 2147483647 w 276"/>
                <a:gd name="T33" fmla="*/ 2147483647 h 570"/>
                <a:gd name="T34" fmla="*/ 2147483647 w 276"/>
                <a:gd name="T35" fmla="*/ 2147483647 h 570"/>
                <a:gd name="T36" fmla="*/ 2147483647 w 276"/>
                <a:gd name="T37" fmla="*/ 2147483647 h 570"/>
                <a:gd name="T38" fmla="*/ 2147483647 w 276"/>
                <a:gd name="T39" fmla="*/ 2147483647 h 570"/>
                <a:gd name="T40" fmla="*/ 2147483647 w 276"/>
                <a:gd name="T41" fmla="*/ 2147483647 h 570"/>
                <a:gd name="T42" fmla="*/ 2147483647 w 276"/>
                <a:gd name="T43" fmla="*/ 2147483647 h 570"/>
                <a:gd name="T44" fmla="*/ 2147483647 w 276"/>
                <a:gd name="T45" fmla="*/ 2147483647 h 570"/>
                <a:gd name="T46" fmla="*/ 2147483647 w 276"/>
                <a:gd name="T47" fmla="*/ 2147483647 h 570"/>
                <a:gd name="T48" fmla="*/ 2147483647 w 276"/>
                <a:gd name="T49" fmla="*/ 2147483647 h 570"/>
                <a:gd name="T50" fmla="*/ 2147483647 w 276"/>
                <a:gd name="T51" fmla="*/ 2147483647 h 570"/>
                <a:gd name="T52" fmla="*/ 2147483647 w 276"/>
                <a:gd name="T53" fmla="*/ 2147483647 h 570"/>
                <a:gd name="T54" fmla="*/ 2147483647 w 276"/>
                <a:gd name="T55" fmla="*/ 2147483647 h 570"/>
                <a:gd name="T56" fmla="*/ 2147483647 w 276"/>
                <a:gd name="T57" fmla="*/ 2147483647 h 570"/>
                <a:gd name="T58" fmla="*/ 2147483647 w 276"/>
                <a:gd name="T59" fmla="*/ 2147483647 h 570"/>
                <a:gd name="T60" fmla="*/ 2147483647 w 276"/>
                <a:gd name="T61" fmla="*/ 2147483647 h 570"/>
                <a:gd name="T62" fmla="*/ 2147483647 w 276"/>
                <a:gd name="T63" fmla="*/ 2147483647 h 570"/>
                <a:gd name="T64" fmla="*/ 2147483647 w 276"/>
                <a:gd name="T65" fmla="*/ 2147483647 h 570"/>
                <a:gd name="T66" fmla="*/ 2147483647 w 276"/>
                <a:gd name="T67" fmla="*/ 2147483647 h 570"/>
                <a:gd name="T68" fmla="*/ 2147483647 w 276"/>
                <a:gd name="T69" fmla="*/ 2147483647 h 570"/>
                <a:gd name="T70" fmla="*/ 2147483647 w 276"/>
                <a:gd name="T71" fmla="*/ 2147483647 h 570"/>
                <a:gd name="T72" fmla="*/ 2147483647 w 276"/>
                <a:gd name="T73" fmla="*/ 2147483647 h 570"/>
                <a:gd name="T74" fmla="*/ 2147483647 w 276"/>
                <a:gd name="T75" fmla="*/ 2147483647 h 570"/>
                <a:gd name="T76" fmla="*/ 2147483647 w 276"/>
                <a:gd name="T77" fmla="*/ 2147483647 h 570"/>
                <a:gd name="T78" fmla="*/ 2147483647 w 276"/>
                <a:gd name="T79" fmla="*/ 2147483647 h 570"/>
                <a:gd name="T80" fmla="*/ 2147483647 w 276"/>
                <a:gd name="T81" fmla="*/ 2147483647 h 570"/>
                <a:gd name="T82" fmla="*/ 2147483647 w 276"/>
                <a:gd name="T83" fmla="*/ 2147483647 h 570"/>
                <a:gd name="T84" fmla="*/ 2147483647 w 276"/>
                <a:gd name="T85" fmla="*/ 2147483647 h 570"/>
                <a:gd name="T86" fmla="*/ 2147483647 w 276"/>
                <a:gd name="T87" fmla="*/ 2147483647 h 570"/>
                <a:gd name="T88" fmla="*/ 2147483647 w 276"/>
                <a:gd name="T89" fmla="*/ 0 h 570"/>
                <a:gd name="T90" fmla="*/ 2147483647 w 276"/>
                <a:gd name="T91" fmla="*/ 2147483647 h 570"/>
                <a:gd name="T92" fmla="*/ 2147483647 w 276"/>
                <a:gd name="T93" fmla="*/ 2147483647 h 570"/>
                <a:gd name="T94" fmla="*/ 2147483647 w 276"/>
                <a:gd name="T95" fmla="*/ 2147483647 h 5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76"/>
                <a:gd name="T145" fmla="*/ 0 h 570"/>
                <a:gd name="T146" fmla="*/ 276 w 276"/>
                <a:gd name="T147" fmla="*/ 570 h 5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76" h="570">
                  <a:moveTo>
                    <a:pt x="42" y="60"/>
                  </a:moveTo>
                  <a:lnTo>
                    <a:pt x="60" y="66"/>
                  </a:lnTo>
                  <a:lnTo>
                    <a:pt x="60" y="78"/>
                  </a:lnTo>
                  <a:lnTo>
                    <a:pt x="54" y="90"/>
                  </a:lnTo>
                  <a:lnTo>
                    <a:pt x="54" y="126"/>
                  </a:lnTo>
                  <a:lnTo>
                    <a:pt x="60" y="138"/>
                  </a:lnTo>
                  <a:lnTo>
                    <a:pt x="60" y="180"/>
                  </a:lnTo>
                  <a:lnTo>
                    <a:pt x="54" y="192"/>
                  </a:lnTo>
                  <a:lnTo>
                    <a:pt x="54" y="204"/>
                  </a:lnTo>
                  <a:lnTo>
                    <a:pt x="48" y="210"/>
                  </a:lnTo>
                  <a:lnTo>
                    <a:pt x="48" y="216"/>
                  </a:lnTo>
                  <a:lnTo>
                    <a:pt x="24" y="234"/>
                  </a:lnTo>
                  <a:lnTo>
                    <a:pt x="0" y="258"/>
                  </a:lnTo>
                  <a:lnTo>
                    <a:pt x="0" y="300"/>
                  </a:lnTo>
                  <a:lnTo>
                    <a:pt x="12" y="300"/>
                  </a:lnTo>
                  <a:lnTo>
                    <a:pt x="12" y="330"/>
                  </a:lnTo>
                  <a:lnTo>
                    <a:pt x="24" y="330"/>
                  </a:lnTo>
                  <a:lnTo>
                    <a:pt x="42" y="336"/>
                  </a:lnTo>
                  <a:lnTo>
                    <a:pt x="54" y="348"/>
                  </a:lnTo>
                  <a:lnTo>
                    <a:pt x="54" y="390"/>
                  </a:lnTo>
                  <a:lnTo>
                    <a:pt x="60" y="390"/>
                  </a:lnTo>
                  <a:lnTo>
                    <a:pt x="66" y="396"/>
                  </a:lnTo>
                  <a:lnTo>
                    <a:pt x="90" y="408"/>
                  </a:lnTo>
                  <a:lnTo>
                    <a:pt x="96" y="420"/>
                  </a:lnTo>
                  <a:lnTo>
                    <a:pt x="102" y="426"/>
                  </a:lnTo>
                  <a:lnTo>
                    <a:pt x="108" y="450"/>
                  </a:lnTo>
                  <a:lnTo>
                    <a:pt x="114" y="492"/>
                  </a:lnTo>
                  <a:lnTo>
                    <a:pt x="126" y="540"/>
                  </a:lnTo>
                  <a:lnTo>
                    <a:pt x="138" y="570"/>
                  </a:lnTo>
                  <a:lnTo>
                    <a:pt x="144" y="564"/>
                  </a:lnTo>
                  <a:lnTo>
                    <a:pt x="156" y="564"/>
                  </a:lnTo>
                  <a:lnTo>
                    <a:pt x="186" y="534"/>
                  </a:lnTo>
                  <a:lnTo>
                    <a:pt x="186" y="510"/>
                  </a:lnTo>
                  <a:lnTo>
                    <a:pt x="174" y="486"/>
                  </a:lnTo>
                  <a:lnTo>
                    <a:pt x="174" y="468"/>
                  </a:lnTo>
                  <a:lnTo>
                    <a:pt x="192" y="450"/>
                  </a:lnTo>
                  <a:lnTo>
                    <a:pt x="198" y="450"/>
                  </a:lnTo>
                  <a:lnTo>
                    <a:pt x="204" y="438"/>
                  </a:lnTo>
                  <a:lnTo>
                    <a:pt x="210" y="432"/>
                  </a:lnTo>
                  <a:lnTo>
                    <a:pt x="216" y="420"/>
                  </a:lnTo>
                  <a:lnTo>
                    <a:pt x="222" y="414"/>
                  </a:lnTo>
                  <a:lnTo>
                    <a:pt x="234" y="408"/>
                  </a:lnTo>
                  <a:lnTo>
                    <a:pt x="246" y="408"/>
                  </a:lnTo>
                  <a:lnTo>
                    <a:pt x="270" y="396"/>
                  </a:lnTo>
                  <a:lnTo>
                    <a:pt x="276" y="390"/>
                  </a:lnTo>
                  <a:lnTo>
                    <a:pt x="276" y="384"/>
                  </a:lnTo>
                  <a:lnTo>
                    <a:pt x="264" y="372"/>
                  </a:lnTo>
                  <a:lnTo>
                    <a:pt x="258" y="372"/>
                  </a:lnTo>
                  <a:lnTo>
                    <a:pt x="264" y="330"/>
                  </a:lnTo>
                  <a:lnTo>
                    <a:pt x="252" y="330"/>
                  </a:lnTo>
                  <a:lnTo>
                    <a:pt x="240" y="300"/>
                  </a:lnTo>
                  <a:lnTo>
                    <a:pt x="228" y="294"/>
                  </a:lnTo>
                  <a:lnTo>
                    <a:pt x="222" y="306"/>
                  </a:lnTo>
                  <a:lnTo>
                    <a:pt x="216" y="294"/>
                  </a:lnTo>
                  <a:lnTo>
                    <a:pt x="198" y="294"/>
                  </a:lnTo>
                  <a:lnTo>
                    <a:pt x="186" y="288"/>
                  </a:lnTo>
                  <a:lnTo>
                    <a:pt x="180" y="282"/>
                  </a:lnTo>
                  <a:lnTo>
                    <a:pt x="168" y="276"/>
                  </a:lnTo>
                  <a:lnTo>
                    <a:pt x="168" y="246"/>
                  </a:lnTo>
                  <a:lnTo>
                    <a:pt x="174" y="240"/>
                  </a:lnTo>
                  <a:lnTo>
                    <a:pt x="180" y="240"/>
                  </a:lnTo>
                  <a:lnTo>
                    <a:pt x="234" y="186"/>
                  </a:lnTo>
                  <a:lnTo>
                    <a:pt x="240" y="174"/>
                  </a:lnTo>
                  <a:lnTo>
                    <a:pt x="240" y="156"/>
                  </a:lnTo>
                  <a:lnTo>
                    <a:pt x="234" y="144"/>
                  </a:lnTo>
                  <a:lnTo>
                    <a:pt x="216" y="126"/>
                  </a:lnTo>
                  <a:lnTo>
                    <a:pt x="204" y="120"/>
                  </a:lnTo>
                  <a:lnTo>
                    <a:pt x="198" y="120"/>
                  </a:lnTo>
                  <a:lnTo>
                    <a:pt x="198" y="102"/>
                  </a:lnTo>
                  <a:lnTo>
                    <a:pt x="204" y="90"/>
                  </a:lnTo>
                  <a:lnTo>
                    <a:pt x="204" y="78"/>
                  </a:lnTo>
                  <a:lnTo>
                    <a:pt x="210" y="72"/>
                  </a:lnTo>
                  <a:lnTo>
                    <a:pt x="222" y="66"/>
                  </a:lnTo>
                  <a:lnTo>
                    <a:pt x="228" y="60"/>
                  </a:lnTo>
                  <a:lnTo>
                    <a:pt x="234" y="48"/>
                  </a:lnTo>
                  <a:lnTo>
                    <a:pt x="234" y="36"/>
                  </a:lnTo>
                  <a:lnTo>
                    <a:pt x="240" y="30"/>
                  </a:lnTo>
                  <a:lnTo>
                    <a:pt x="240" y="18"/>
                  </a:lnTo>
                  <a:lnTo>
                    <a:pt x="228" y="18"/>
                  </a:lnTo>
                  <a:lnTo>
                    <a:pt x="222" y="30"/>
                  </a:lnTo>
                  <a:lnTo>
                    <a:pt x="210" y="36"/>
                  </a:lnTo>
                  <a:lnTo>
                    <a:pt x="204" y="48"/>
                  </a:lnTo>
                  <a:lnTo>
                    <a:pt x="192" y="60"/>
                  </a:lnTo>
                  <a:lnTo>
                    <a:pt x="186" y="60"/>
                  </a:lnTo>
                  <a:lnTo>
                    <a:pt x="174" y="54"/>
                  </a:lnTo>
                  <a:lnTo>
                    <a:pt x="162" y="42"/>
                  </a:lnTo>
                  <a:lnTo>
                    <a:pt x="174" y="30"/>
                  </a:lnTo>
                  <a:lnTo>
                    <a:pt x="174" y="24"/>
                  </a:lnTo>
                  <a:lnTo>
                    <a:pt x="180" y="12"/>
                  </a:lnTo>
                  <a:lnTo>
                    <a:pt x="168" y="0"/>
                  </a:lnTo>
                  <a:lnTo>
                    <a:pt x="138" y="0"/>
                  </a:lnTo>
                  <a:lnTo>
                    <a:pt x="126" y="6"/>
                  </a:lnTo>
                  <a:lnTo>
                    <a:pt x="108" y="12"/>
                  </a:lnTo>
                  <a:lnTo>
                    <a:pt x="96" y="18"/>
                  </a:lnTo>
                  <a:lnTo>
                    <a:pt x="84" y="30"/>
                  </a:lnTo>
                  <a:lnTo>
                    <a:pt x="84" y="42"/>
                  </a:lnTo>
                  <a:lnTo>
                    <a:pt x="42" y="60"/>
                  </a:lnTo>
                  <a:close/>
                </a:path>
              </a:pathLst>
            </a:custGeom>
            <a:solidFill>
              <a:srgbClr val="692864"/>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61" name="Togo" descr="© INSCALE GmbH, 05.05.2010&#10;http://www.presentationload.com/"/>
            <p:cNvSpPr>
              <a:spLocks/>
            </p:cNvSpPr>
            <p:nvPr/>
          </p:nvSpPr>
          <p:spPr bwMode="gray">
            <a:xfrm>
              <a:off x="4210053" y="3719512"/>
              <a:ext cx="57150" cy="161925"/>
            </a:xfrm>
            <a:custGeom>
              <a:avLst/>
              <a:gdLst>
                <a:gd name="T0" fmla="*/ 2147483647 w 138"/>
                <a:gd name="T1" fmla="*/ 2147483647 h 402"/>
                <a:gd name="T2" fmla="*/ 2147483647 w 138"/>
                <a:gd name="T3" fmla="*/ 2147483647 h 402"/>
                <a:gd name="T4" fmla="*/ 2147483647 w 138"/>
                <a:gd name="T5" fmla="*/ 2147483647 h 402"/>
                <a:gd name="T6" fmla="*/ 2147483647 w 138"/>
                <a:gd name="T7" fmla="*/ 2147483647 h 402"/>
                <a:gd name="T8" fmla="*/ 2147483647 w 138"/>
                <a:gd name="T9" fmla="*/ 2147483647 h 402"/>
                <a:gd name="T10" fmla="*/ 2147483647 w 138"/>
                <a:gd name="T11" fmla="*/ 2147483647 h 402"/>
                <a:gd name="T12" fmla="*/ 2147483647 w 138"/>
                <a:gd name="T13" fmla="*/ 2147483647 h 402"/>
                <a:gd name="T14" fmla="*/ 2147483647 w 138"/>
                <a:gd name="T15" fmla="*/ 2147483647 h 402"/>
                <a:gd name="T16" fmla="*/ 2147483647 w 138"/>
                <a:gd name="T17" fmla="*/ 2147483647 h 402"/>
                <a:gd name="T18" fmla="*/ 2147483647 w 138"/>
                <a:gd name="T19" fmla="*/ 2147483647 h 402"/>
                <a:gd name="T20" fmla="*/ 2147483647 w 138"/>
                <a:gd name="T21" fmla="*/ 2147483647 h 402"/>
                <a:gd name="T22" fmla="*/ 2147483647 w 138"/>
                <a:gd name="T23" fmla="*/ 2147483647 h 402"/>
                <a:gd name="T24" fmla="*/ 2147483647 w 138"/>
                <a:gd name="T25" fmla="*/ 2147483647 h 402"/>
                <a:gd name="T26" fmla="*/ 2147483647 w 138"/>
                <a:gd name="T27" fmla="*/ 2147483647 h 402"/>
                <a:gd name="T28" fmla="*/ 2147483647 w 138"/>
                <a:gd name="T29" fmla="*/ 2147483647 h 402"/>
                <a:gd name="T30" fmla="*/ 2147483647 w 138"/>
                <a:gd name="T31" fmla="*/ 2147483647 h 402"/>
                <a:gd name="T32" fmla="*/ 2147483647 w 138"/>
                <a:gd name="T33" fmla="*/ 0 h 402"/>
                <a:gd name="T34" fmla="*/ 2147483647 w 138"/>
                <a:gd name="T35" fmla="*/ 0 h 402"/>
                <a:gd name="T36" fmla="*/ 2147483647 w 138"/>
                <a:gd name="T37" fmla="*/ 2147483647 h 402"/>
                <a:gd name="T38" fmla="*/ 0 w 138"/>
                <a:gd name="T39" fmla="*/ 2147483647 h 402"/>
                <a:gd name="T40" fmla="*/ 2147483647 w 138"/>
                <a:gd name="T41" fmla="*/ 2147483647 h 402"/>
                <a:gd name="T42" fmla="*/ 2147483647 w 138"/>
                <a:gd name="T43" fmla="*/ 2147483647 h 402"/>
                <a:gd name="T44" fmla="*/ 2147483647 w 138"/>
                <a:gd name="T45" fmla="*/ 2147483647 h 402"/>
                <a:gd name="T46" fmla="*/ 2147483647 w 138"/>
                <a:gd name="T47" fmla="*/ 2147483647 h 402"/>
                <a:gd name="T48" fmla="*/ 2147483647 w 138"/>
                <a:gd name="T49" fmla="*/ 2147483647 h 402"/>
                <a:gd name="T50" fmla="*/ 2147483647 w 138"/>
                <a:gd name="T51" fmla="*/ 2147483647 h 402"/>
                <a:gd name="T52" fmla="*/ 2147483647 w 138"/>
                <a:gd name="T53" fmla="*/ 2147483647 h 402"/>
                <a:gd name="T54" fmla="*/ 2147483647 w 138"/>
                <a:gd name="T55" fmla="*/ 2147483647 h 402"/>
                <a:gd name="T56" fmla="*/ 2147483647 w 138"/>
                <a:gd name="T57" fmla="*/ 2147483647 h 402"/>
                <a:gd name="T58" fmla="*/ 2147483647 w 138"/>
                <a:gd name="T59" fmla="*/ 2147483647 h 402"/>
                <a:gd name="T60" fmla="*/ 2147483647 w 138"/>
                <a:gd name="T61" fmla="*/ 2147483647 h 402"/>
                <a:gd name="T62" fmla="*/ 2147483647 w 138"/>
                <a:gd name="T63" fmla="*/ 2147483647 h 402"/>
                <a:gd name="T64" fmla="*/ 2147483647 w 138"/>
                <a:gd name="T65" fmla="*/ 2147483647 h 402"/>
                <a:gd name="T66" fmla="*/ 2147483647 w 138"/>
                <a:gd name="T67" fmla="*/ 2147483647 h 402"/>
                <a:gd name="T68" fmla="*/ 2147483647 w 138"/>
                <a:gd name="T69" fmla="*/ 2147483647 h 402"/>
                <a:gd name="T70" fmla="*/ 2147483647 w 138"/>
                <a:gd name="T71" fmla="*/ 2147483647 h 402"/>
                <a:gd name="T72" fmla="*/ 2147483647 w 138"/>
                <a:gd name="T73" fmla="*/ 2147483647 h 402"/>
                <a:gd name="T74" fmla="*/ 2147483647 w 138"/>
                <a:gd name="T75" fmla="*/ 2147483647 h 402"/>
                <a:gd name="T76" fmla="*/ 2147483647 w 138"/>
                <a:gd name="T77" fmla="*/ 2147483647 h 402"/>
                <a:gd name="T78" fmla="*/ 2147483647 w 138"/>
                <a:gd name="T79" fmla="*/ 2147483647 h 402"/>
                <a:gd name="T80" fmla="*/ 2147483647 w 138"/>
                <a:gd name="T81" fmla="*/ 2147483647 h 402"/>
                <a:gd name="T82" fmla="*/ 2147483647 w 138"/>
                <a:gd name="T83" fmla="*/ 2147483647 h 402"/>
                <a:gd name="T84" fmla="*/ 2147483647 w 138"/>
                <a:gd name="T85" fmla="*/ 2147483647 h 402"/>
                <a:gd name="T86" fmla="*/ 2147483647 w 138"/>
                <a:gd name="T87" fmla="*/ 2147483647 h 402"/>
                <a:gd name="T88" fmla="*/ 2147483647 w 138"/>
                <a:gd name="T89" fmla="*/ 2147483647 h 402"/>
                <a:gd name="T90" fmla="*/ 2147483647 w 138"/>
                <a:gd name="T91" fmla="*/ 2147483647 h 402"/>
                <a:gd name="T92" fmla="*/ 2147483647 w 138"/>
                <a:gd name="T93" fmla="*/ 2147483647 h 402"/>
                <a:gd name="T94" fmla="*/ 2147483647 w 138"/>
                <a:gd name="T95" fmla="*/ 2147483647 h 402"/>
                <a:gd name="T96" fmla="*/ 2147483647 w 138"/>
                <a:gd name="T97" fmla="*/ 2147483647 h 402"/>
                <a:gd name="T98" fmla="*/ 2147483647 w 138"/>
                <a:gd name="T99" fmla="*/ 2147483647 h 402"/>
                <a:gd name="T100" fmla="*/ 2147483647 w 138"/>
                <a:gd name="T101" fmla="*/ 2147483647 h 402"/>
                <a:gd name="T102" fmla="*/ 2147483647 w 138"/>
                <a:gd name="T103" fmla="*/ 2147483647 h 40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8"/>
                <a:gd name="T157" fmla="*/ 0 h 402"/>
                <a:gd name="T158" fmla="*/ 138 w 138"/>
                <a:gd name="T159" fmla="*/ 402 h 40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8" h="402">
                  <a:moveTo>
                    <a:pt x="126" y="354"/>
                  </a:moveTo>
                  <a:lnTo>
                    <a:pt x="120" y="288"/>
                  </a:lnTo>
                  <a:lnTo>
                    <a:pt x="132" y="282"/>
                  </a:lnTo>
                  <a:lnTo>
                    <a:pt x="120" y="270"/>
                  </a:lnTo>
                  <a:lnTo>
                    <a:pt x="120" y="210"/>
                  </a:lnTo>
                  <a:lnTo>
                    <a:pt x="132" y="198"/>
                  </a:lnTo>
                  <a:lnTo>
                    <a:pt x="126" y="186"/>
                  </a:lnTo>
                  <a:lnTo>
                    <a:pt x="126" y="156"/>
                  </a:lnTo>
                  <a:lnTo>
                    <a:pt x="120" y="144"/>
                  </a:lnTo>
                  <a:lnTo>
                    <a:pt x="108" y="132"/>
                  </a:lnTo>
                  <a:lnTo>
                    <a:pt x="108" y="90"/>
                  </a:lnTo>
                  <a:lnTo>
                    <a:pt x="78" y="60"/>
                  </a:lnTo>
                  <a:lnTo>
                    <a:pt x="66" y="54"/>
                  </a:lnTo>
                  <a:lnTo>
                    <a:pt x="66" y="24"/>
                  </a:lnTo>
                  <a:lnTo>
                    <a:pt x="72" y="6"/>
                  </a:lnTo>
                  <a:lnTo>
                    <a:pt x="54" y="6"/>
                  </a:lnTo>
                  <a:lnTo>
                    <a:pt x="30" y="0"/>
                  </a:lnTo>
                  <a:lnTo>
                    <a:pt x="12" y="0"/>
                  </a:lnTo>
                  <a:lnTo>
                    <a:pt x="12" y="18"/>
                  </a:lnTo>
                  <a:lnTo>
                    <a:pt x="0" y="30"/>
                  </a:lnTo>
                  <a:lnTo>
                    <a:pt x="36" y="54"/>
                  </a:lnTo>
                  <a:lnTo>
                    <a:pt x="24" y="132"/>
                  </a:lnTo>
                  <a:lnTo>
                    <a:pt x="36" y="120"/>
                  </a:lnTo>
                  <a:lnTo>
                    <a:pt x="42" y="120"/>
                  </a:lnTo>
                  <a:lnTo>
                    <a:pt x="48" y="126"/>
                  </a:lnTo>
                  <a:lnTo>
                    <a:pt x="48" y="150"/>
                  </a:lnTo>
                  <a:lnTo>
                    <a:pt x="42" y="162"/>
                  </a:lnTo>
                  <a:lnTo>
                    <a:pt x="54" y="174"/>
                  </a:lnTo>
                  <a:lnTo>
                    <a:pt x="54" y="180"/>
                  </a:lnTo>
                  <a:lnTo>
                    <a:pt x="48" y="180"/>
                  </a:lnTo>
                  <a:lnTo>
                    <a:pt x="36" y="192"/>
                  </a:lnTo>
                  <a:lnTo>
                    <a:pt x="42" y="198"/>
                  </a:lnTo>
                  <a:lnTo>
                    <a:pt x="54" y="204"/>
                  </a:lnTo>
                  <a:lnTo>
                    <a:pt x="60" y="210"/>
                  </a:lnTo>
                  <a:lnTo>
                    <a:pt x="60" y="222"/>
                  </a:lnTo>
                  <a:lnTo>
                    <a:pt x="54" y="228"/>
                  </a:lnTo>
                  <a:lnTo>
                    <a:pt x="54" y="270"/>
                  </a:lnTo>
                  <a:lnTo>
                    <a:pt x="48" y="276"/>
                  </a:lnTo>
                  <a:lnTo>
                    <a:pt x="48" y="294"/>
                  </a:lnTo>
                  <a:lnTo>
                    <a:pt x="54" y="294"/>
                  </a:lnTo>
                  <a:lnTo>
                    <a:pt x="60" y="300"/>
                  </a:lnTo>
                  <a:lnTo>
                    <a:pt x="60" y="312"/>
                  </a:lnTo>
                  <a:lnTo>
                    <a:pt x="54" y="324"/>
                  </a:lnTo>
                  <a:lnTo>
                    <a:pt x="54" y="336"/>
                  </a:lnTo>
                  <a:lnTo>
                    <a:pt x="66" y="378"/>
                  </a:lnTo>
                  <a:lnTo>
                    <a:pt x="96" y="402"/>
                  </a:lnTo>
                  <a:lnTo>
                    <a:pt x="108" y="396"/>
                  </a:lnTo>
                  <a:lnTo>
                    <a:pt x="120" y="384"/>
                  </a:lnTo>
                  <a:lnTo>
                    <a:pt x="138" y="384"/>
                  </a:lnTo>
                  <a:lnTo>
                    <a:pt x="138" y="372"/>
                  </a:lnTo>
                  <a:lnTo>
                    <a:pt x="126" y="360"/>
                  </a:lnTo>
                  <a:lnTo>
                    <a:pt x="126" y="354"/>
                  </a:lnTo>
                  <a:close/>
                </a:path>
              </a:pathLst>
            </a:custGeom>
            <a:solidFill>
              <a:srgbClr val="692864"/>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62" name="Thailand" descr="© INSCALE GmbH, 05.05.2010&#10;http://www.presentationload.com/"/>
            <p:cNvSpPr>
              <a:spLocks/>
            </p:cNvSpPr>
            <p:nvPr/>
          </p:nvSpPr>
          <p:spPr bwMode="gray">
            <a:xfrm>
              <a:off x="6969131" y="3416301"/>
              <a:ext cx="249237" cy="477838"/>
            </a:xfrm>
            <a:custGeom>
              <a:avLst/>
              <a:gdLst>
                <a:gd name="T0" fmla="*/ 2147483647 w 618"/>
                <a:gd name="T1" fmla="*/ 2147483647 h 1188"/>
                <a:gd name="T2" fmla="*/ 2147483647 w 618"/>
                <a:gd name="T3" fmla="*/ 2147483647 h 1188"/>
                <a:gd name="T4" fmla="*/ 2147483647 w 618"/>
                <a:gd name="T5" fmla="*/ 2147483647 h 1188"/>
                <a:gd name="T6" fmla="*/ 2147483647 w 618"/>
                <a:gd name="T7" fmla="*/ 2147483647 h 1188"/>
                <a:gd name="T8" fmla="*/ 2147483647 w 618"/>
                <a:gd name="T9" fmla="*/ 2147483647 h 1188"/>
                <a:gd name="T10" fmla="*/ 2147483647 w 618"/>
                <a:gd name="T11" fmla="*/ 2147483647 h 1188"/>
                <a:gd name="T12" fmla="*/ 2147483647 w 618"/>
                <a:gd name="T13" fmla="*/ 2147483647 h 1188"/>
                <a:gd name="T14" fmla="*/ 2147483647 w 618"/>
                <a:gd name="T15" fmla="*/ 2147483647 h 1188"/>
                <a:gd name="T16" fmla="*/ 2147483647 w 618"/>
                <a:gd name="T17" fmla="*/ 2147483647 h 1188"/>
                <a:gd name="T18" fmla="*/ 2147483647 w 618"/>
                <a:gd name="T19" fmla="*/ 2147483647 h 1188"/>
                <a:gd name="T20" fmla="*/ 2147483647 w 618"/>
                <a:gd name="T21" fmla="*/ 2147483647 h 1188"/>
                <a:gd name="T22" fmla="*/ 2147483647 w 618"/>
                <a:gd name="T23" fmla="*/ 2147483647 h 1188"/>
                <a:gd name="T24" fmla="*/ 2147483647 w 618"/>
                <a:gd name="T25" fmla="*/ 0 h 1188"/>
                <a:gd name="T26" fmla="*/ 2147483647 w 618"/>
                <a:gd name="T27" fmla="*/ 2147483647 h 1188"/>
                <a:gd name="T28" fmla="*/ 2147483647 w 618"/>
                <a:gd name="T29" fmla="*/ 2147483647 h 1188"/>
                <a:gd name="T30" fmla="*/ 2147483647 w 618"/>
                <a:gd name="T31" fmla="*/ 2147483647 h 1188"/>
                <a:gd name="T32" fmla="*/ 0 w 618"/>
                <a:gd name="T33" fmla="*/ 2147483647 h 1188"/>
                <a:gd name="T34" fmla="*/ 2147483647 w 618"/>
                <a:gd name="T35" fmla="*/ 2147483647 h 1188"/>
                <a:gd name="T36" fmla="*/ 2147483647 w 618"/>
                <a:gd name="T37" fmla="*/ 2147483647 h 1188"/>
                <a:gd name="T38" fmla="*/ 2147483647 w 618"/>
                <a:gd name="T39" fmla="*/ 2147483647 h 1188"/>
                <a:gd name="T40" fmla="*/ 2147483647 w 618"/>
                <a:gd name="T41" fmla="*/ 2147483647 h 1188"/>
                <a:gd name="T42" fmla="*/ 2147483647 w 618"/>
                <a:gd name="T43" fmla="*/ 2147483647 h 1188"/>
                <a:gd name="T44" fmla="*/ 2147483647 w 618"/>
                <a:gd name="T45" fmla="*/ 2147483647 h 1188"/>
                <a:gd name="T46" fmla="*/ 2147483647 w 618"/>
                <a:gd name="T47" fmla="*/ 2147483647 h 1188"/>
                <a:gd name="T48" fmla="*/ 2147483647 w 618"/>
                <a:gd name="T49" fmla="*/ 2147483647 h 1188"/>
                <a:gd name="T50" fmla="*/ 2147483647 w 618"/>
                <a:gd name="T51" fmla="*/ 2147483647 h 1188"/>
                <a:gd name="T52" fmla="*/ 2147483647 w 618"/>
                <a:gd name="T53" fmla="*/ 2147483647 h 1188"/>
                <a:gd name="T54" fmla="*/ 2147483647 w 618"/>
                <a:gd name="T55" fmla="*/ 2147483647 h 1188"/>
                <a:gd name="T56" fmla="*/ 2147483647 w 618"/>
                <a:gd name="T57" fmla="*/ 2147483647 h 1188"/>
                <a:gd name="T58" fmla="*/ 2147483647 w 618"/>
                <a:gd name="T59" fmla="*/ 2147483647 h 1188"/>
                <a:gd name="T60" fmla="*/ 2147483647 w 618"/>
                <a:gd name="T61" fmla="*/ 2147483647 h 1188"/>
                <a:gd name="T62" fmla="*/ 2147483647 w 618"/>
                <a:gd name="T63" fmla="*/ 2147483647 h 1188"/>
                <a:gd name="T64" fmla="*/ 2147483647 w 618"/>
                <a:gd name="T65" fmla="*/ 2147483647 h 1188"/>
                <a:gd name="T66" fmla="*/ 2147483647 w 618"/>
                <a:gd name="T67" fmla="*/ 2147483647 h 1188"/>
                <a:gd name="T68" fmla="*/ 2147483647 w 618"/>
                <a:gd name="T69" fmla="*/ 2147483647 h 1188"/>
                <a:gd name="T70" fmla="*/ 2147483647 w 618"/>
                <a:gd name="T71" fmla="*/ 2147483647 h 1188"/>
                <a:gd name="T72" fmla="*/ 2147483647 w 618"/>
                <a:gd name="T73" fmla="*/ 2147483647 h 1188"/>
                <a:gd name="T74" fmla="*/ 2147483647 w 618"/>
                <a:gd name="T75" fmla="*/ 2147483647 h 1188"/>
                <a:gd name="T76" fmla="*/ 2147483647 w 618"/>
                <a:gd name="T77" fmla="*/ 2147483647 h 1188"/>
                <a:gd name="T78" fmla="*/ 2147483647 w 618"/>
                <a:gd name="T79" fmla="*/ 2147483647 h 1188"/>
                <a:gd name="T80" fmla="*/ 2147483647 w 618"/>
                <a:gd name="T81" fmla="*/ 2147483647 h 1188"/>
                <a:gd name="T82" fmla="*/ 2147483647 w 618"/>
                <a:gd name="T83" fmla="*/ 2147483647 h 1188"/>
                <a:gd name="T84" fmla="*/ 2147483647 w 618"/>
                <a:gd name="T85" fmla="*/ 2147483647 h 1188"/>
                <a:gd name="T86" fmla="*/ 2147483647 w 618"/>
                <a:gd name="T87" fmla="*/ 2147483647 h 1188"/>
                <a:gd name="T88" fmla="*/ 2147483647 w 618"/>
                <a:gd name="T89" fmla="*/ 2147483647 h 1188"/>
                <a:gd name="T90" fmla="*/ 2147483647 w 618"/>
                <a:gd name="T91" fmla="*/ 2147483647 h 1188"/>
                <a:gd name="T92" fmla="*/ 2147483647 w 618"/>
                <a:gd name="T93" fmla="*/ 2147483647 h 1188"/>
                <a:gd name="T94" fmla="*/ 2147483647 w 618"/>
                <a:gd name="T95" fmla="*/ 2147483647 h 1188"/>
                <a:gd name="T96" fmla="*/ 2147483647 w 618"/>
                <a:gd name="T97" fmla="*/ 2147483647 h 1188"/>
                <a:gd name="T98" fmla="*/ 2147483647 w 618"/>
                <a:gd name="T99" fmla="*/ 2147483647 h 1188"/>
                <a:gd name="T100" fmla="*/ 2147483647 w 618"/>
                <a:gd name="T101" fmla="*/ 2147483647 h 1188"/>
                <a:gd name="T102" fmla="*/ 2147483647 w 618"/>
                <a:gd name="T103" fmla="*/ 2147483647 h 1188"/>
                <a:gd name="T104" fmla="*/ 2147483647 w 618"/>
                <a:gd name="T105" fmla="*/ 2147483647 h 1188"/>
                <a:gd name="T106" fmla="*/ 2147483647 w 618"/>
                <a:gd name="T107" fmla="*/ 2147483647 h 1188"/>
                <a:gd name="T108" fmla="*/ 2147483647 w 618"/>
                <a:gd name="T109" fmla="*/ 2147483647 h 1188"/>
                <a:gd name="T110" fmla="*/ 2147483647 w 618"/>
                <a:gd name="T111" fmla="*/ 2147483647 h 1188"/>
                <a:gd name="T112" fmla="*/ 2147483647 w 618"/>
                <a:gd name="T113" fmla="*/ 2147483647 h 1188"/>
                <a:gd name="T114" fmla="*/ 2147483647 w 618"/>
                <a:gd name="T115" fmla="*/ 2147483647 h 1188"/>
                <a:gd name="T116" fmla="*/ 2147483647 w 618"/>
                <a:gd name="T117" fmla="*/ 2147483647 h 11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18"/>
                <a:gd name="T178" fmla="*/ 0 h 1188"/>
                <a:gd name="T179" fmla="*/ 618 w 618"/>
                <a:gd name="T180" fmla="*/ 1188 h 11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18" h="1188">
                  <a:moveTo>
                    <a:pt x="588" y="426"/>
                  </a:moveTo>
                  <a:lnTo>
                    <a:pt x="588" y="420"/>
                  </a:lnTo>
                  <a:lnTo>
                    <a:pt x="594" y="414"/>
                  </a:lnTo>
                  <a:lnTo>
                    <a:pt x="606" y="390"/>
                  </a:lnTo>
                  <a:lnTo>
                    <a:pt x="594" y="378"/>
                  </a:lnTo>
                  <a:lnTo>
                    <a:pt x="594" y="372"/>
                  </a:lnTo>
                  <a:lnTo>
                    <a:pt x="588" y="378"/>
                  </a:lnTo>
                  <a:lnTo>
                    <a:pt x="588" y="366"/>
                  </a:lnTo>
                  <a:lnTo>
                    <a:pt x="582" y="360"/>
                  </a:lnTo>
                  <a:lnTo>
                    <a:pt x="582" y="354"/>
                  </a:lnTo>
                  <a:lnTo>
                    <a:pt x="546" y="318"/>
                  </a:lnTo>
                  <a:lnTo>
                    <a:pt x="534" y="294"/>
                  </a:lnTo>
                  <a:lnTo>
                    <a:pt x="534" y="282"/>
                  </a:lnTo>
                  <a:lnTo>
                    <a:pt x="528" y="240"/>
                  </a:lnTo>
                  <a:lnTo>
                    <a:pt x="510" y="222"/>
                  </a:lnTo>
                  <a:lnTo>
                    <a:pt x="498" y="216"/>
                  </a:lnTo>
                  <a:lnTo>
                    <a:pt x="480" y="204"/>
                  </a:lnTo>
                  <a:lnTo>
                    <a:pt x="468" y="192"/>
                  </a:lnTo>
                  <a:lnTo>
                    <a:pt x="468" y="180"/>
                  </a:lnTo>
                  <a:lnTo>
                    <a:pt x="462" y="174"/>
                  </a:lnTo>
                  <a:lnTo>
                    <a:pt x="438" y="174"/>
                  </a:lnTo>
                  <a:lnTo>
                    <a:pt x="426" y="168"/>
                  </a:lnTo>
                  <a:lnTo>
                    <a:pt x="420" y="162"/>
                  </a:lnTo>
                  <a:lnTo>
                    <a:pt x="402" y="162"/>
                  </a:lnTo>
                  <a:lnTo>
                    <a:pt x="396" y="168"/>
                  </a:lnTo>
                  <a:lnTo>
                    <a:pt x="396" y="180"/>
                  </a:lnTo>
                  <a:lnTo>
                    <a:pt x="378" y="198"/>
                  </a:lnTo>
                  <a:lnTo>
                    <a:pt x="360" y="198"/>
                  </a:lnTo>
                  <a:lnTo>
                    <a:pt x="336" y="186"/>
                  </a:lnTo>
                  <a:lnTo>
                    <a:pt x="330" y="180"/>
                  </a:lnTo>
                  <a:lnTo>
                    <a:pt x="318" y="180"/>
                  </a:lnTo>
                  <a:lnTo>
                    <a:pt x="312" y="186"/>
                  </a:lnTo>
                  <a:lnTo>
                    <a:pt x="306" y="198"/>
                  </a:lnTo>
                  <a:lnTo>
                    <a:pt x="294" y="210"/>
                  </a:lnTo>
                  <a:lnTo>
                    <a:pt x="294" y="216"/>
                  </a:lnTo>
                  <a:lnTo>
                    <a:pt x="288" y="222"/>
                  </a:lnTo>
                  <a:lnTo>
                    <a:pt x="264" y="234"/>
                  </a:lnTo>
                  <a:lnTo>
                    <a:pt x="246" y="234"/>
                  </a:lnTo>
                  <a:lnTo>
                    <a:pt x="246" y="222"/>
                  </a:lnTo>
                  <a:lnTo>
                    <a:pt x="270" y="174"/>
                  </a:lnTo>
                  <a:lnTo>
                    <a:pt x="270" y="162"/>
                  </a:lnTo>
                  <a:lnTo>
                    <a:pt x="264" y="156"/>
                  </a:lnTo>
                  <a:lnTo>
                    <a:pt x="252" y="156"/>
                  </a:lnTo>
                  <a:lnTo>
                    <a:pt x="264" y="144"/>
                  </a:lnTo>
                  <a:lnTo>
                    <a:pt x="270" y="132"/>
                  </a:lnTo>
                  <a:lnTo>
                    <a:pt x="270" y="120"/>
                  </a:lnTo>
                  <a:lnTo>
                    <a:pt x="264" y="108"/>
                  </a:lnTo>
                  <a:lnTo>
                    <a:pt x="258" y="102"/>
                  </a:lnTo>
                  <a:lnTo>
                    <a:pt x="264" y="96"/>
                  </a:lnTo>
                  <a:lnTo>
                    <a:pt x="264" y="66"/>
                  </a:lnTo>
                  <a:lnTo>
                    <a:pt x="252" y="60"/>
                  </a:lnTo>
                  <a:lnTo>
                    <a:pt x="246" y="60"/>
                  </a:lnTo>
                  <a:lnTo>
                    <a:pt x="240" y="66"/>
                  </a:lnTo>
                  <a:lnTo>
                    <a:pt x="228" y="66"/>
                  </a:lnTo>
                  <a:lnTo>
                    <a:pt x="228" y="78"/>
                  </a:lnTo>
                  <a:lnTo>
                    <a:pt x="210" y="78"/>
                  </a:lnTo>
                  <a:lnTo>
                    <a:pt x="204" y="72"/>
                  </a:lnTo>
                  <a:lnTo>
                    <a:pt x="198" y="60"/>
                  </a:lnTo>
                  <a:lnTo>
                    <a:pt x="198" y="36"/>
                  </a:lnTo>
                  <a:lnTo>
                    <a:pt x="204" y="30"/>
                  </a:lnTo>
                  <a:lnTo>
                    <a:pt x="204" y="18"/>
                  </a:lnTo>
                  <a:lnTo>
                    <a:pt x="198" y="12"/>
                  </a:lnTo>
                  <a:lnTo>
                    <a:pt x="186" y="12"/>
                  </a:lnTo>
                  <a:lnTo>
                    <a:pt x="174" y="6"/>
                  </a:lnTo>
                  <a:lnTo>
                    <a:pt x="168" y="0"/>
                  </a:lnTo>
                  <a:lnTo>
                    <a:pt x="138" y="0"/>
                  </a:lnTo>
                  <a:lnTo>
                    <a:pt x="132" y="6"/>
                  </a:lnTo>
                  <a:lnTo>
                    <a:pt x="126" y="6"/>
                  </a:lnTo>
                  <a:lnTo>
                    <a:pt x="120" y="30"/>
                  </a:lnTo>
                  <a:lnTo>
                    <a:pt x="96" y="30"/>
                  </a:lnTo>
                  <a:lnTo>
                    <a:pt x="96" y="36"/>
                  </a:lnTo>
                  <a:lnTo>
                    <a:pt x="90" y="42"/>
                  </a:lnTo>
                  <a:lnTo>
                    <a:pt x="84" y="54"/>
                  </a:lnTo>
                  <a:lnTo>
                    <a:pt x="78" y="60"/>
                  </a:lnTo>
                  <a:lnTo>
                    <a:pt x="66" y="60"/>
                  </a:lnTo>
                  <a:lnTo>
                    <a:pt x="54" y="54"/>
                  </a:lnTo>
                  <a:lnTo>
                    <a:pt x="24" y="54"/>
                  </a:lnTo>
                  <a:lnTo>
                    <a:pt x="24" y="102"/>
                  </a:lnTo>
                  <a:lnTo>
                    <a:pt x="18" y="108"/>
                  </a:lnTo>
                  <a:lnTo>
                    <a:pt x="12" y="108"/>
                  </a:lnTo>
                  <a:lnTo>
                    <a:pt x="6" y="114"/>
                  </a:lnTo>
                  <a:lnTo>
                    <a:pt x="6" y="120"/>
                  </a:lnTo>
                  <a:lnTo>
                    <a:pt x="24" y="138"/>
                  </a:lnTo>
                  <a:lnTo>
                    <a:pt x="24" y="156"/>
                  </a:lnTo>
                  <a:lnTo>
                    <a:pt x="0" y="156"/>
                  </a:lnTo>
                  <a:lnTo>
                    <a:pt x="0" y="162"/>
                  </a:lnTo>
                  <a:lnTo>
                    <a:pt x="24" y="186"/>
                  </a:lnTo>
                  <a:lnTo>
                    <a:pt x="36" y="192"/>
                  </a:lnTo>
                  <a:lnTo>
                    <a:pt x="30" y="216"/>
                  </a:lnTo>
                  <a:lnTo>
                    <a:pt x="36" y="216"/>
                  </a:lnTo>
                  <a:lnTo>
                    <a:pt x="36" y="222"/>
                  </a:lnTo>
                  <a:lnTo>
                    <a:pt x="42" y="234"/>
                  </a:lnTo>
                  <a:lnTo>
                    <a:pt x="60" y="252"/>
                  </a:lnTo>
                  <a:lnTo>
                    <a:pt x="72" y="258"/>
                  </a:lnTo>
                  <a:lnTo>
                    <a:pt x="84" y="270"/>
                  </a:lnTo>
                  <a:lnTo>
                    <a:pt x="96" y="276"/>
                  </a:lnTo>
                  <a:lnTo>
                    <a:pt x="102" y="282"/>
                  </a:lnTo>
                  <a:lnTo>
                    <a:pt x="102" y="288"/>
                  </a:lnTo>
                  <a:lnTo>
                    <a:pt x="96" y="288"/>
                  </a:lnTo>
                  <a:lnTo>
                    <a:pt x="96" y="306"/>
                  </a:lnTo>
                  <a:lnTo>
                    <a:pt x="102" y="318"/>
                  </a:lnTo>
                  <a:lnTo>
                    <a:pt x="108" y="324"/>
                  </a:lnTo>
                  <a:lnTo>
                    <a:pt x="114" y="324"/>
                  </a:lnTo>
                  <a:lnTo>
                    <a:pt x="120" y="318"/>
                  </a:lnTo>
                  <a:lnTo>
                    <a:pt x="126" y="324"/>
                  </a:lnTo>
                  <a:lnTo>
                    <a:pt x="126" y="342"/>
                  </a:lnTo>
                  <a:lnTo>
                    <a:pt x="120" y="348"/>
                  </a:lnTo>
                  <a:lnTo>
                    <a:pt x="108" y="348"/>
                  </a:lnTo>
                  <a:lnTo>
                    <a:pt x="114" y="360"/>
                  </a:lnTo>
                  <a:lnTo>
                    <a:pt x="114" y="384"/>
                  </a:lnTo>
                  <a:lnTo>
                    <a:pt x="108" y="396"/>
                  </a:lnTo>
                  <a:lnTo>
                    <a:pt x="102" y="402"/>
                  </a:lnTo>
                  <a:lnTo>
                    <a:pt x="84" y="438"/>
                  </a:lnTo>
                  <a:lnTo>
                    <a:pt x="90" y="444"/>
                  </a:lnTo>
                  <a:lnTo>
                    <a:pt x="90" y="450"/>
                  </a:lnTo>
                  <a:lnTo>
                    <a:pt x="96" y="456"/>
                  </a:lnTo>
                  <a:lnTo>
                    <a:pt x="102" y="468"/>
                  </a:lnTo>
                  <a:lnTo>
                    <a:pt x="108" y="474"/>
                  </a:lnTo>
                  <a:lnTo>
                    <a:pt x="114" y="486"/>
                  </a:lnTo>
                  <a:lnTo>
                    <a:pt x="156" y="528"/>
                  </a:lnTo>
                  <a:lnTo>
                    <a:pt x="162" y="540"/>
                  </a:lnTo>
                  <a:lnTo>
                    <a:pt x="162" y="570"/>
                  </a:lnTo>
                  <a:lnTo>
                    <a:pt x="168" y="588"/>
                  </a:lnTo>
                  <a:lnTo>
                    <a:pt x="168" y="612"/>
                  </a:lnTo>
                  <a:lnTo>
                    <a:pt x="192" y="636"/>
                  </a:lnTo>
                  <a:lnTo>
                    <a:pt x="192" y="660"/>
                  </a:lnTo>
                  <a:lnTo>
                    <a:pt x="198" y="672"/>
                  </a:lnTo>
                  <a:lnTo>
                    <a:pt x="198" y="702"/>
                  </a:lnTo>
                  <a:lnTo>
                    <a:pt x="192" y="714"/>
                  </a:lnTo>
                  <a:lnTo>
                    <a:pt x="192" y="732"/>
                  </a:lnTo>
                  <a:lnTo>
                    <a:pt x="174" y="768"/>
                  </a:lnTo>
                  <a:lnTo>
                    <a:pt x="156" y="786"/>
                  </a:lnTo>
                  <a:lnTo>
                    <a:pt x="156" y="798"/>
                  </a:lnTo>
                  <a:lnTo>
                    <a:pt x="162" y="804"/>
                  </a:lnTo>
                  <a:lnTo>
                    <a:pt x="162" y="816"/>
                  </a:lnTo>
                  <a:lnTo>
                    <a:pt x="156" y="828"/>
                  </a:lnTo>
                  <a:lnTo>
                    <a:pt x="150" y="834"/>
                  </a:lnTo>
                  <a:lnTo>
                    <a:pt x="144" y="846"/>
                  </a:lnTo>
                  <a:lnTo>
                    <a:pt x="144" y="852"/>
                  </a:lnTo>
                  <a:lnTo>
                    <a:pt x="138" y="858"/>
                  </a:lnTo>
                  <a:lnTo>
                    <a:pt x="132" y="876"/>
                  </a:lnTo>
                  <a:lnTo>
                    <a:pt x="126" y="888"/>
                  </a:lnTo>
                  <a:lnTo>
                    <a:pt x="126" y="906"/>
                  </a:lnTo>
                  <a:lnTo>
                    <a:pt x="120" y="918"/>
                  </a:lnTo>
                  <a:lnTo>
                    <a:pt x="120" y="966"/>
                  </a:lnTo>
                  <a:lnTo>
                    <a:pt x="126" y="978"/>
                  </a:lnTo>
                  <a:lnTo>
                    <a:pt x="126" y="1008"/>
                  </a:lnTo>
                  <a:lnTo>
                    <a:pt x="132" y="1014"/>
                  </a:lnTo>
                  <a:lnTo>
                    <a:pt x="132" y="1020"/>
                  </a:lnTo>
                  <a:lnTo>
                    <a:pt x="138" y="1020"/>
                  </a:lnTo>
                  <a:lnTo>
                    <a:pt x="138" y="1002"/>
                  </a:lnTo>
                  <a:lnTo>
                    <a:pt x="144" y="990"/>
                  </a:lnTo>
                  <a:lnTo>
                    <a:pt x="144" y="978"/>
                  </a:lnTo>
                  <a:lnTo>
                    <a:pt x="150" y="972"/>
                  </a:lnTo>
                  <a:lnTo>
                    <a:pt x="150" y="996"/>
                  </a:lnTo>
                  <a:lnTo>
                    <a:pt x="162" y="996"/>
                  </a:lnTo>
                  <a:lnTo>
                    <a:pt x="186" y="1020"/>
                  </a:lnTo>
                  <a:lnTo>
                    <a:pt x="192" y="1032"/>
                  </a:lnTo>
                  <a:lnTo>
                    <a:pt x="198" y="1038"/>
                  </a:lnTo>
                  <a:lnTo>
                    <a:pt x="198" y="1044"/>
                  </a:lnTo>
                  <a:lnTo>
                    <a:pt x="228" y="1074"/>
                  </a:lnTo>
                  <a:lnTo>
                    <a:pt x="228" y="1098"/>
                  </a:lnTo>
                  <a:lnTo>
                    <a:pt x="234" y="1110"/>
                  </a:lnTo>
                  <a:lnTo>
                    <a:pt x="246" y="1128"/>
                  </a:lnTo>
                  <a:lnTo>
                    <a:pt x="264" y="1146"/>
                  </a:lnTo>
                  <a:lnTo>
                    <a:pt x="270" y="1140"/>
                  </a:lnTo>
                  <a:lnTo>
                    <a:pt x="276" y="1128"/>
                  </a:lnTo>
                  <a:lnTo>
                    <a:pt x="270" y="1122"/>
                  </a:lnTo>
                  <a:lnTo>
                    <a:pt x="270" y="1110"/>
                  </a:lnTo>
                  <a:lnTo>
                    <a:pt x="276" y="1104"/>
                  </a:lnTo>
                  <a:lnTo>
                    <a:pt x="288" y="1104"/>
                  </a:lnTo>
                  <a:lnTo>
                    <a:pt x="294" y="1116"/>
                  </a:lnTo>
                  <a:lnTo>
                    <a:pt x="294" y="1122"/>
                  </a:lnTo>
                  <a:lnTo>
                    <a:pt x="312" y="1122"/>
                  </a:lnTo>
                  <a:lnTo>
                    <a:pt x="324" y="1128"/>
                  </a:lnTo>
                  <a:lnTo>
                    <a:pt x="330" y="1134"/>
                  </a:lnTo>
                  <a:lnTo>
                    <a:pt x="330" y="1146"/>
                  </a:lnTo>
                  <a:lnTo>
                    <a:pt x="342" y="1146"/>
                  </a:lnTo>
                  <a:lnTo>
                    <a:pt x="342" y="1158"/>
                  </a:lnTo>
                  <a:lnTo>
                    <a:pt x="330" y="1170"/>
                  </a:lnTo>
                  <a:lnTo>
                    <a:pt x="330" y="1176"/>
                  </a:lnTo>
                  <a:lnTo>
                    <a:pt x="336" y="1182"/>
                  </a:lnTo>
                  <a:lnTo>
                    <a:pt x="354" y="1182"/>
                  </a:lnTo>
                  <a:lnTo>
                    <a:pt x="354" y="1176"/>
                  </a:lnTo>
                  <a:lnTo>
                    <a:pt x="366" y="1176"/>
                  </a:lnTo>
                  <a:lnTo>
                    <a:pt x="372" y="1170"/>
                  </a:lnTo>
                  <a:lnTo>
                    <a:pt x="378" y="1170"/>
                  </a:lnTo>
                  <a:lnTo>
                    <a:pt x="396" y="1188"/>
                  </a:lnTo>
                  <a:lnTo>
                    <a:pt x="402" y="1182"/>
                  </a:lnTo>
                  <a:lnTo>
                    <a:pt x="402" y="1176"/>
                  </a:lnTo>
                  <a:lnTo>
                    <a:pt x="408" y="1164"/>
                  </a:lnTo>
                  <a:lnTo>
                    <a:pt x="414" y="1158"/>
                  </a:lnTo>
                  <a:lnTo>
                    <a:pt x="420" y="1146"/>
                  </a:lnTo>
                  <a:lnTo>
                    <a:pt x="396" y="1134"/>
                  </a:lnTo>
                  <a:lnTo>
                    <a:pt x="390" y="1128"/>
                  </a:lnTo>
                  <a:lnTo>
                    <a:pt x="390" y="1116"/>
                  </a:lnTo>
                  <a:lnTo>
                    <a:pt x="384" y="1104"/>
                  </a:lnTo>
                  <a:lnTo>
                    <a:pt x="384" y="1092"/>
                  </a:lnTo>
                  <a:lnTo>
                    <a:pt x="378" y="1080"/>
                  </a:lnTo>
                  <a:lnTo>
                    <a:pt x="372" y="1074"/>
                  </a:lnTo>
                  <a:lnTo>
                    <a:pt x="354" y="1074"/>
                  </a:lnTo>
                  <a:lnTo>
                    <a:pt x="342" y="1080"/>
                  </a:lnTo>
                  <a:lnTo>
                    <a:pt x="336" y="1086"/>
                  </a:lnTo>
                  <a:lnTo>
                    <a:pt x="318" y="1086"/>
                  </a:lnTo>
                  <a:lnTo>
                    <a:pt x="312" y="1080"/>
                  </a:lnTo>
                  <a:lnTo>
                    <a:pt x="306" y="1068"/>
                  </a:lnTo>
                  <a:lnTo>
                    <a:pt x="306" y="1056"/>
                  </a:lnTo>
                  <a:lnTo>
                    <a:pt x="294" y="1032"/>
                  </a:lnTo>
                  <a:lnTo>
                    <a:pt x="288" y="1032"/>
                  </a:lnTo>
                  <a:lnTo>
                    <a:pt x="288" y="1050"/>
                  </a:lnTo>
                  <a:lnTo>
                    <a:pt x="282" y="1056"/>
                  </a:lnTo>
                  <a:lnTo>
                    <a:pt x="276" y="1056"/>
                  </a:lnTo>
                  <a:lnTo>
                    <a:pt x="270" y="1044"/>
                  </a:lnTo>
                  <a:lnTo>
                    <a:pt x="264" y="1038"/>
                  </a:lnTo>
                  <a:lnTo>
                    <a:pt x="258" y="1026"/>
                  </a:lnTo>
                  <a:lnTo>
                    <a:pt x="258" y="1014"/>
                  </a:lnTo>
                  <a:lnTo>
                    <a:pt x="270" y="1002"/>
                  </a:lnTo>
                  <a:lnTo>
                    <a:pt x="270" y="1008"/>
                  </a:lnTo>
                  <a:lnTo>
                    <a:pt x="276" y="1008"/>
                  </a:lnTo>
                  <a:lnTo>
                    <a:pt x="276" y="1014"/>
                  </a:lnTo>
                  <a:lnTo>
                    <a:pt x="282" y="1014"/>
                  </a:lnTo>
                  <a:lnTo>
                    <a:pt x="288" y="1008"/>
                  </a:lnTo>
                  <a:lnTo>
                    <a:pt x="282" y="1002"/>
                  </a:lnTo>
                  <a:lnTo>
                    <a:pt x="282" y="990"/>
                  </a:lnTo>
                  <a:lnTo>
                    <a:pt x="276" y="978"/>
                  </a:lnTo>
                  <a:lnTo>
                    <a:pt x="270" y="972"/>
                  </a:lnTo>
                  <a:lnTo>
                    <a:pt x="270" y="960"/>
                  </a:lnTo>
                  <a:lnTo>
                    <a:pt x="258" y="948"/>
                  </a:lnTo>
                  <a:lnTo>
                    <a:pt x="246" y="948"/>
                  </a:lnTo>
                  <a:lnTo>
                    <a:pt x="246" y="894"/>
                  </a:lnTo>
                  <a:lnTo>
                    <a:pt x="192" y="906"/>
                  </a:lnTo>
                  <a:lnTo>
                    <a:pt x="192" y="864"/>
                  </a:lnTo>
                  <a:lnTo>
                    <a:pt x="186" y="828"/>
                  </a:lnTo>
                  <a:lnTo>
                    <a:pt x="186" y="804"/>
                  </a:lnTo>
                  <a:lnTo>
                    <a:pt x="180" y="792"/>
                  </a:lnTo>
                  <a:lnTo>
                    <a:pt x="174" y="786"/>
                  </a:lnTo>
                  <a:lnTo>
                    <a:pt x="180" y="786"/>
                  </a:lnTo>
                  <a:lnTo>
                    <a:pt x="192" y="774"/>
                  </a:lnTo>
                  <a:lnTo>
                    <a:pt x="198" y="762"/>
                  </a:lnTo>
                  <a:lnTo>
                    <a:pt x="204" y="744"/>
                  </a:lnTo>
                  <a:lnTo>
                    <a:pt x="204" y="678"/>
                  </a:lnTo>
                  <a:lnTo>
                    <a:pt x="210" y="678"/>
                  </a:lnTo>
                  <a:lnTo>
                    <a:pt x="216" y="672"/>
                  </a:lnTo>
                  <a:lnTo>
                    <a:pt x="222" y="660"/>
                  </a:lnTo>
                  <a:lnTo>
                    <a:pt x="228" y="654"/>
                  </a:lnTo>
                  <a:lnTo>
                    <a:pt x="228" y="612"/>
                  </a:lnTo>
                  <a:lnTo>
                    <a:pt x="222" y="600"/>
                  </a:lnTo>
                  <a:lnTo>
                    <a:pt x="222" y="594"/>
                  </a:lnTo>
                  <a:lnTo>
                    <a:pt x="216" y="588"/>
                  </a:lnTo>
                  <a:lnTo>
                    <a:pt x="222" y="558"/>
                  </a:lnTo>
                  <a:lnTo>
                    <a:pt x="234" y="558"/>
                  </a:lnTo>
                  <a:lnTo>
                    <a:pt x="234" y="552"/>
                  </a:lnTo>
                  <a:lnTo>
                    <a:pt x="240" y="546"/>
                  </a:lnTo>
                  <a:lnTo>
                    <a:pt x="264" y="546"/>
                  </a:lnTo>
                  <a:lnTo>
                    <a:pt x="270" y="552"/>
                  </a:lnTo>
                  <a:lnTo>
                    <a:pt x="294" y="564"/>
                  </a:lnTo>
                  <a:lnTo>
                    <a:pt x="300" y="570"/>
                  </a:lnTo>
                  <a:lnTo>
                    <a:pt x="288" y="576"/>
                  </a:lnTo>
                  <a:lnTo>
                    <a:pt x="288" y="588"/>
                  </a:lnTo>
                  <a:lnTo>
                    <a:pt x="282" y="594"/>
                  </a:lnTo>
                  <a:lnTo>
                    <a:pt x="282" y="612"/>
                  </a:lnTo>
                  <a:lnTo>
                    <a:pt x="288" y="624"/>
                  </a:lnTo>
                  <a:lnTo>
                    <a:pt x="306" y="624"/>
                  </a:lnTo>
                  <a:lnTo>
                    <a:pt x="330" y="612"/>
                  </a:lnTo>
                  <a:lnTo>
                    <a:pt x="342" y="612"/>
                  </a:lnTo>
                  <a:lnTo>
                    <a:pt x="354" y="606"/>
                  </a:lnTo>
                  <a:lnTo>
                    <a:pt x="360" y="600"/>
                  </a:lnTo>
                  <a:lnTo>
                    <a:pt x="366" y="600"/>
                  </a:lnTo>
                  <a:lnTo>
                    <a:pt x="396" y="684"/>
                  </a:lnTo>
                  <a:lnTo>
                    <a:pt x="402" y="678"/>
                  </a:lnTo>
                  <a:lnTo>
                    <a:pt x="414" y="672"/>
                  </a:lnTo>
                  <a:lnTo>
                    <a:pt x="426" y="672"/>
                  </a:lnTo>
                  <a:lnTo>
                    <a:pt x="426" y="642"/>
                  </a:lnTo>
                  <a:lnTo>
                    <a:pt x="414" y="630"/>
                  </a:lnTo>
                  <a:lnTo>
                    <a:pt x="414" y="600"/>
                  </a:lnTo>
                  <a:lnTo>
                    <a:pt x="402" y="588"/>
                  </a:lnTo>
                  <a:lnTo>
                    <a:pt x="396" y="552"/>
                  </a:lnTo>
                  <a:lnTo>
                    <a:pt x="426" y="522"/>
                  </a:lnTo>
                  <a:lnTo>
                    <a:pt x="426" y="516"/>
                  </a:lnTo>
                  <a:lnTo>
                    <a:pt x="432" y="504"/>
                  </a:lnTo>
                  <a:lnTo>
                    <a:pt x="438" y="498"/>
                  </a:lnTo>
                  <a:lnTo>
                    <a:pt x="450" y="492"/>
                  </a:lnTo>
                  <a:lnTo>
                    <a:pt x="468" y="486"/>
                  </a:lnTo>
                  <a:lnTo>
                    <a:pt x="504" y="486"/>
                  </a:lnTo>
                  <a:lnTo>
                    <a:pt x="510" y="492"/>
                  </a:lnTo>
                  <a:lnTo>
                    <a:pt x="522" y="492"/>
                  </a:lnTo>
                  <a:lnTo>
                    <a:pt x="534" y="486"/>
                  </a:lnTo>
                  <a:lnTo>
                    <a:pt x="564" y="486"/>
                  </a:lnTo>
                  <a:lnTo>
                    <a:pt x="576" y="492"/>
                  </a:lnTo>
                  <a:lnTo>
                    <a:pt x="582" y="498"/>
                  </a:lnTo>
                  <a:lnTo>
                    <a:pt x="588" y="498"/>
                  </a:lnTo>
                  <a:lnTo>
                    <a:pt x="594" y="492"/>
                  </a:lnTo>
                  <a:lnTo>
                    <a:pt x="600" y="480"/>
                  </a:lnTo>
                  <a:lnTo>
                    <a:pt x="618" y="462"/>
                  </a:lnTo>
                  <a:lnTo>
                    <a:pt x="618" y="450"/>
                  </a:lnTo>
                  <a:lnTo>
                    <a:pt x="612" y="444"/>
                  </a:lnTo>
                  <a:lnTo>
                    <a:pt x="600" y="438"/>
                  </a:lnTo>
                  <a:lnTo>
                    <a:pt x="588" y="426"/>
                  </a:lnTo>
                  <a:close/>
                </a:path>
              </a:pathLst>
            </a:custGeom>
            <a:solidFill>
              <a:srgbClr val="FFC000"/>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63" name="Tanzania" descr="© INSCALE GmbH, 05.05.2010&#10;http://www.presentationload.com/"/>
            <p:cNvSpPr>
              <a:spLocks noEditPoints="1"/>
            </p:cNvSpPr>
            <p:nvPr/>
          </p:nvSpPr>
          <p:spPr bwMode="gray">
            <a:xfrm>
              <a:off x="5060954" y="4111625"/>
              <a:ext cx="309563" cy="349250"/>
            </a:xfrm>
            <a:custGeom>
              <a:avLst/>
              <a:gdLst>
                <a:gd name="T0" fmla="*/ 2147483647 w 768"/>
                <a:gd name="T1" fmla="*/ 2147483647 h 870"/>
                <a:gd name="T2" fmla="*/ 2147483647 w 768"/>
                <a:gd name="T3" fmla="*/ 2147483647 h 870"/>
                <a:gd name="T4" fmla="*/ 2147483647 w 768"/>
                <a:gd name="T5" fmla="*/ 2147483647 h 870"/>
                <a:gd name="T6" fmla="*/ 2147483647 w 768"/>
                <a:gd name="T7" fmla="*/ 2147483647 h 870"/>
                <a:gd name="T8" fmla="*/ 2147483647 w 768"/>
                <a:gd name="T9" fmla="*/ 2147483647 h 870"/>
                <a:gd name="T10" fmla="*/ 2147483647 w 768"/>
                <a:gd name="T11" fmla="*/ 2147483647 h 870"/>
                <a:gd name="T12" fmla="*/ 2147483647 w 768"/>
                <a:gd name="T13" fmla="*/ 2147483647 h 870"/>
                <a:gd name="T14" fmla="*/ 2147483647 w 768"/>
                <a:gd name="T15" fmla="*/ 2147483647 h 870"/>
                <a:gd name="T16" fmla="*/ 2147483647 w 768"/>
                <a:gd name="T17" fmla="*/ 2147483647 h 870"/>
                <a:gd name="T18" fmla="*/ 2147483647 w 768"/>
                <a:gd name="T19" fmla="*/ 2147483647 h 870"/>
                <a:gd name="T20" fmla="*/ 2147483647 w 768"/>
                <a:gd name="T21" fmla="*/ 2147483647 h 870"/>
                <a:gd name="T22" fmla="*/ 2147483647 w 768"/>
                <a:gd name="T23" fmla="*/ 2147483647 h 870"/>
                <a:gd name="T24" fmla="*/ 2147483647 w 768"/>
                <a:gd name="T25" fmla="*/ 2147483647 h 870"/>
                <a:gd name="T26" fmla="*/ 2147483647 w 768"/>
                <a:gd name="T27" fmla="*/ 2147483647 h 870"/>
                <a:gd name="T28" fmla="*/ 2147483647 w 768"/>
                <a:gd name="T29" fmla="*/ 2147483647 h 870"/>
                <a:gd name="T30" fmla="*/ 2147483647 w 768"/>
                <a:gd name="T31" fmla="*/ 2147483647 h 870"/>
                <a:gd name="T32" fmla="*/ 2147483647 w 768"/>
                <a:gd name="T33" fmla="*/ 2147483647 h 870"/>
                <a:gd name="T34" fmla="*/ 2147483647 w 768"/>
                <a:gd name="T35" fmla="*/ 2147483647 h 870"/>
                <a:gd name="T36" fmla="*/ 2147483647 w 768"/>
                <a:gd name="T37" fmla="*/ 2147483647 h 870"/>
                <a:gd name="T38" fmla="*/ 2147483647 w 768"/>
                <a:gd name="T39" fmla="*/ 2147483647 h 870"/>
                <a:gd name="T40" fmla="*/ 2147483647 w 768"/>
                <a:gd name="T41" fmla="*/ 2147483647 h 870"/>
                <a:gd name="T42" fmla="*/ 2147483647 w 768"/>
                <a:gd name="T43" fmla="*/ 2147483647 h 870"/>
                <a:gd name="T44" fmla="*/ 2147483647 w 768"/>
                <a:gd name="T45" fmla="*/ 2147483647 h 870"/>
                <a:gd name="T46" fmla="*/ 2147483647 w 768"/>
                <a:gd name="T47" fmla="*/ 2147483647 h 870"/>
                <a:gd name="T48" fmla="*/ 2147483647 w 768"/>
                <a:gd name="T49" fmla="*/ 2147483647 h 870"/>
                <a:gd name="T50" fmla="*/ 2147483647 w 768"/>
                <a:gd name="T51" fmla="*/ 2147483647 h 870"/>
                <a:gd name="T52" fmla="*/ 2147483647 w 768"/>
                <a:gd name="T53" fmla="*/ 2147483647 h 870"/>
                <a:gd name="T54" fmla="*/ 2147483647 w 768"/>
                <a:gd name="T55" fmla="*/ 2147483647 h 870"/>
                <a:gd name="T56" fmla="*/ 2147483647 w 768"/>
                <a:gd name="T57" fmla="*/ 2147483647 h 870"/>
                <a:gd name="T58" fmla="*/ 2147483647 w 768"/>
                <a:gd name="T59" fmla="*/ 2147483647 h 870"/>
                <a:gd name="T60" fmla="*/ 2147483647 w 768"/>
                <a:gd name="T61" fmla="*/ 2147483647 h 870"/>
                <a:gd name="T62" fmla="*/ 2147483647 w 768"/>
                <a:gd name="T63" fmla="*/ 2147483647 h 870"/>
                <a:gd name="T64" fmla="*/ 2147483647 w 768"/>
                <a:gd name="T65" fmla="*/ 2147483647 h 870"/>
                <a:gd name="T66" fmla="*/ 2147483647 w 768"/>
                <a:gd name="T67" fmla="*/ 2147483647 h 870"/>
                <a:gd name="T68" fmla="*/ 2147483647 w 768"/>
                <a:gd name="T69" fmla="*/ 2147483647 h 870"/>
                <a:gd name="T70" fmla="*/ 2147483647 w 768"/>
                <a:gd name="T71" fmla="*/ 2147483647 h 870"/>
                <a:gd name="T72" fmla="*/ 2147483647 w 768"/>
                <a:gd name="T73" fmla="*/ 2147483647 h 870"/>
                <a:gd name="T74" fmla="*/ 2147483647 w 768"/>
                <a:gd name="T75" fmla="*/ 2147483647 h 870"/>
                <a:gd name="T76" fmla="*/ 2147483647 w 768"/>
                <a:gd name="T77" fmla="*/ 2147483647 h 870"/>
                <a:gd name="T78" fmla="*/ 2147483647 w 768"/>
                <a:gd name="T79" fmla="*/ 2147483647 h 870"/>
                <a:gd name="T80" fmla="*/ 2147483647 w 768"/>
                <a:gd name="T81" fmla="*/ 2147483647 h 870"/>
                <a:gd name="T82" fmla="*/ 2147483647 w 768"/>
                <a:gd name="T83" fmla="*/ 2147483647 h 870"/>
                <a:gd name="T84" fmla="*/ 2147483647 w 768"/>
                <a:gd name="T85" fmla="*/ 2147483647 h 870"/>
                <a:gd name="T86" fmla="*/ 2147483647 w 768"/>
                <a:gd name="T87" fmla="*/ 2147483647 h 870"/>
                <a:gd name="T88" fmla="*/ 2147483647 w 768"/>
                <a:gd name="T89" fmla="*/ 2147483647 h 870"/>
                <a:gd name="T90" fmla="*/ 2147483647 w 768"/>
                <a:gd name="T91" fmla="*/ 2147483647 h 870"/>
                <a:gd name="T92" fmla="*/ 2147483647 w 768"/>
                <a:gd name="T93" fmla="*/ 2147483647 h 870"/>
                <a:gd name="T94" fmla="*/ 2147483647 w 768"/>
                <a:gd name="T95" fmla="*/ 2147483647 h 870"/>
                <a:gd name="T96" fmla="*/ 2147483647 w 768"/>
                <a:gd name="T97" fmla="*/ 2147483647 h 870"/>
                <a:gd name="T98" fmla="*/ 2147483647 w 768"/>
                <a:gd name="T99" fmla="*/ 2147483647 h 870"/>
                <a:gd name="T100" fmla="*/ 2147483647 w 768"/>
                <a:gd name="T101" fmla="*/ 2147483647 h 870"/>
                <a:gd name="T102" fmla="*/ 2147483647 w 768"/>
                <a:gd name="T103" fmla="*/ 2147483647 h 8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68"/>
                <a:gd name="T157" fmla="*/ 0 h 870"/>
                <a:gd name="T158" fmla="*/ 768 w 768"/>
                <a:gd name="T159" fmla="*/ 870 h 87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68" h="870">
                  <a:moveTo>
                    <a:pt x="762" y="744"/>
                  </a:moveTo>
                  <a:lnTo>
                    <a:pt x="750" y="744"/>
                  </a:lnTo>
                  <a:lnTo>
                    <a:pt x="744" y="738"/>
                  </a:lnTo>
                  <a:lnTo>
                    <a:pt x="732" y="732"/>
                  </a:lnTo>
                  <a:lnTo>
                    <a:pt x="720" y="720"/>
                  </a:lnTo>
                  <a:lnTo>
                    <a:pt x="720" y="708"/>
                  </a:lnTo>
                  <a:lnTo>
                    <a:pt x="714" y="690"/>
                  </a:lnTo>
                  <a:lnTo>
                    <a:pt x="714" y="654"/>
                  </a:lnTo>
                  <a:lnTo>
                    <a:pt x="690" y="612"/>
                  </a:lnTo>
                  <a:lnTo>
                    <a:pt x="702" y="564"/>
                  </a:lnTo>
                  <a:lnTo>
                    <a:pt x="684" y="540"/>
                  </a:lnTo>
                  <a:lnTo>
                    <a:pt x="690" y="528"/>
                  </a:lnTo>
                  <a:lnTo>
                    <a:pt x="696" y="522"/>
                  </a:lnTo>
                  <a:lnTo>
                    <a:pt x="708" y="498"/>
                  </a:lnTo>
                  <a:lnTo>
                    <a:pt x="708" y="480"/>
                  </a:lnTo>
                  <a:lnTo>
                    <a:pt x="702" y="474"/>
                  </a:lnTo>
                  <a:lnTo>
                    <a:pt x="690" y="468"/>
                  </a:lnTo>
                  <a:lnTo>
                    <a:pt x="672" y="456"/>
                  </a:lnTo>
                  <a:lnTo>
                    <a:pt x="660" y="450"/>
                  </a:lnTo>
                  <a:lnTo>
                    <a:pt x="654" y="438"/>
                  </a:lnTo>
                  <a:lnTo>
                    <a:pt x="654" y="426"/>
                  </a:lnTo>
                  <a:lnTo>
                    <a:pt x="660" y="414"/>
                  </a:lnTo>
                  <a:lnTo>
                    <a:pt x="666" y="396"/>
                  </a:lnTo>
                  <a:lnTo>
                    <a:pt x="666" y="384"/>
                  </a:lnTo>
                  <a:lnTo>
                    <a:pt x="672" y="366"/>
                  </a:lnTo>
                  <a:lnTo>
                    <a:pt x="678" y="354"/>
                  </a:lnTo>
                  <a:lnTo>
                    <a:pt x="678" y="330"/>
                  </a:lnTo>
                  <a:lnTo>
                    <a:pt x="684" y="318"/>
                  </a:lnTo>
                  <a:lnTo>
                    <a:pt x="684" y="300"/>
                  </a:lnTo>
                  <a:lnTo>
                    <a:pt x="570" y="192"/>
                  </a:lnTo>
                  <a:lnTo>
                    <a:pt x="576" y="186"/>
                  </a:lnTo>
                  <a:lnTo>
                    <a:pt x="582" y="186"/>
                  </a:lnTo>
                  <a:lnTo>
                    <a:pt x="588" y="180"/>
                  </a:lnTo>
                  <a:lnTo>
                    <a:pt x="588" y="174"/>
                  </a:lnTo>
                  <a:lnTo>
                    <a:pt x="576" y="162"/>
                  </a:lnTo>
                  <a:lnTo>
                    <a:pt x="324" y="6"/>
                  </a:lnTo>
                  <a:lnTo>
                    <a:pt x="312" y="6"/>
                  </a:lnTo>
                  <a:lnTo>
                    <a:pt x="312" y="18"/>
                  </a:lnTo>
                  <a:lnTo>
                    <a:pt x="318" y="24"/>
                  </a:lnTo>
                  <a:lnTo>
                    <a:pt x="318" y="36"/>
                  </a:lnTo>
                  <a:lnTo>
                    <a:pt x="294" y="48"/>
                  </a:lnTo>
                  <a:lnTo>
                    <a:pt x="276" y="66"/>
                  </a:lnTo>
                  <a:lnTo>
                    <a:pt x="264" y="84"/>
                  </a:lnTo>
                  <a:lnTo>
                    <a:pt x="264" y="90"/>
                  </a:lnTo>
                  <a:lnTo>
                    <a:pt x="270" y="96"/>
                  </a:lnTo>
                  <a:lnTo>
                    <a:pt x="294" y="96"/>
                  </a:lnTo>
                  <a:lnTo>
                    <a:pt x="306" y="90"/>
                  </a:lnTo>
                  <a:lnTo>
                    <a:pt x="312" y="90"/>
                  </a:lnTo>
                  <a:lnTo>
                    <a:pt x="306" y="96"/>
                  </a:lnTo>
                  <a:lnTo>
                    <a:pt x="294" y="102"/>
                  </a:lnTo>
                  <a:lnTo>
                    <a:pt x="276" y="120"/>
                  </a:lnTo>
                  <a:lnTo>
                    <a:pt x="270" y="120"/>
                  </a:lnTo>
                  <a:lnTo>
                    <a:pt x="264" y="114"/>
                  </a:lnTo>
                  <a:lnTo>
                    <a:pt x="252" y="108"/>
                  </a:lnTo>
                  <a:lnTo>
                    <a:pt x="246" y="108"/>
                  </a:lnTo>
                  <a:lnTo>
                    <a:pt x="234" y="120"/>
                  </a:lnTo>
                  <a:lnTo>
                    <a:pt x="234" y="138"/>
                  </a:lnTo>
                  <a:lnTo>
                    <a:pt x="246" y="150"/>
                  </a:lnTo>
                  <a:lnTo>
                    <a:pt x="216" y="150"/>
                  </a:lnTo>
                  <a:lnTo>
                    <a:pt x="216" y="138"/>
                  </a:lnTo>
                  <a:lnTo>
                    <a:pt x="222" y="132"/>
                  </a:lnTo>
                  <a:lnTo>
                    <a:pt x="222" y="126"/>
                  </a:lnTo>
                  <a:lnTo>
                    <a:pt x="228" y="114"/>
                  </a:lnTo>
                  <a:lnTo>
                    <a:pt x="210" y="120"/>
                  </a:lnTo>
                  <a:lnTo>
                    <a:pt x="192" y="102"/>
                  </a:lnTo>
                  <a:lnTo>
                    <a:pt x="186" y="102"/>
                  </a:lnTo>
                  <a:lnTo>
                    <a:pt x="174" y="114"/>
                  </a:lnTo>
                  <a:lnTo>
                    <a:pt x="174" y="132"/>
                  </a:lnTo>
                  <a:lnTo>
                    <a:pt x="168" y="138"/>
                  </a:lnTo>
                  <a:lnTo>
                    <a:pt x="162" y="138"/>
                  </a:lnTo>
                  <a:lnTo>
                    <a:pt x="156" y="132"/>
                  </a:lnTo>
                  <a:lnTo>
                    <a:pt x="156" y="48"/>
                  </a:lnTo>
                  <a:lnTo>
                    <a:pt x="162" y="36"/>
                  </a:lnTo>
                  <a:lnTo>
                    <a:pt x="162" y="24"/>
                  </a:lnTo>
                  <a:lnTo>
                    <a:pt x="168" y="12"/>
                  </a:lnTo>
                  <a:lnTo>
                    <a:pt x="168" y="6"/>
                  </a:lnTo>
                  <a:lnTo>
                    <a:pt x="78" y="0"/>
                  </a:lnTo>
                  <a:lnTo>
                    <a:pt x="72" y="24"/>
                  </a:lnTo>
                  <a:lnTo>
                    <a:pt x="78" y="30"/>
                  </a:lnTo>
                  <a:lnTo>
                    <a:pt x="84" y="42"/>
                  </a:lnTo>
                  <a:lnTo>
                    <a:pt x="90" y="48"/>
                  </a:lnTo>
                  <a:lnTo>
                    <a:pt x="90" y="66"/>
                  </a:lnTo>
                  <a:lnTo>
                    <a:pt x="96" y="72"/>
                  </a:lnTo>
                  <a:lnTo>
                    <a:pt x="96" y="96"/>
                  </a:lnTo>
                  <a:lnTo>
                    <a:pt x="78" y="114"/>
                  </a:lnTo>
                  <a:lnTo>
                    <a:pt x="66" y="114"/>
                  </a:lnTo>
                  <a:lnTo>
                    <a:pt x="66" y="126"/>
                  </a:lnTo>
                  <a:lnTo>
                    <a:pt x="60" y="138"/>
                  </a:lnTo>
                  <a:lnTo>
                    <a:pt x="60" y="156"/>
                  </a:lnTo>
                  <a:lnTo>
                    <a:pt x="66" y="156"/>
                  </a:lnTo>
                  <a:lnTo>
                    <a:pt x="72" y="162"/>
                  </a:lnTo>
                  <a:lnTo>
                    <a:pt x="90" y="162"/>
                  </a:lnTo>
                  <a:lnTo>
                    <a:pt x="90" y="180"/>
                  </a:lnTo>
                  <a:lnTo>
                    <a:pt x="78" y="186"/>
                  </a:lnTo>
                  <a:lnTo>
                    <a:pt x="84" y="198"/>
                  </a:lnTo>
                  <a:lnTo>
                    <a:pt x="72" y="198"/>
                  </a:lnTo>
                  <a:lnTo>
                    <a:pt x="54" y="216"/>
                  </a:lnTo>
                  <a:lnTo>
                    <a:pt x="48" y="228"/>
                  </a:lnTo>
                  <a:lnTo>
                    <a:pt x="48" y="246"/>
                  </a:lnTo>
                  <a:lnTo>
                    <a:pt x="42" y="258"/>
                  </a:lnTo>
                  <a:lnTo>
                    <a:pt x="30" y="270"/>
                  </a:lnTo>
                  <a:lnTo>
                    <a:pt x="6" y="282"/>
                  </a:lnTo>
                  <a:lnTo>
                    <a:pt x="0" y="294"/>
                  </a:lnTo>
                  <a:lnTo>
                    <a:pt x="6" y="306"/>
                  </a:lnTo>
                  <a:lnTo>
                    <a:pt x="18" y="318"/>
                  </a:lnTo>
                  <a:lnTo>
                    <a:pt x="18" y="330"/>
                  </a:lnTo>
                  <a:lnTo>
                    <a:pt x="12" y="342"/>
                  </a:lnTo>
                  <a:lnTo>
                    <a:pt x="12" y="348"/>
                  </a:lnTo>
                  <a:lnTo>
                    <a:pt x="18" y="354"/>
                  </a:lnTo>
                  <a:lnTo>
                    <a:pt x="18" y="366"/>
                  </a:lnTo>
                  <a:lnTo>
                    <a:pt x="24" y="378"/>
                  </a:lnTo>
                  <a:lnTo>
                    <a:pt x="24" y="396"/>
                  </a:lnTo>
                  <a:lnTo>
                    <a:pt x="18" y="402"/>
                  </a:lnTo>
                  <a:lnTo>
                    <a:pt x="18" y="432"/>
                  </a:lnTo>
                  <a:lnTo>
                    <a:pt x="30" y="444"/>
                  </a:lnTo>
                  <a:lnTo>
                    <a:pt x="36" y="444"/>
                  </a:lnTo>
                  <a:lnTo>
                    <a:pt x="48" y="450"/>
                  </a:lnTo>
                  <a:lnTo>
                    <a:pt x="72" y="474"/>
                  </a:lnTo>
                  <a:lnTo>
                    <a:pt x="78" y="486"/>
                  </a:lnTo>
                  <a:lnTo>
                    <a:pt x="78" y="546"/>
                  </a:lnTo>
                  <a:lnTo>
                    <a:pt x="84" y="558"/>
                  </a:lnTo>
                  <a:lnTo>
                    <a:pt x="114" y="594"/>
                  </a:lnTo>
                  <a:lnTo>
                    <a:pt x="114" y="600"/>
                  </a:lnTo>
                  <a:lnTo>
                    <a:pt x="108" y="612"/>
                  </a:lnTo>
                  <a:lnTo>
                    <a:pt x="108" y="618"/>
                  </a:lnTo>
                  <a:lnTo>
                    <a:pt x="126" y="618"/>
                  </a:lnTo>
                  <a:lnTo>
                    <a:pt x="138" y="612"/>
                  </a:lnTo>
                  <a:lnTo>
                    <a:pt x="138" y="630"/>
                  </a:lnTo>
                  <a:lnTo>
                    <a:pt x="144" y="636"/>
                  </a:lnTo>
                  <a:lnTo>
                    <a:pt x="162" y="636"/>
                  </a:lnTo>
                  <a:lnTo>
                    <a:pt x="180" y="654"/>
                  </a:lnTo>
                  <a:lnTo>
                    <a:pt x="192" y="654"/>
                  </a:lnTo>
                  <a:lnTo>
                    <a:pt x="204" y="648"/>
                  </a:lnTo>
                  <a:lnTo>
                    <a:pt x="204" y="666"/>
                  </a:lnTo>
                  <a:lnTo>
                    <a:pt x="222" y="666"/>
                  </a:lnTo>
                  <a:lnTo>
                    <a:pt x="240" y="678"/>
                  </a:lnTo>
                  <a:lnTo>
                    <a:pt x="264" y="678"/>
                  </a:lnTo>
                  <a:lnTo>
                    <a:pt x="270" y="696"/>
                  </a:lnTo>
                  <a:lnTo>
                    <a:pt x="300" y="696"/>
                  </a:lnTo>
                  <a:lnTo>
                    <a:pt x="300" y="690"/>
                  </a:lnTo>
                  <a:lnTo>
                    <a:pt x="312" y="678"/>
                  </a:lnTo>
                  <a:lnTo>
                    <a:pt x="318" y="684"/>
                  </a:lnTo>
                  <a:lnTo>
                    <a:pt x="330" y="690"/>
                  </a:lnTo>
                  <a:lnTo>
                    <a:pt x="336" y="702"/>
                  </a:lnTo>
                  <a:lnTo>
                    <a:pt x="348" y="714"/>
                  </a:lnTo>
                  <a:lnTo>
                    <a:pt x="348" y="774"/>
                  </a:lnTo>
                  <a:lnTo>
                    <a:pt x="354" y="774"/>
                  </a:lnTo>
                  <a:lnTo>
                    <a:pt x="360" y="780"/>
                  </a:lnTo>
                  <a:lnTo>
                    <a:pt x="360" y="792"/>
                  </a:lnTo>
                  <a:lnTo>
                    <a:pt x="354" y="798"/>
                  </a:lnTo>
                  <a:lnTo>
                    <a:pt x="354" y="804"/>
                  </a:lnTo>
                  <a:lnTo>
                    <a:pt x="348" y="810"/>
                  </a:lnTo>
                  <a:lnTo>
                    <a:pt x="348" y="816"/>
                  </a:lnTo>
                  <a:lnTo>
                    <a:pt x="366" y="834"/>
                  </a:lnTo>
                  <a:lnTo>
                    <a:pt x="378" y="840"/>
                  </a:lnTo>
                  <a:lnTo>
                    <a:pt x="372" y="858"/>
                  </a:lnTo>
                  <a:lnTo>
                    <a:pt x="408" y="858"/>
                  </a:lnTo>
                  <a:lnTo>
                    <a:pt x="414" y="852"/>
                  </a:lnTo>
                  <a:lnTo>
                    <a:pt x="420" y="852"/>
                  </a:lnTo>
                  <a:lnTo>
                    <a:pt x="432" y="840"/>
                  </a:lnTo>
                  <a:lnTo>
                    <a:pt x="444" y="840"/>
                  </a:lnTo>
                  <a:lnTo>
                    <a:pt x="456" y="846"/>
                  </a:lnTo>
                  <a:lnTo>
                    <a:pt x="462" y="858"/>
                  </a:lnTo>
                  <a:lnTo>
                    <a:pt x="474" y="864"/>
                  </a:lnTo>
                  <a:lnTo>
                    <a:pt x="480" y="870"/>
                  </a:lnTo>
                  <a:lnTo>
                    <a:pt x="492" y="870"/>
                  </a:lnTo>
                  <a:lnTo>
                    <a:pt x="510" y="852"/>
                  </a:lnTo>
                  <a:lnTo>
                    <a:pt x="516" y="852"/>
                  </a:lnTo>
                  <a:lnTo>
                    <a:pt x="522" y="858"/>
                  </a:lnTo>
                  <a:lnTo>
                    <a:pt x="534" y="864"/>
                  </a:lnTo>
                  <a:lnTo>
                    <a:pt x="552" y="864"/>
                  </a:lnTo>
                  <a:lnTo>
                    <a:pt x="564" y="852"/>
                  </a:lnTo>
                  <a:lnTo>
                    <a:pt x="576" y="846"/>
                  </a:lnTo>
                  <a:lnTo>
                    <a:pt x="582" y="834"/>
                  </a:lnTo>
                  <a:lnTo>
                    <a:pt x="588" y="828"/>
                  </a:lnTo>
                  <a:lnTo>
                    <a:pt x="612" y="828"/>
                  </a:lnTo>
                  <a:lnTo>
                    <a:pt x="618" y="834"/>
                  </a:lnTo>
                  <a:lnTo>
                    <a:pt x="618" y="840"/>
                  </a:lnTo>
                  <a:lnTo>
                    <a:pt x="630" y="840"/>
                  </a:lnTo>
                  <a:lnTo>
                    <a:pt x="642" y="834"/>
                  </a:lnTo>
                  <a:lnTo>
                    <a:pt x="654" y="822"/>
                  </a:lnTo>
                  <a:lnTo>
                    <a:pt x="660" y="822"/>
                  </a:lnTo>
                  <a:lnTo>
                    <a:pt x="690" y="816"/>
                  </a:lnTo>
                  <a:lnTo>
                    <a:pt x="768" y="762"/>
                  </a:lnTo>
                  <a:lnTo>
                    <a:pt x="762" y="744"/>
                  </a:lnTo>
                  <a:close/>
                  <a:moveTo>
                    <a:pt x="726" y="360"/>
                  </a:moveTo>
                  <a:lnTo>
                    <a:pt x="732" y="354"/>
                  </a:lnTo>
                  <a:lnTo>
                    <a:pt x="732" y="324"/>
                  </a:lnTo>
                  <a:lnTo>
                    <a:pt x="720" y="312"/>
                  </a:lnTo>
                  <a:lnTo>
                    <a:pt x="714" y="312"/>
                  </a:lnTo>
                  <a:lnTo>
                    <a:pt x="708" y="318"/>
                  </a:lnTo>
                  <a:lnTo>
                    <a:pt x="708" y="348"/>
                  </a:lnTo>
                  <a:lnTo>
                    <a:pt x="714" y="354"/>
                  </a:lnTo>
                  <a:lnTo>
                    <a:pt x="726" y="360"/>
                  </a:lnTo>
                  <a:close/>
                  <a:moveTo>
                    <a:pt x="678" y="420"/>
                  </a:moveTo>
                  <a:lnTo>
                    <a:pt x="690" y="426"/>
                  </a:lnTo>
                  <a:lnTo>
                    <a:pt x="696" y="438"/>
                  </a:lnTo>
                  <a:lnTo>
                    <a:pt x="708" y="444"/>
                  </a:lnTo>
                  <a:lnTo>
                    <a:pt x="720" y="444"/>
                  </a:lnTo>
                  <a:lnTo>
                    <a:pt x="726" y="438"/>
                  </a:lnTo>
                  <a:lnTo>
                    <a:pt x="720" y="432"/>
                  </a:lnTo>
                  <a:lnTo>
                    <a:pt x="720" y="426"/>
                  </a:lnTo>
                  <a:lnTo>
                    <a:pt x="708" y="414"/>
                  </a:lnTo>
                  <a:lnTo>
                    <a:pt x="708" y="390"/>
                  </a:lnTo>
                  <a:lnTo>
                    <a:pt x="702" y="378"/>
                  </a:lnTo>
                  <a:lnTo>
                    <a:pt x="684" y="378"/>
                  </a:lnTo>
                  <a:lnTo>
                    <a:pt x="678" y="384"/>
                  </a:lnTo>
                  <a:lnTo>
                    <a:pt x="678" y="420"/>
                  </a:lnTo>
                  <a:close/>
                </a:path>
              </a:pathLst>
            </a:custGeom>
            <a:solidFill>
              <a:srgbClr val="692864"/>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64" name="Tajikistan" descr="© INSCALE GmbH, 05.05.2010&#10;http://www.presentationload.com/"/>
            <p:cNvSpPr>
              <a:spLocks/>
            </p:cNvSpPr>
            <p:nvPr/>
          </p:nvSpPr>
          <p:spPr bwMode="gray">
            <a:xfrm>
              <a:off x="6021393" y="2749550"/>
              <a:ext cx="222249" cy="141288"/>
            </a:xfrm>
            <a:custGeom>
              <a:avLst/>
              <a:gdLst>
                <a:gd name="T0" fmla="*/ 2147483647 w 552"/>
                <a:gd name="T1" fmla="*/ 2147483647 h 348"/>
                <a:gd name="T2" fmla="*/ 2147483647 w 552"/>
                <a:gd name="T3" fmla="*/ 2147483647 h 348"/>
                <a:gd name="T4" fmla="*/ 2147483647 w 552"/>
                <a:gd name="T5" fmla="*/ 2147483647 h 348"/>
                <a:gd name="T6" fmla="*/ 2147483647 w 552"/>
                <a:gd name="T7" fmla="*/ 2147483647 h 348"/>
                <a:gd name="T8" fmla="*/ 2147483647 w 552"/>
                <a:gd name="T9" fmla="*/ 2147483647 h 348"/>
                <a:gd name="T10" fmla="*/ 2147483647 w 552"/>
                <a:gd name="T11" fmla="*/ 2147483647 h 348"/>
                <a:gd name="T12" fmla="*/ 2147483647 w 552"/>
                <a:gd name="T13" fmla="*/ 2147483647 h 348"/>
                <a:gd name="T14" fmla="*/ 2147483647 w 552"/>
                <a:gd name="T15" fmla="*/ 2147483647 h 348"/>
                <a:gd name="T16" fmla="*/ 2147483647 w 552"/>
                <a:gd name="T17" fmla="*/ 2147483647 h 348"/>
                <a:gd name="T18" fmla="*/ 2147483647 w 552"/>
                <a:gd name="T19" fmla="*/ 2147483647 h 348"/>
                <a:gd name="T20" fmla="*/ 2147483647 w 552"/>
                <a:gd name="T21" fmla="*/ 2147483647 h 348"/>
                <a:gd name="T22" fmla="*/ 2147483647 w 552"/>
                <a:gd name="T23" fmla="*/ 2147483647 h 348"/>
                <a:gd name="T24" fmla="*/ 2147483647 w 552"/>
                <a:gd name="T25" fmla="*/ 2147483647 h 348"/>
                <a:gd name="T26" fmla="*/ 2147483647 w 552"/>
                <a:gd name="T27" fmla="*/ 2147483647 h 348"/>
                <a:gd name="T28" fmla="*/ 2147483647 w 552"/>
                <a:gd name="T29" fmla="*/ 2147483647 h 348"/>
                <a:gd name="T30" fmla="*/ 2147483647 w 552"/>
                <a:gd name="T31" fmla="*/ 2147483647 h 348"/>
                <a:gd name="T32" fmla="*/ 2147483647 w 552"/>
                <a:gd name="T33" fmla="*/ 2147483647 h 348"/>
                <a:gd name="T34" fmla="*/ 2147483647 w 552"/>
                <a:gd name="T35" fmla="*/ 2147483647 h 348"/>
                <a:gd name="T36" fmla="*/ 2147483647 w 552"/>
                <a:gd name="T37" fmla="*/ 2147483647 h 348"/>
                <a:gd name="T38" fmla="*/ 2147483647 w 552"/>
                <a:gd name="T39" fmla="*/ 0 h 348"/>
                <a:gd name="T40" fmla="*/ 2147483647 w 552"/>
                <a:gd name="T41" fmla="*/ 2147483647 h 348"/>
                <a:gd name="T42" fmla="*/ 2147483647 w 552"/>
                <a:gd name="T43" fmla="*/ 2147483647 h 348"/>
                <a:gd name="T44" fmla="*/ 2147483647 w 552"/>
                <a:gd name="T45" fmla="*/ 2147483647 h 348"/>
                <a:gd name="T46" fmla="*/ 2147483647 w 552"/>
                <a:gd name="T47" fmla="*/ 2147483647 h 348"/>
                <a:gd name="T48" fmla="*/ 2147483647 w 552"/>
                <a:gd name="T49" fmla="*/ 2147483647 h 348"/>
                <a:gd name="T50" fmla="*/ 2147483647 w 552"/>
                <a:gd name="T51" fmla="*/ 2147483647 h 348"/>
                <a:gd name="T52" fmla="*/ 2147483647 w 552"/>
                <a:gd name="T53" fmla="*/ 2147483647 h 348"/>
                <a:gd name="T54" fmla="*/ 2147483647 w 552"/>
                <a:gd name="T55" fmla="*/ 2147483647 h 348"/>
                <a:gd name="T56" fmla="*/ 2147483647 w 552"/>
                <a:gd name="T57" fmla="*/ 2147483647 h 348"/>
                <a:gd name="T58" fmla="*/ 2147483647 w 552"/>
                <a:gd name="T59" fmla="*/ 2147483647 h 348"/>
                <a:gd name="T60" fmla="*/ 2147483647 w 552"/>
                <a:gd name="T61" fmla="*/ 2147483647 h 348"/>
                <a:gd name="T62" fmla="*/ 2147483647 w 552"/>
                <a:gd name="T63" fmla="*/ 2147483647 h 348"/>
                <a:gd name="T64" fmla="*/ 2147483647 w 552"/>
                <a:gd name="T65" fmla="*/ 2147483647 h 348"/>
                <a:gd name="T66" fmla="*/ 2147483647 w 552"/>
                <a:gd name="T67" fmla="*/ 2147483647 h 348"/>
                <a:gd name="T68" fmla="*/ 2147483647 w 552"/>
                <a:gd name="T69" fmla="*/ 2147483647 h 348"/>
                <a:gd name="T70" fmla="*/ 2147483647 w 552"/>
                <a:gd name="T71" fmla="*/ 2147483647 h 348"/>
                <a:gd name="T72" fmla="*/ 2147483647 w 552"/>
                <a:gd name="T73" fmla="*/ 2147483647 h 348"/>
                <a:gd name="T74" fmla="*/ 2147483647 w 552"/>
                <a:gd name="T75" fmla="*/ 2147483647 h 348"/>
                <a:gd name="T76" fmla="*/ 2147483647 w 552"/>
                <a:gd name="T77" fmla="*/ 2147483647 h 348"/>
                <a:gd name="T78" fmla="*/ 2147483647 w 552"/>
                <a:gd name="T79" fmla="*/ 2147483647 h 348"/>
                <a:gd name="T80" fmla="*/ 2147483647 w 552"/>
                <a:gd name="T81" fmla="*/ 2147483647 h 348"/>
                <a:gd name="T82" fmla="*/ 2147483647 w 552"/>
                <a:gd name="T83" fmla="*/ 2147483647 h 348"/>
                <a:gd name="T84" fmla="*/ 2147483647 w 552"/>
                <a:gd name="T85" fmla="*/ 2147483647 h 348"/>
                <a:gd name="T86" fmla="*/ 2147483647 w 552"/>
                <a:gd name="T87" fmla="*/ 2147483647 h 348"/>
                <a:gd name="T88" fmla="*/ 2147483647 w 552"/>
                <a:gd name="T89" fmla="*/ 2147483647 h 348"/>
                <a:gd name="T90" fmla="*/ 2147483647 w 552"/>
                <a:gd name="T91" fmla="*/ 2147483647 h 348"/>
                <a:gd name="T92" fmla="*/ 2147483647 w 552"/>
                <a:gd name="T93" fmla="*/ 2147483647 h 348"/>
                <a:gd name="T94" fmla="*/ 2147483647 w 552"/>
                <a:gd name="T95" fmla="*/ 2147483647 h 348"/>
                <a:gd name="T96" fmla="*/ 2147483647 w 552"/>
                <a:gd name="T97" fmla="*/ 2147483647 h 348"/>
                <a:gd name="T98" fmla="*/ 2147483647 w 552"/>
                <a:gd name="T99" fmla="*/ 2147483647 h 34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52"/>
                <a:gd name="T151" fmla="*/ 0 h 348"/>
                <a:gd name="T152" fmla="*/ 552 w 552"/>
                <a:gd name="T153" fmla="*/ 348 h 34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52" h="348">
                  <a:moveTo>
                    <a:pt x="528" y="270"/>
                  </a:moveTo>
                  <a:lnTo>
                    <a:pt x="516" y="246"/>
                  </a:lnTo>
                  <a:lnTo>
                    <a:pt x="516" y="204"/>
                  </a:lnTo>
                  <a:lnTo>
                    <a:pt x="510" y="198"/>
                  </a:lnTo>
                  <a:lnTo>
                    <a:pt x="498" y="192"/>
                  </a:lnTo>
                  <a:lnTo>
                    <a:pt x="492" y="192"/>
                  </a:lnTo>
                  <a:lnTo>
                    <a:pt x="480" y="186"/>
                  </a:lnTo>
                  <a:lnTo>
                    <a:pt x="456" y="186"/>
                  </a:lnTo>
                  <a:lnTo>
                    <a:pt x="450" y="192"/>
                  </a:lnTo>
                  <a:lnTo>
                    <a:pt x="438" y="192"/>
                  </a:lnTo>
                  <a:lnTo>
                    <a:pt x="426" y="180"/>
                  </a:lnTo>
                  <a:lnTo>
                    <a:pt x="426" y="168"/>
                  </a:lnTo>
                  <a:lnTo>
                    <a:pt x="432" y="156"/>
                  </a:lnTo>
                  <a:lnTo>
                    <a:pt x="432" y="144"/>
                  </a:lnTo>
                  <a:lnTo>
                    <a:pt x="414" y="144"/>
                  </a:lnTo>
                  <a:lnTo>
                    <a:pt x="414" y="120"/>
                  </a:lnTo>
                  <a:lnTo>
                    <a:pt x="396" y="114"/>
                  </a:lnTo>
                  <a:lnTo>
                    <a:pt x="384" y="126"/>
                  </a:lnTo>
                  <a:lnTo>
                    <a:pt x="342" y="126"/>
                  </a:lnTo>
                  <a:lnTo>
                    <a:pt x="336" y="132"/>
                  </a:lnTo>
                  <a:lnTo>
                    <a:pt x="324" y="138"/>
                  </a:lnTo>
                  <a:lnTo>
                    <a:pt x="312" y="138"/>
                  </a:lnTo>
                  <a:lnTo>
                    <a:pt x="312" y="132"/>
                  </a:lnTo>
                  <a:lnTo>
                    <a:pt x="306" y="132"/>
                  </a:lnTo>
                  <a:lnTo>
                    <a:pt x="294" y="138"/>
                  </a:lnTo>
                  <a:lnTo>
                    <a:pt x="264" y="108"/>
                  </a:lnTo>
                  <a:lnTo>
                    <a:pt x="258" y="114"/>
                  </a:lnTo>
                  <a:lnTo>
                    <a:pt x="246" y="120"/>
                  </a:lnTo>
                  <a:lnTo>
                    <a:pt x="240" y="126"/>
                  </a:lnTo>
                  <a:lnTo>
                    <a:pt x="222" y="126"/>
                  </a:lnTo>
                  <a:lnTo>
                    <a:pt x="210" y="114"/>
                  </a:lnTo>
                  <a:lnTo>
                    <a:pt x="186" y="114"/>
                  </a:lnTo>
                  <a:lnTo>
                    <a:pt x="174" y="108"/>
                  </a:lnTo>
                  <a:lnTo>
                    <a:pt x="156" y="108"/>
                  </a:lnTo>
                  <a:lnTo>
                    <a:pt x="150" y="114"/>
                  </a:lnTo>
                  <a:lnTo>
                    <a:pt x="138" y="114"/>
                  </a:lnTo>
                  <a:lnTo>
                    <a:pt x="126" y="120"/>
                  </a:lnTo>
                  <a:lnTo>
                    <a:pt x="120" y="114"/>
                  </a:lnTo>
                  <a:lnTo>
                    <a:pt x="120" y="108"/>
                  </a:lnTo>
                  <a:lnTo>
                    <a:pt x="114" y="102"/>
                  </a:lnTo>
                  <a:lnTo>
                    <a:pt x="114" y="90"/>
                  </a:lnTo>
                  <a:lnTo>
                    <a:pt x="126" y="84"/>
                  </a:lnTo>
                  <a:lnTo>
                    <a:pt x="132" y="78"/>
                  </a:lnTo>
                  <a:lnTo>
                    <a:pt x="132" y="66"/>
                  </a:lnTo>
                  <a:lnTo>
                    <a:pt x="138" y="60"/>
                  </a:lnTo>
                  <a:lnTo>
                    <a:pt x="150" y="60"/>
                  </a:lnTo>
                  <a:lnTo>
                    <a:pt x="186" y="72"/>
                  </a:lnTo>
                  <a:lnTo>
                    <a:pt x="198" y="78"/>
                  </a:lnTo>
                  <a:lnTo>
                    <a:pt x="204" y="78"/>
                  </a:lnTo>
                  <a:lnTo>
                    <a:pt x="210" y="72"/>
                  </a:lnTo>
                  <a:lnTo>
                    <a:pt x="210" y="66"/>
                  </a:lnTo>
                  <a:lnTo>
                    <a:pt x="204" y="60"/>
                  </a:lnTo>
                  <a:lnTo>
                    <a:pt x="198" y="60"/>
                  </a:lnTo>
                  <a:lnTo>
                    <a:pt x="186" y="54"/>
                  </a:lnTo>
                  <a:lnTo>
                    <a:pt x="180" y="48"/>
                  </a:lnTo>
                  <a:lnTo>
                    <a:pt x="174" y="48"/>
                  </a:lnTo>
                  <a:lnTo>
                    <a:pt x="198" y="12"/>
                  </a:lnTo>
                  <a:lnTo>
                    <a:pt x="192" y="6"/>
                  </a:lnTo>
                  <a:lnTo>
                    <a:pt x="180" y="0"/>
                  </a:lnTo>
                  <a:lnTo>
                    <a:pt x="162" y="0"/>
                  </a:lnTo>
                  <a:lnTo>
                    <a:pt x="156" y="12"/>
                  </a:lnTo>
                  <a:lnTo>
                    <a:pt x="144" y="18"/>
                  </a:lnTo>
                  <a:lnTo>
                    <a:pt x="138" y="30"/>
                  </a:lnTo>
                  <a:lnTo>
                    <a:pt x="132" y="30"/>
                  </a:lnTo>
                  <a:lnTo>
                    <a:pt x="114" y="12"/>
                  </a:lnTo>
                  <a:lnTo>
                    <a:pt x="102" y="12"/>
                  </a:lnTo>
                  <a:lnTo>
                    <a:pt x="102" y="24"/>
                  </a:lnTo>
                  <a:lnTo>
                    <a:pt x="96" y="30"/>
                  </a:lnTo>
                  <a:lnTo>
                    <a:pt x="96" y="42"/>
                  </a:lnTo>
                  <a:lnTo>
                    <a:pt x="108" y="54"/>
                  </a:lnTo>
                  <a:lnTo>
                    <a:pt x="108" y="60"/>
                  </a:lnTo>
                  <a:lnTo>
                    <a:pt x="66" y="60"/>
                  </a:lnTo>
                  <a:lnTo>
                    <a:pt x="90" y="84"/>
                  </a:lnTo>
                  <a:lnTo>
                    <a:pt x="72" y="96"/>
                  </a:lnTo>
                  <a:lnTo>
                    <a:pt x="78" y="96"/>
                  </a:lnTo>
                  <a:lnTo>
                    <a:pt x="78" y="108"/>
                  </a:lnTo>
                  <a:lnTo>
                    <a:pt x="54" y="120"/>
                  </a:lnTo>
                  <a:lnTo>
                    <a:pt x="6" y="120"/>
                  </a:lnTo>
                  <a:lnTo>
                    <a:pt x="0" y="126"/>
                  </a:lnTo>
                  <a:lnTo>
                    <a:pt x="0" y="144"/>
                  </a:lnTo>
                  <a:lnTo>
                    <a:pt x="18" y="144"/>
                  </a:lnTo>
                  <a:lnTo>
                    <a:pt x="30" y="156"/>
                  </a:lnTo>
                  <a:lnTo>
                    <a:pt x="36" y="156"/>
                  </a:lnTo>
                  <a:lnTo>
                    <a:pt x="42" y="162"/>
                  </a:lnTo>
                  <a:lnTo>
                    <a:pt x="54" y="162"/>
                  </a:lnTo>
                  <a:lnTo>
                    <a:pt x="66" y="174"/>
                  </a:lnTo>
                  <a:lnTo>
                    <a:pt x="66" y="180"/>
                  </a:lnTo>
                  <a:lnTo>
                    <a:pt x="60" y="186"/>
                  </a:lnTo>
                  <a:lnTo>
                    <a:pt x="60" y="204"/>
                  </a:lnTo>
                  <a:lnTo>
                    <a:pt x="66" y="210"/>
                  </a:lnTo>
                  <a:lnTo>
                    <a:pt x="78" y="216"/>
                  </a:lnTo>
                  <a:lnTo>
                    <a:pt x="90" y="228"/>
                  </a:lnTo>
                  <a:lnTo>
                    <a:pt x="90" y="246"/>
                  </a:lnTo>
                  <a:lnTo>
                    <a:pt x="84" y="258"/>
                  </a:lnTo>
                  <a:lnTo>
                    <a:pt x="72" y="264"/>
                  </a:lnTo>
                  <a:lnTo>
                    <a:pt x="66" y="276"/>
                  </a:lnTo>
                  <a:lnTo>
                    <a:pt x="60" y="282"/>
                  </a:lnTo>
                  <a:lnTo>
                    <a:pt x="60" y="306"/>
                  </a:lnTo>
                  <a:lnTo>
                    <a:pt x="66" y="312"/>
                  </a:lnTo>
                  <a:lnTo>
                    <a:pt x="78" y="318"/>
                  </a:lnTo>
                  <a:lnTo>
                    <a:pt x="84" y="324"/>
                  </a:lnTo>
                  <a:lnTo>
                    <a:pt x="90" y="324"/>
                  </a:lnTo>
                  <a:lnTo>
                    <a:pt x="108" y="306"/>
                  </a:lnTo>
                  <a:lnTo>
                    <a:pt x="120" y="300"/>
                  </a:lnTo>
                  <a:lnTo>
                    <a:pt x="126" y="294"/>
                  </a:lnTo>
                  <a:lnTo>
                    <a:pt x="138" y="294"/>
                  </a:lnTo>
                  <a:lnTo>
                    <a:pt x="144" y="300"/>
                  </a:lnTo>
                  <a:lnTo>
                    <a:pt x="150" y="312"/>
                  </a:lnTo>
                  <a:lnTo>
                    <a:pt x="156" y="318"/>
                  </a:lnTo>
                  <a:lnTo>
                    <a:pt x="162" y="318"/>
                  </a:lnTo>
                  <a:lnTo>
                    <a:pt x="162" y="288"/>
                  </a:lnTo>
                  <a:lnTo>
                    <a:pt x="174" y="276"/>
                  </a:lnTo>
                  <a:lnTo>
                    <a:pt x="186" y="270"/>
                  </a:lnTo>
                  <a:lnTo>
                    <a:pt x="204" y="270"/>
                  </a:lnTo>
                  <a:lnTo>
                    <a:pt x="216" y="282"/>
                  </a:lnTo>
                  <a:lnTo>
                    <a:pt x="222" y="258"/>
                  </a:lnTo>
                  <a:lnTo>
                    <a:pt x="216" y="258"/>
                  </a:lnTo>
                  <a:lnTo>
                    <a:pt x="210" y="252"/>
                  </a:lnTo>
                  <a:lnTo>
                    <a:pt x="210" y="246"/>
                  </a:lnTo>
                  <a:lnTo>
                    <a:pt x="222" y="234"/>
                  </a:lnTo>
                  <a:lnTo>
                    <a:pt x="228" y="234"/>
                  </a:lnTo>
                  <a:lnTo>
                    <a:pt x="234" y="228"/>
                  </a:lnTo>
                  <a:lnTo>
                    <a:pt x="234" y="204"/>
                  </a:lnTo>
                  <a:lnTo>
                    <a:pt x="240" y="198"/>
                  </a:lnTo>
                  <a:lnTo>
                    <a:pt x="258" y="198"/>
                  </a:lnTo>
                  <a:lnTo>
                    <a:pt x="276" y="216"/>
                  </a:lnTo>
                  <a:lnTo>
                    <a:pt x="276" y="246"/>
                  </a:lnTo>
                  <a:lnTo>
                    <a:pt x="294" y="246"/>
                  </a:lnTo>
                  <a:lnTo>
                    <a:pt x="306" y="312"/>
                  </a:lnTo>
                  <a:lnTo>
                    <a:pt x="306" y="318"/>
                  </a:lnTo>
                  <a:lnTo>
                    <a:pt x="336" y="348"/>
                  </a:lnTo>
                  <a:lnTo>
                    <a:pt x="342" y="348"/>
                  </a:lnTo>
                  <a:lnTo>
                    <a:pt x="348" y="342"/>
                  </a:lnTo>
                  <a:lnTo>
                    <a:pt x="360" y="336"/>
                  </a:lnTo>
                  <a:lnTo>
                    <a:pt x="366" y="324"/>
                  </a:lnTo>
                  <a:lnTo>
                    <a:pt x="372" y="318"/>
                  </a:lnTo>
                  <a:lnTo>
                    <a:pt x="390" y="318"/>
                  </a:lnTo>
                  <a:lnTo>
                    <a:pt x="396" y="312"/>
                  </a:lnTo>
                  <a:lnTo>
                    <a:pt x="402" y="300"/>
                  </a:lnTo>
                  <a:lnTo>
                    <a:pt x="408" y="294"/>
                  </a:lnTo>
                  <a:lnTo>
                    <a:pt x="432" y="282"/>
                  </a:lnTo>
                  <a:lnTo>
                    <a:pt x="456" y="282"/>
                  </a:lnTo>
                  <a:lnTo>
                    <a:pt x="456" y="300"/>
                  </a:lnTo>
                  <a:lnTo>
                    <a:pt x="492" y="288"/>
                  </a:lnTo>
                  <a:lnTo>
                    <a:pt x="516" y="288"/>
                  </a:lnTo>
                  <a:lnTo>
                    <a:pt x="522" y="294"/>
                  </a:lnTo>
                  <a:lnTo>
                    <a:pt x="546" y="294"/>
                  </a:lnTo>
                  <a:lnTo>
                    <a:pt x="552" y="288"/>
                  </a:lnTo>
                  <a:lnTo>
                    <a:pt x="540" y="276"/>
                  </a:lnTo>
                  <a:lnTo>
                    <a:pt x="534" y="276"/>
                  </a:lnTo>
                  <a:lnTo>
                    <a:pt x="528" y="270"/>
                  </a:lnTo>
                  <a:close/>
                </a:path>
              </a:pathLst>
            </a:cu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2700000" scaled="1"/>
              <a:tileRect/>
            </a:gra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65" name="Taiwan" descr="© INSCALE GmbH, 05.05.2010&#10;http://www.presentationload.com/"/>
            <p:cNvSpPr>
              <a:spLocks/>
            </p:cNvSpPr>
            <p:nvPr/>
          </p:nvSpPr>
          <p:spPr bwMode="gray">
            <a:xfrm>
              <a:off x="7577144" y="3257549"/>
              <a:ext cx="47625" cy="107950"/>
            </a:xfrm>
            <a:custGeom>
              <a:avLst/>
              <a:gdLst>
                <a:gd name="T0" fmla="*/ 2147483647 w 120"/>
                <a:gd name="T1" fmla="*/ 2147483647 h 270"/>
                <a:gd name="T2" fmla="*/ 2147483647 w 120"/>
                <a:gd name="T3" fmla="*/ 2147483647 h 270"/>
                <a:gd name="T4" fmla="*/ 2147483647 w 120"/>
                <a:gd name="T5" fmla="*/ 2147483647 h 270"/>
                <a:gd name="T6" fmla="*/ 2147483647 w 120"/>
                <a:gd name="T7" fmla="*/ 2147483647 h 270"/>
                <a:gd name="T8" fmla="*/ 2147483647 w 120"/>
                <a:gd name="T9" fmla="*/ 2147483647 h 270"/>
                <a:gd name="T10" fmla="*/ 2147483647 w 120"/>
                <a:gd name="T11" fmla="*/ 2147483647 h 270"/>
                <a:gd name="T12" fmla="*/ 2147483647 w 120"/>
                <a:gd name="T13" fmla="*/ 2147483647 h 270"/>
                <a:gd name="T14" fmla="*/ 2147483647 w 120"/>
                <a:gd name="T15" fmla="*/ 2147483647 h 270"/>
                <a:gd name="T16" fmla="*/ 2147483647 w 120"/>
                <a:gd name="T17" fmla="*/ 2147483647 h 270"/>
                <a:gd name="T18" fmla="*/ 2147483647 w 120"/>
                <a:gd name="T19" fmla="*/ 2147483647 h 270"/>
                <a:gd name="T20" fmla="*/ 2147483647 w 120"/>
                <a:gd name="T21" fmla="*/ 0 h 270"/>
                <a:gd name="T22" fmla="*/ 2147483647 w 120"/>
                <a:gd name="T23" fmla="*/ 2147483647 h 270"/>
                <a:gd name="T24" fmla="*/ 2147483647 w 120"/>
                <a:gd name="T25" fmla="*/ 2147483647 h 270"/>
                <a:gd name="T26" fmla="*/ 2147483647 w 120"/>
                <a:gd name="T27" fmla="*/ 2147483647 h 270"/>
                <a:gd name="T28" fmla="*/ 2147483647 w 120"/>
                <a:gd name="T29" fmla="*/ 2147483647 h 270"/>
                <a:gd name="T30" fmla="*/ 0 w 120"/>
                <a:gd name="T31" fmla="*/ 2147483647 h 270"/>
                <a:gd name="T32" fmla="*/ 0 w 120"/>
                <a:gd name="T33" fmla="*/ 2147483647 h 270"/>
                <a:gd name="T34" fmla="*/ 2147483647 w 120"/>
                <a:gd name="T35" fmla="*/ 2147483647 h 270"/>
                <a:gd name="T36" fmla="*/ 2147483647 w 120"/>
                <a:gd name="T37" fmla="*/ 2147483647 h 270"/>
                <a:gd name="T38" fmla="*/ 2147483647 w 120"/>
                <a:gd name="T39" fmla="*/ 2147483647 h 270"/>
                <a:gd name="T40" fmla="*/ 2147483647 w 120"/>
                <a:gd name="T41" fmla="*/ 2147483647 h 270"/>
                <a:gd name="T42" fmla="*/ 2147483647 w 120"/>
                <a:gd name="T43" fmla="*/ 2147483647 h 270"/>
                <a:gd name="T44" fmla="*/ 2147483647 w 120"/>
                <a:gd name="T45" fmla="*/ 2147483647 h 270"/>
                <a:gd name="T46" fmla="*/ 2147483647 w 120"/>
                <a:gd name="T47" fmla="*/ 2147483647 h 270"/>
                <a:gd name="T48" fmla="*/ 2147483647 w 120"/>
                <a:gd name="T49" fmla="*/ 2147483647 h 270"/>
                <a:gd name="T50" fmla="*/ 2147483647 w 120"/>
                <a:gd name="T51" fmla="*/ 2147483647 h 27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0"/>
                <a:gd name="T79" fmla="*/ 0 h 270"/>
                <a:gd name="T80" fmla="*/ 120 w 120"/>
                <a:gd name="T81" fmla="*/ 270 h 27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0" h="270">
                  <a:moveTo>
                    <a:pt x="84" y="270"/>
                  </a:moveTo>
                  <a:lnTo>
                    <a:pt x="84" y="222"/>
                  </a:lnTo>
                  <a:lnTo>
                    <a:pt x="90" y="216"/>
                  </a:lnTo>
                  <a:lnTo>
                    <a:pt x="102" y="192"/>
                  </a:lnTo>
                  <a:lnTo>
                    <a:pt x="102" y="102"/>
                  </a:lnTo>
                  <a:lnTo>
                    <a:pt x="108" y="96"/>
                  </a:lnTo>
                  <a:lnTo>
                    <a:pt x="114" y="84"/>
                  </a:lnTo>
                  <a:lnTo>
                    <a:pt x="114" y="54"/>
                  </a:lnTo>
                  <a:lnTo>
                    <a:pt x="120" y="36"/>
                  </a:lnTo>
                  <a:lnTo>
                    <a:pt x="120" y="24"/>
                  </a:lnTo>
                  <a:lnTo>
                    <a:pt x="72" y="0"/>
                  </a:lnTo>
                  <a:lnTo>
                    <a:pt x="48" y="30"/>
                  </a:lnTo>
                  <a:lnTo>
                    <a:pt x="42" y="42"/>
                  </a:lnTo>
                  <a:lnTo>
                    <a:pt x="30" y="78"/>
                  </a:lnTo>
                  <a:lnTo>
                    <a:pt x="12" y="114"/>
                  </a:lnTo>
                  <a:lnTo>
                    <a:pt x="0" y="150"/>
                  </a:lnTo>
                  <a:lnTo>
                    <a:pt x="0" y="168"/>
                  </a:lnTo>
                  <a:lnTo>
                    <a:pt x="6" y="180"/>
                  </a:lnTo>
                  <a:lnTo>
                    <a:pt x="18" y="192"/>
                  </a:lnTo>
                  <a:lnTo>
                    <a:pt x="24" y="204"/>
                  </a:lnTo>
                  <a:lnTo>
                    <a:pt x="36" y="210"/>
                  </a:lnTo>
                  <a:lnTo>
                    <a:pt x="42" y="222"/>
                  </a:lnTo>
                  <a:lnTo>
                    <a:pt x="42" y="228"/>
                  </a:lnTo>
                  <a:lnTo>
                    <a:pt x="48" y="234"/>
                  </a:lnTo>
                  <a:lnTo>
                    <a:pt x="60" y="258"/>
                  </a:lnTo>
                  <a:lnTo>
                    <a:pt x="84" y="270"/>
                  </a:lnTo>
                  <a:close/>
                </a:path>
              </a:pathLst>
            </a:cu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2700000" scaled="1"/>
              <a:tileRect/>
            </a:gra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66" name="Syria" descr="© INSCALE GmbH, 05.05.2010&#10;http://www.presentationload.com/"/>
            <p:cNvSpPr>
              <a:spLocks/>
            </p:cNvSpPr>
            <p:nvPr/>
          </p:nvSpPr>
          <p:spPr bwMode="gray">
            <a:xfrm>
              <a:off x="5189543" y="2865437"/>
              <a:ext cx="180974" cy="166688"/>
            </a:xfrm>
            <a:custGeom>
              <a:avLst/>
              <a:gdLst>
                <a:gd name="T0" fmla="*/ 2147483647 w 450"/>
                <a:gd name="T1" fmla="*/ 2147483647 h 414"/>
                <a:gd name="T2" fmla="*/ 2147483647 w 450"/>
                <a:gd name="T3" fmla="*/ 2147483647 h 414"/>
                <a:gd name="T4" fmla="*/ 2147483647 w 450"/>
                <a:gd name="T5" fmla="*/ 2147483647 h 414"/>
                <a:gd name="T6" fmla="*/ 2147483647 w 450"/>
                <a:gd name="T7" fmla="*/ 0 h 414"/>
                <a:gd name="T8" fmla="*/ 2147483647 w 450"/>
                <a:gd name="T9" fmla="*/ 2147483647 h 414"/>
                <a:gd name="T10" fmla="*/ 2147483647 w 450"/>
                <a:gd name="T11" fmla="*/ 2147483647 h 414"/>
                <a:gd name="T12" fmla="*/ 2147483647 w 450"/>
                <a:gd name="T13" fmla="*/ 2147483647 h 414"/>
                <a:gd name="T14" fmla="*/ 2147483647 w 450"/>
                <a:gd name="T15" fmla="*/ 2147483647 h 414"/>
                <a:gd name="T16" fmla="*/ 2147483647 w 450"/>
                <a:gd name="T17" fmla="*/ 2147483647 h 414"/>
                <a:gd name="T18" fmla="*/ 2147483647 w 450"/>
                <a:gd name="T19" fmla="*/ 2147483647 h 414"/>
                <a:gd name="T20" fmla="*/ 2147483647 w 450"/>
                <a:gd name="T21" fmla="*/ 2147483647 h 414"/>
                <a:gd name="T22" fmla="*/ 2147483647 w 450"/>
                <a:gd name="T23" fmla="*/ 2147483647 h 414"/>
                <a:gd name="T24" fmla="*/ 2147483647 w 450"/>
                <a:gd name="T25" fmla="*/ 2147483647 h 414"/>
                <a:gd name="T26" fmla="*/ 2147483647 w 450"/>
                <a:gd name="T27" fmla="*/ 2147483647 h 414"/>
                <a:gd name="T28" fmla="*/ 2147483647 w 450"/>
                <a:gd name="T29" fmla="*/ 2147483647 h 414"/>
                <a:gd name="T30" fmla="*/ 2147483647 w 450"/>
                <a:gd name="T31" fmla="*/ 2147483647 h 414"/>
                <a:gd name="T32" fmla="*/ 2147483647 w 450"/>
                <a:gd name="T33" fmla="*/ 2147483647 h 414"/>
                <a:gd name="T34" fmla="*/ 2147483647 w 450"/>
                <a:gd name="T35" fmla="*/ 2147483647 h 414"/>
                <a:gd name="T36" fmla="*/ 2147483647 w 450"/>
                <a:gd name="T37" fmla="*/ 2147483647 h 414"/>
                <a:gd name="T38" fmla="*/ 2147483647 w 450"/>
                <a:gd name="T39" fmla="*/ 2147483647 h 414"/>
                <a:gd name="T40" fmla="*/ 2147483647 w 450"/>
                <a:gd name="T41" fmla="*/ 2147483647 h 414"/>
                <a:gd name="T42" fmla="*/ 2147483647 w 450"/>
                <a:gd name="T43" fmla="*/ 2147483647 h 414"/>
                <a:gd name="T44" fmla="*/ 2147483647 w 450"/>
                <a:gd name="T45" fmla="*/ 2147483647 h 414"/>
                <a:gd name="T46" fmla="*/ 2147483647 w 450"/>
                <a:gd name="T47" fmla="*/ 2147483647 h 414"/>
                <a:gd name="T48" fmla="*/ 2147483647 w 450"/>
                <a:gd name="T49" fmla="*/ 2147483647 h 414"/>
                <a:gd name="T50" fmla="*/ 2147483647 w 450"/>
                <a:gd name="T51" fmla="*/ 2147483647 h 414"/>
                <a:gd name="T52" fmla="*/ 2147483647 w 450"/>
                <a:gd name="T53" fmla="*/ 2147483647 h 414"/>
                <a:gd name="T54" fmla="*/ 2147483647 w 450"/>
                <a:gd name="T55" fmla="*/ 2147483647 h 414"/>
                <a:gd name="T56" fmla="*/ 2147483647 w 450"/>
                <a:gd name="T57" fmla="*/ 2147483647 h 414"/>
                <a:gd name="T58" fmla="*/ 2147483647 w 450"/>
                <a:gd name="T59" fmla="*/ 2147483647 h 414"/>
                <a:gd name="T60" fmla="*/ 2147483647 w 450"/>
                <a:gd name="T61" fmla="*/ 2147483647 h 414"/>
                <a:gd name="T62" fmla="*/ 2147483647 w 450"/>
                <a:gd name="T63" fmla="*/ 2147483647 h 414"/>
                <a:gd name="T64" fmla="*/ 2147483647 w 450"/>
                <a:gd name="T65" fmla="*/ 2147483647 h 414"/>
                <a:gd name="T66" fmla="*/ 2147483647 w 450"/>
                <a:gd name="T67" fmla="*/ 2147483647 h 414"/>
                <a:gd name="T68" fmla="*/ 2147483647 w 450"/>
                <a:gd name="T69" fmla="*/ 2147483647 h 414"/>
                <a:gd name="T70" fmla="*/ 2147483647 w 450"/>
                <a:gd name="T71" fmla="*/ 2147483647 h 414"/>
                <a:gd name="T72" fmla="*/ 2147483647 w 450"/>
                <a:gd name="T73" fmla="*/ 2147483647 h 414"/>
                <a:gd name="T74" fmla="*/ 2147483647 w 450"/>
                <a:gd name="T75" fmla="*/ 2147483647 h 414"/>
                <a:gd name="T76" fmla="*/ 2147483647 w 450"/>
                <a:gd name="T77" fmla="*/ 2147483647 h 414"/>
                <a:gd name="T78" fmla="*/ 2147483647 w 450"/>
                <a:gd name="T79" fmla="*/ 2147483647 h 414"/>
                <a:gd name="T80" fmla="*/ 2147483647 w 450"/>
                <a:gd name="T81" fmla="*/ 2147483647 h 414"/>
                <a:gd name="T82" fmla="*/ 2147483647 w 450"/>
                <a:gd name="T83" fmla="*/ 2147483647 h 414"/>
                <a:gd name="T84" fmla="*/ 2147483647 w 450"/>
                <a:gd name="T85" fmla="*/ 2147483647 h 414"/>
                <a:gd name="T86" fmla="*/ 2147483647 w 450"/>
                <a:gd name="T87" fmla="*/ 2147483647 h 414"/>
                <a:gd name="T88" fmla="*/ 2147483647 w 450"/>
                <a:gd name="T89" fmla="*/ 2147483647 h 414"/>
                <a:gd name="T90" fmla="*/ 2147483647 w 450"/>
                <a:gd name="T91" fmla="*/ 2147483647 h 414"/>
                <a:gd name="T92" fmla="*/ 2147483647 w 450"/>
                <a:gd name="T93" fmla="*/ 2147483647 h 414"/>
                <a:gd name="T94" fmla="*/ 2147483647 w 450"/>
                <a:gd name="T95" fmla="*/ 2147483647 h 414"/>
                <a:gd name="T96" fmla="*/ 2147483647 w 450"/>
                <a:gd name="T97" fmla="*/ 2147483647 h 41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0"/>
                <a:gd name="T148" fmla="*/ 0 h 414"/>
                <a:gd name="T149" fmla="*/ 450 w 450"/>
                <a:gd name="T150" fmla="*/ 414 h 41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0" h="414">
                  <a:moveTo>
                    <a:pt x="426" y="60"/>
                  </a:moveTo>
                  <a:lnTo>
                    <a:pt x="432" y="54"/>
                  </a:lnTo>
                  <a:lnTo>
                    <a:pt x="438" y="42"/>
                  </a:lnTo>
                  <a:lnTo>
                    <a:pt x="450" y="30"/>
                  </a:lnTo>
                  <a:lnTo>
                    <a:pt x="444" y="30"/>
                  </a:lnTo>
                  <a:lnTo>
                    <a:pt x="438" y="24"/>
                  </a:lnTo>
                  <a:lnTo>
                    <a:pt x="438" y="0"/>
                  </a:lnTo>
                  <a:lnTo>
                    <a:pt x="432" y="0"/>
                  </a:lnTo>
                  <a:lnTo>
                    <a:pt x="432" y="6"/>
                  </a:lnTo>
                  <a:lnTo>
                    <a:pt x="426" y="18"/>
                  </a:lnTo>
                  <a:lnTo>
                    <a:pt x="402" y="18"/>
                  </a:lnTo>
                  <a:lnTo>
                    <a:pt x="390" y="30"/>
                  </a:lnTo>
                  <a:lnTo>
                    <a:pt x="372" y="30"/>
                  </a:lnTo>
                  <a:lnTo>
                    <a:pt x="366" y="24"/>
                  </a:lnTo>
                  <a:lnTo>
                    <a:pt x="318" y="24"/>
                  </a:lnTo>
                  <a:lnTo>
                    <a:pt x="306" y="30"/>
                  </a:lnTo>
                  <a:lnTo>
                    <a:pt x="294" y="42"/>
                  </a:lnTo>
                  <a:lnTo>
                    <a:pt x="282" y="48"/>
                  </a:lnTo>
                  <a:lnTo>
                    <a:pt x="276" y="54"/>
                  </a:lnTo>
                  <a:lnTo>
                    <a:pt x="258" y="54"/>
                  </a:lnTo>
                  <a:lnTo>
                    <a:pt x="246" y="60"/>
                  </a:lnTo>
                  <a:lnTo>
                    <a:pt x="234" y="60"/>
                  </a:lnTo>
                  <a:lnTo>
                    <a:pt x="222" y="54"/>
                  </a:lnTo>
                  <a:lnTo>
                    <a:pt x="204" y="54"/>
                  </a:lnTo>
                  <a:lnTo>
                    <a:pt x="192" y="42"/>
                  </a:lnTo>
                  <a:lnTo>
                    <a:pt x="180" y="36"/>
                  </a:lnTo>
                  <a:lnTo>
                    <a:pt x="174" y="30"/>
                  </a:lnTo>
                  <a:lnTo>
                    <a:pt x="168" y="30"/>
                  </a:lnTo>
                  <a:lnTo>
                    <a:pt x="150" y="48"/>
                  </a:lnTo>
                  <a:lnTo>
                    <a:pt x="144" y="48"/>
                  </a:lnTo>
                  <a:lnTo>
                    <a:pt x="138" y="54"/>
                  </a:lnTo>
                  <a:lnTo>
                    <a:pt x="120" y="60"/>
                  </a:lnTo>
                  <a:lnTo>
                    <a:pt x="84" y="60"/>
                  </a:lnTo>
                  <a:lnTo>
                    <a:pt x="84" y="54"/>
                  </a:lnTo>
                  <a:lnTo>
                    <a:pt x="90" y="48"/>
                  </a:lnTo>
                  <a:lnTo>
                    <a:pt x="66" y="48"/>
                  </a:lnTo>
                  <a:lnTo>
                    <a:pt x="66" y="78"/>
                  </a:lnTo>
                  <a:lnTo>
                    <a:pt x="72" y="78"/>
                  </a:lnTo>
                  <a:lnTo>
                    <a:pt x="72" y="102"/>
                  </a:lnTo>
                  <a:lnTo>
                    <a:pt x="60" y="102"/>
                  </a:lnTo>
                  <a:lnTo>
                    <a:pt x="54" y="96"/>
                  </a:lnTo>
                  <a:lnTo>
                    <a:pt x="54" y="114"/>
                  </a:lnTo>
                  <a:lnTo>
                    <a:pt x="48" y="120"/>
                  </a:lnTo>
                  <a:lnTo>
                    <a:pt x="48" y="126"/>
                  </a:lnTo>
                  <a:lnTo>
                    <a:pt x="36" y="126"/>
                  </a:lnTo>
                  <a:lnTo>
                    <a:pt x="24" y="114"/>
                  </a:lnTo>
                  <a:lnTo>
                    <a:pt x="18" y="120"/>
                  </a:lnTo>
                  <a:lnTo>
                    <a:pt x="12" y="132"/>
                  </a:lnTo>
                  <a:lnTo>
                    <a:pt x="12" y="150"/>
                  </a:lnTo>
                  <a:lnTo>
                    <a:pt x="6" y="150"/>
                  </a:lnTo>
                  <a:lnTo>
                    <a:pt x="0" y="198"/>
                  </a:lnTo>
                  <a:lnTo>
                    <a:pt x="6" y="204"/>
                  </a:lnTo>
                  <a:lnTo>
                    <a:pt x="18" y="210"/>
                  </a:lnTo>
                  <a:lnTo>
                    <a:pt x="24" y="216"/>
                  </a:lnTo>
                  <a:lnTo>
                    <a:pt x="24" y="222"/>
                  </a:lnTo>
                  <a:lnTo>
                    <a:pt x="72" y="222"/>
                  </a:lnTo>
                  <a:lnTo>
                    <a:pt x="66" y="234"/>
                  </a:lnTo>
                  <a:lnTo>
                    <a:pt x="72" y="240"/>
                  </a:lnTo>
                  <a:lnTo>
                    <a:pt x="78" y="252"/>
                  </a:lnTo>
                  <a:lnTo>
                    <a:pt x="78" y="270"/>
                  </a:lnTo>
                  <a:lnTo>
                    <a:pt x="72" y="282"/>
                  </a:lnTo>
                  <a:lnTo>
                    <a:pt x="66" y="282"/>
                  </a:lnTo>
                  <a:lnTo>
                    <a:pt x="54" y="288"/>
                  </a:lnTo>
                  <a:lnTo>
                    <a:pt x="48" y="288"/>
                  </a:lnTo>
                  <a:lnTo>
                    <a:pt x="42" y="294"/>
                  </a:lnTo>
                  <a:lnTo>
                    <a:pt x="42" y="318"/>
                  </a:lnTo>
                  <a:lnTo>
                    <a:pt x="24" y="336"/>
                  </a:lnTo>
                  <a:lnTo>
                    <a:pt x="30" y="378"/>
                  </a:lnTo>
                  <a:lnTo>
                    <a:pt x="36" y="378"/>
                  </a:lnTo>
                  <a:lnTo>
                    <a:pt x="72" y="396"/>
                  </a:lnTo>
                  <a:lnTo>
                    <a:pt x="84" y="408"/>
                  </a:lnTo>
                  <a:lnTo>
                    <a:pt x="96" y="414"/>
                  </a:lnTo>
                  <a:lnTo>
                    <a:pt x="114" y="414"/>
                  </a:lnTo>
                  <a:lnTo>
                    <a:pt x="174" y="384"/>
                  </a:lnTo>
                  <a:lnTo>
                    <a:pt x="204" y="354"/>
                  </a:lnTo>
                  <a:lnTo>
                    <a:pt x="228" y="336"/>
                  </a:lnTo>
                  <a:lnTo>
                    <a:pt x="240" y="324"/>
                  </a:lnTo>
                  <a:lnTo>
                    <a:pt x="300" y="276"/>
                  </a:lnTo>
                  <a:lnTo>
                    <a:pt x="312" y="270"/>
                  </a:lnTo>
                  <a:lnTo>
                    <a:pt x="372" y="246"/>
                  </a:lnTo>
                  <a:lnTo>
                    <a:pt x="396" y="234"/>
                  </a:lnTo>
                  <a:lnTo>
                    <a:pt x="402" y="228"/>
                  </a:lnTo>
                  <a:lnTo>
                    <a:pt x="402" y="222"/>
                  </a:lnTo>
                  <a:lnTo>
                    <a:pt x="384" y="204"/>
                  </a:lnTo>
                  <a:lnTo>
                    <a:pt x="384" y="198"/>
                  </a:lnTo>
                  <a:lnTo>
                    <a:pt x="390" y="180"/>
                  </a:lnTo>
                  <a:lnTo>
                    <a:pt x="396" y="168"/>
                  </a:lnTo>
                  <a:lnTo>
                    <a:pt x="396" y="138"/>
                  </a:lnTo>
                  <a:lnTo>
                    <a:pt x="390" y="126"/>
                  </a:lnTo>
                  <a:lnTo>
                    <a:pt x="390" y="114"/>
                  </a:lnTo>
                  <a:lnTo>
                    <a:pt x="384" y="108"/>
                  </a:lnTo>
                  <a:lnTo>
                    <a:pt x="378" y="96"/>
                  </a:lnTo>
                  <a:lnTo>
                    <a:pt x="378" y="84"/>
                  </a:lnTo>
                  <a:lnTo>
                    <a:pt x="384" y="72"/>
                  </a:lnTo>
                  <a:lnTo>
                    <a:pt x="390" y="66"/>
                  </a:lnTo>
                  <a:lnTo>
                    <a:pt x="402" y="66"/>
                  </a:lnTo>
                  <a:lnTo>
                    <a:pt x="414" y="60"/>
                  </a:lnTo>
                  <a:lnTo>
                    <a:pt x="426" y="60"/>
                  </a:lnTo>
                  <a:close/>
                </a:path>
              </a:pathLst>
            </a:custGeom>
            <a:solidFill>
              <a:srgbClr val="FFC000"/>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67" name="Switzerland" descr="© INSCALE GmbH, 05.05.2010&#10;http://www.presentationload.com/"/>
            <p:cNvSpPr>
              <a:spLocks/>
            </p:cNvSpPr>
            <p:nvPr/>
          </p:nvSpPr>
          <p:spPr bwMode="gray">
            <a:xfrm>
              <a:off x="4398967" y="2530475"/>
              <a:ext cx="115886" cy="63499"/>
            </a:xfrm>
            <a:custGeom>
              <a:avLst/>
              <a:gdLst>
                <a:gd name="T0" fmla="*/ 2147483647 w 288"/>
                <a:gd name="T1" fmla="*/ 2147483647 h 162"/>
                <a:gd name="T2" fmla="*/ 2147483647 w 288"/>
                <a:gd name="T3" fmla="*/ 2147483647 h 162"/>
                <a:gd name="T4" fmla="*/ 2147483647 w 288"/>
                <a:gd name="T5" fmla="*/ 2147483647 h 162"/>
                <a:gd name="T6" fmla="*/ 2147483647 w 288"/>
                <a:gd name="T7" fmla="*/ 2147483647 h 162"/>
                <a:gd name="T8" fmla="*/ 2147483647 w 288"/>
                <a:gd name="T9" fmla="*/ 2147483647 h 162"/>
                <a:gd name="T10" fmla="*/ 2147483647 w 288"/>
                <a:gd name="T11" fmla="*/ 2147483647 h 162"/>
                <a:gd name="T12" fmla="*/ 2147483647 w 288"/>
                <a:gd name="T13" fmla="*/ 2147483647 h 162"/>
                <a:gd name="T14" fmla="*/ 0 w 288"/>
                <a:gd name="T15" fmla="*/ 2147483647 h 162"/>
                <a:gd name="T16" fmla="*/ 2147483647 w 288"/>
                <a:gd name="T17" fmla="*/ 2147483647 h 162"/>
                <a:gd name="T18" fmla="*/ 2147483647 w 288"/>
                <a:gd name="T19" fmla="*/ 2147483647 h 162"/>
                <a:gd name="T20" fmla="*/ 2147483647 w 288"/>
                <a:gd name="T21" fmla="*/ 2147483647 h 162"/>
                <a:gd name="T22" fmla="*/ 2147483647 w 288"/>
                <a:gd name="T23" fmla="*/ 2147483647 h 162"/>
                <a:gd name="T24" fmla="*/ 2147483647 w 288"/>
                <a:gd name="T25" fmla="*/ 2147483647 h 162"/>
                <a:gd name="T26" fmla="*/ 2147483647 w 288"/>
                <a:gd name="T27" fmla="*/ 2147483647 h 162"/>
                <a:gd name="T28" fmla="*/ 2147483647 w 288"/>
                <a:gd name="T29" fmla="*/ 2147483647 h 162"/>
                <a:gd name="T30" fmla="*/ 2147483647 w 288"/>
                <a:gd name="T31" fmla="*/ 2147483647 h 162"/>
                <a:gd name="T32" fmla="*/ 2147483647 w 288"/>
                <a:gd name="T33" fmla="*/ 2147483647 h 162"/>
                <a:gd name="T34" fmla="*/ 2147483647 w 288"/>
                <a:gd name="T35" fmla="*/ 2147483647 h 162"/>
                <a:gd name="T36" fmla="*/ 2147483647 w 288"/>
                <a:gd name="T37" fmla="*/ 2147483647 h 162"/>
                <a:gd name="T38" fmla="*/ 2147483647 w 288"/>
                <a:gd name="T39" fmla="*/ 2147483647 h 162"/>
                <a:gd name="T40" fmla="*/ 2147483647 w 288"/>
                <a:gd name="T41" fmla="*/ 2147483647 h 162"/>
                <a:gd name="T42" fmla="*/ 2147483647 w 288"/>
                <a:gd name="T43" fmla="*/ 2147483647 h 162"/>
                <a:gd name="T44" fmla="*/ 2147483647 w 288"/>
                <a:gd name="T45" fmla="*/ 2147483647 h 162"/>
                <a:gd name="T46" fmla="*/ 2147483647 w 288"/>
                <a:gd name="T47" fmla="*/ 2147483647 h 162"/>
                <a:gd name="T48" fmla="*/ 2147483647 w 288"/>
                <a:gd name="T49" fmla="*/ 2147483647 h 162"/>
                <a:gd name="T50" fmla="*/ 2147483647 w 288"/>
                <a:gd name="T51" fmla="*/ 2147483647 h 162"/>
                <a:gd name="T52" fmla="*/ 2147483647 w 288"/>
                <a:gd name="T53" fmla="*/ 2147483647 h 162"/>
                <a:gd name="T54" fmla="*/ 2147483647 w 288"/>
                <a:gd name="T55" fmla="*/ 2147483647 h 162"/>
                <a:gd name="T56" fmla="*/ 2147483647 w 288"/>
                <a:gd name="T57" fmla="*/ 2147483647 h 162"/>
                <a:gd name="T58" fmla="*/ 2147483647 w 288"/>
                <a:gd name="T59" fmla="*/ 2147483647 h 162"/>
                <a:gd name="T60" fmla="*/ 2147483647 w 288"/>
                <a:gd name="T61" fmla="*/ 2147483647 h 162"/>
                <a:gd name="T62" fmla="*/ 2147483647 w 288"/>
                <a:gd name="T63" fmla="*/ 2147483647 h 162"/>
                <a:gd name="T64" fmla="*/ 2147483647 w 288"/>
                <a:gd name="T65" fmla="*/ 2147483647 h 162"/>
                <a:gd name="T66" fmla="*/ 2147483647 w 288"/>
                <a:gd name="T67" fmla="*/ 0 h 162"/>
                <a:gd name="T68" fmla="*/ 2147483647 w 288"/>
                <a:gd name="T69" fmla="*/ 2147483647 h 162"/>
                <a:gd name="T70" fmla="*/ 2147483647 w 288"/>
                <a:gd name="T71" fmla="*/ 2147483647 h 162"/>
                <a:gd name="T72" fmla="*/ 2147483647 w 288"/>
                <a:gd name="T73" fmla="*/ 2147483647 h 16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8"/>
                <a:gd name="T112" fmla="*/ 0 h 162"/>
                <a:gd name="T113" fmla="*/ 288 w 288"/>
                <a:gd name="T114" fmla="*/ 162 h 16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8" h="162">
                  <a:moveTo>
                    <a:pt x="132" y="24"/>
                  </a:moveTo>
                  <a:lnTo>
                    <a:pt x="96" y="24"/>
                  </a:lnTo>
                  <a:lnTo>
                    <a:pt x="90" y="42"/>
                  </a:lnTo>
                  <a:lnTo>
                    <a:pt x="72" y="30"/>
                  </a:lnTo>
                  <a:lnTo>
                    <a:pt x="66" y="42"/>
                  </a:lnTo>
                  <a:lnTo>
                    <a:pt x="60" y="48"/>
                  </a:lnTo>
                  <a:lnTo>
                    <a:pt x="54" y="60"/>
                  </a:lnTo>
                  <a:lnTo>
                    <a:pt x="48" y="66"/>
                  </a:lnTo>
                  <a:lnTo>
                    <a:pt x="30" y="66"/>
                  </a:lnTo>
                  <a:lnTo>
                    <a:pt x="30" y="78"/>
                  </a:lnTo>
                  <a:lnTo>
                    <a:pt x="18" y="90"/>
                  </a:lnTo>
                  <a:lnTo>
                    <a:pt x="12" y="102"/>
                  </a:lnTo>
                  <a:lnTo>
                    <a:pt x="0" y="108"/>
                  </a:lnTo>
                  <a:lnTo>
                    <a:pt x="6" y="120"/>
                  </a:lnTo>
                  <a:lnTo>
                    <a:pt x="0" y="126"/>
                  </a:lnTo>
                  <a:lnTo>
                    <a:pt x="0" y="132"/>
                  </a:lnTo>
                  <a:lnTo>
                    <a:pt x="6" y="132"/>
                  </a:lnTo>
                  <a:lnTo>
                    <a:pt x="30" y="108"/>
                  </a:lnTo>
                  <a:lnTo>
                    <a:pt x="48" y="108"/>
                  </a:lnTo>
                  <a:lnTo>
                    <a:pt x="54" y="114"/>
                  </a:lnTo>
                  <a:lnTo>
                    <a:pt x="48" y="138"/>
                  </a:lnTo>
                  <a:lnTo>
                    <a:pt x="60" y="150"/>
                  </a:lnTo>
                  <a:lnTo>
                    <a:pt x="60" y="156"/>
                  </a:lnTo>
                  <a:lnTo>
                    <a:pt x="72" y="156"/>
                  </a:lnTo>
                  <a:lnTo>
                    <a:pt x="84" y="144"/>
                  </a:lnTo>
                  <a:lnTo>
                    <a:pt x="96" y="144"/>
                  </a:lnTo>
                  <a:lnTo>
                    <a:pt x="108" y="156"/>
                  </a:lnTo>
                  <a:lnTo>
                    <a:pt x="114" y="156"/>
                  </a:lnTo>
                  <a:lnTo>
                    <a:pt x="132" y="138"/>
                  </a:lnTo>
                  <a:lnTo>
                    <a:pt x="132" y="120"/>
                  </a:lnTo>
                  <a:lnTo>
                    <a:pt x="138" y="114"/>
                  </a:lnTo>
                  <a:lnTo>
                    <a:pt x="150" y="114"/>
                  </a:lnTo>
                  <a:lnTo>
                    <a:pt x="156" y="120"/>
                  </a:lnTo>
                  <a:lnTo>
                    <a:pt x="156" y="126"/>
                  </a:lnTo>
                  <a:lnTo>
                    <a:pt x="162" y="132"/>
                  </a:lnTo>
                  <a:lnTo>
                    <a:pt x="162" y="138"/>
                  </a:lnTo>
                  <a:lnTo>
                    <a:pt x="168" y="138"/>
                  </a:lnTo>
                  <a:lnTo>
                    <a:pt x="192" y="162"/>
                  </a:lnTo>
                  <a:lnTo>
                    <a:pt x="192" y="144"/>
                  </a:lnTo>
                  <a:lnTo>
                    <a:pt x="204" y="132"/>
                  </a:lnTo>
                  <a:lnTo>
                    <a:pt x="210" y="108"/>
                  </a:lnTo>
                  <a:lnTo>
                    <a:pt x="222" y="126"/>
                  </a:lnTo>
                  <a:lnTo>
                    <a:pt x="240" y="120"/>
                  </a:lnTo>
                  <a:lnTo>
                    <a:pt x="258" y="132"/>
                  </a:lnTo>
                  <a:lnTo>
                    <a:pt x="264" y="120"/>
                  </a:lnTo>
                  <a:lnTo>
                    <a:pt x="252" y="108"/>
                  </a:lnTo>
                  <a:lnTo>
                    <a:pt x="252" y="102"/>
                  </a:lnTo>
                  <a:lnTo>
                    <a:pt x="276" y="102"/>
                  </a:lnTo>
                  <a:lnTo>
                    <a:pt x="282" y="84"/>
                  </a:lnTo>
                  <a:lnTo>
                    <a:pt x="288" y="84"/>
                  </a:lnTo>
                  <a:lnTo>
                    <a:pt x="288" y="78"/>
                  </a:lnTo>
                  <a:lnTo>
                    <a:pt x="276" y="66"/>
                  </a:lnTo>
                  <a:lnTo>
                    <a:pt x="270" y="66"/>
                  </a:lnTo>
                  <a:lnTo>
                    <a:pt x="252" y="84"/>
                  </a:lnTo>
                  <a:lnTo>
                    <a:pt x="246" y="84"/>
                  </a:lnTo>
                  <a:lnTo>
                    <a:pt x="246" y="66"/>
                  </a:lnTo>
                  <a:lnTo>
                    <a:pt x="210" y="66"/>
                  </a:lnTo>
                  <a:lnTo>
                    <a:pt x="210" y="60"/>
                  </a:lnTo>
                  <a:lnTo>
                    <a:pt x="216" y="48"/>
                  </a:lnTo>
                  <a:lnTo>
                    <a:pt x="222" y="42"/>
                  </a:lnTo>
                  <a:lnTo>
                    <a:pt x="228" y="42"/>
                  </a:lnTo>
                  <a:lnTo>
                    <a:pt x="228" y="30"/>
                  </a:lnTo>
                  <a:lnTo>
                    <a:pt x="216" y="30"/>
                  </a:lnTo>
                  <a:lnTo>
                    <a:pt x="210" y="18"/>
                  </a:lnTo>
                  <a:lnTo>
                    <a:pt x="192" y="12"/>
                  </a:lnTo>
                  <a:lnTo>
                    <a:pt x="180" y="12"/>
                  </a:lnTo>
                  <a:lnTo>
                    <a:pt x="174" y="6"/>
                  </a:lnTo>
                  <a:lnTo>
                    <a:pt x="162" y="0"/>
                  </a:lnTo>
                  <a:lnTo>
                    <a:pt x="156" y="0"/>
                  </a:lnTo>
                  <a:lnTo>
                    <a:pt x="150" y="6"/>
                  </a:lnTo>
                  <a:lnTo>
                    <a:pt x="150" y="18"/>
                  </a:lnTo>
                  <a:lnTo>
                    <a:pt x="156" y="24"/>
                  </a:lnTo>
                  <a:lnTo>
                    <a:pt x="150" y="18"/>
                  </a:lnTo>
                  <a:lnTo>
                    <a:pt x="132" y="24"/>
                  </a:lnTo>
                  <a:close/>
                </a:path>
              </a:pathLst>
            </a:custGeom>
            <a:solidFill>
              <a:srgbClr val="005995"/>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68" name="Sweden" descr="© INSCALE GmbH, 05.05.2010&#10;http://www.presentationload.com/"/>
            <p:cNvSpPr>
              <a:spLocks noEditPoints="1"/>
            </p:cNvSpPr>
            <p:nvPr/>
          </p:nvSpPr>
          <p:spPr bwMode="gray">
            <a:xfrm>
              <a:off x="4530729" y="1897063"/>
              <a:ext cx="279400" cy="398463"/>
            </a:xfrm>
            <a:custGeom>
              <a:avLst/>
              <a:gdLst>
                <a:gd name="T0" fmla="*/ 2147483647 w 690"/>
                <a:gd name="T1" fmla="*/ 2147483647 h 990"/>
                <a:gd name="T2" fmla="*/ 2147483647 w 690"/>
                <a:gd name="T3" fmla="*/ 2147483647 h 990"/>
                <a:gd name="T4" fmla="*/ 2147483647 w 690"/>
                <a:gd name="T5" fmla="*/ 2147483647 h 990"/>
                <a:gd name="T6" fmla="*/ 2147483647 w 690"/>
                <a:gd name="T7" fmla="*/ 2147483647 h 990"/>
                <a:gd name="T8" fmla="*/ 2147483647 w 690"/>
                <a:gd name="T9" fmla="*/ 2147483647 h 990"/>
                <a:gd name="T10" fmla="*/ 2147483647 w 690"/>
                <a:gd name="T11" fmla="*/ 2147483647 h 990"/>
                <a:gd name="T12" fmla="*/ 2147483647 w 690"/>
                <a:gd name="T13" fmla="*/ 2147483647 h 990"/>
                <a:gd name="T14" fmla="*/ 2147483647 w 690"/>
                <a:gd name="T15" fmla="*/ 2147483647 h 990"/>
                <a:gd name="T16" fmla="*/ 2147483647 w 690"/>
                <a:gd name="T17" fmla="*/ 2147483647 h 990"/>
                <a:gd name="T18" fmla="*/ 2147483647 w 690"/>
                <a:gd name="T19" fmla="*/ 2147483647 h 990"/>
                <a:gd name="T20" fmla="*/ 2147483647 w 690"/>
                <a:gd name="T21" fmla="*/ 2147483647 h 990"/>
                <a:gd name="T22" fmla="*/ 2147483647 w 690"/>
                <a:gd name="T23" fmla="*/ 2147483647 h 990"/>
                <a:gd name="T24" fmla="*/ 2147483647 w 690"/>
                <a:gd name="T25" fmla="*/ 2147483647 h 990"/>
                <a:gd name="T26" fmla="*/ 2147483647 w 690"/>
                <a:gd name="T27" fmla="*/ 2147483647 h 990"/>
                <a:gd name="T28" fmla="*/ 2147483647 w 690"/>
                <a:gd name="T29" fmla="*/ 2147483647 h 990"/>
                <a:gd name="T30" fmla="*/ 2147483647 w 690"/>
                <a:gd name="T31" fmla="*/ 2147483647 h 990"/>
                <a:gd name="T32" fmla="*/ 2147483647 w 690"/>
                <a:gd name="T33" fmla="*/ 2147483647 h 990"/>
                <a:gd name="T34" fmla="*/ 2147483647 w 690"/>
                <a:gd name="T35" fmla="*/ 2147483647 h 990"/>
                <a:gd name="T36" fmla="*/ 2147483647 w 690"/>
                <a:gd name="T37" fmla="*/ 2147483647 h 990"/>
                <a:gd name="T38" fmla="*/ 2147483647 w 690"/>
                <a:gd name="T39" fmla="*/ 2147483647 h 990"/>
                <a:gd name="T40" fmla="*/ 2147483647 w 690"/>
                <a:gd name="T41" fmla="*/ 2147483647 h 990"/>
                <a:gd name="T42" fmla="*/ 2147483647 w 690"/>
                <a:gd name="T43" fmla="*/ 2147483647 h 990"/>
                <a:gd name="T44" fmla="*/ 2147483647 w 690"/>
                <a:gd name="T45" fmla="*/ 2147483647 h 990"/>
                <a:gd name="T46" fmla="*/ 0 w 690"/>
                <a:gd name="T47" fmla="*/ 2147483647 h 990"/>
                <a:gd name="T48" fmla="*/ 2147483647 w 690"/>
                <a:gd name="T49" fmla="*/ 2147483647 h 990"/>
                <a:gd name="T50" fmla="*/ 2147483647 w 690"/>
                <a:gd name="T51" fmla="*/ 2147483647 h 990"/>
                <a:gd name="T52" fmla="*/ 2147483647 w 690"/>
                <a:gd name="T53" fmla="*/ 2147483647 h 990"/>
                <a:gd name="T54" fmla="*/ 2147483647 w 690"/>
                <a:gd name="T55" fmla="*/ 2147483647 h 990"/>
                <a:gd name="T56" fmla="*/ 2147483647 w 690"/>
                <a:gd name="T57" fmla="*/ 2147483647 h 990"/>
                <a:gd name="T58" fmla="*/ 2147483647 w 690"/>
                <a:gd name="T59" fmla="*/ 2147483647 h 990"/>
                <a:gd name="T60" fmla="*/ 2147483647 w 690"/>
                <a:gd name="T61" fmla="*/ 2147483647 h 990"/>
                <a:gd name="T62" fmla="*/ 2147483647 w 690"/>
                <a:gd name="T63" fmla="*/ 2147483647 h 990"/>
                <a:gd name="T64" fmla="*/ 2147483647 w 690"/>
                <a:gd name="T65" fmla="*/ 2147483647 h 990"/>
                <a:gd name="T66" fmla="*/ 2147483647 w 690"/>
                <a:gd name="T67" fmla="*/ 2147483647 h 990"/>
                <a:gd name="T68" fmla="*/ 2147483647 w 690"/>
                <a:gd name="T69" fmla="*/ 2147483647 h 990"/>
                <a:gd name="T70" fmla="*/ 2147483647 w 690"/>
                <a:gd name="T71" fmla="*/ 2147483647 h 990"/>
                <a:gd name="T72" fmla="*/ 2147483647 w 690"/>
                <a:gd name="T73" fmla="*/ 2147483647 h 990"/>
                <a:gd name="T74" fmla="*/ 2147483647 w 690"/>
                <a:gd name="T75" fmla="*/ 2147483647 h 990"/>
                <a:gd name="T76" fmla="*/ 2147483647 w 690"/>
                <a:gd name="T77" fmla="*/ 2147483647 h 990"/>
                <a:gd name="T78" fmla="*/ 2147483647 w 690"/>
                <a:gd name="T79" fmla="*/ 2147483647 h 990"/>
                <a:gd name="T80" fmla="*/ 2147483647 w 690"/>
                <a:gd name="T81" fmla="*/ 2147483647 h 990"/>
                <a:gd name="T82" fmla="*/ 2147483647 w 690"/>
                <a:gd name="T83" fmla="*/ 2147483647 h 990"/>
                <a:gd name="T84" fmla="*/ 2147483647 w 690"/>
                <a:gd name="T85" fmla="*/ 2147483647 h 990"/>
                <a:gd name="T86" fmla="*/ 2147483647 w 690"/>
                <a:gd name="T87" fmla="*/ 2147483647 h 990"/>
                <a:gd name="T88" fmla="*/ 2147483647 w 690"/>
                <a:gd name="T89" fmla="*/ 2147483647 h 990"/>
                <a:gd name="T90" fmla="*/ 2147483647 w 690"/>
                <a:gd name="T91" fmla="*/ 2147483647 h 990"/>
                <a:gd name="T92" fmla="*/ 2147483647 w 690"/>
                <a:gd name="T93" fmla="*/ 2147483647 h 990"/>
                <a:gd name="T94" fmla="*/ 2147483647 w 690"/>
                <a:gd name="T95" fmla="*/ 2147483647 h 990"/>
                <a:gd name="T96" fmla="*/ 2147483647 w 690"/>
                <a:gd name="T97" fmla="*/ 2147483647 h 990"/>
                <a:gd name="T98" fmla="*/ 2147483647 w 690"/>
                <a:gd name="T99" fmla="*/ 2147483647 h 990"/>
                <a:gd name="T100" fmla="*/ 2147483647 w 690"/>
                <a:gd name="T101" fmla="*/ 2147483647 h 9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90"/>
                <a:gd name="T154" fmla="*/ 0 h 990"/>
                <a:gd name="T155" fmla="*/ 690 w 690"/>
                <a:gd name="T156" fmla="*/ 990 h 99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90" h="990">
                  <a:moveTo>
                    <a:pt x="678" y="204"/>
                  </a:moveTo>
                  <a:lnTo>
                    <a:pt x="672" y="198"/>
                  </a:lnTo>
                  <a:lnTo>
                    <a:pt x="660" y="192"/>
                  </a:lnTo>
                  <a:lnTo>
                    <a:pt x="648" y="180"/>
                  </a:lnTo>
                  <a:lnTo>
                    <a:pt x="648" y="174"/>
                  </a:lnTo>
                  <a:lnTo>
                    <a:pt x="654" y="162"/>
                  </a:lnTo>
                  <a:lnTo>
                    <a:pt x="660" y="156"/>
                  </a:lnTo>
                  <a:lnTo>
                    <a:pt x="666" y="144"/>
                  </a:lnTo>
                  <a:lnTo>
                    <a:pt x="642" y="132"/>
                  </a:lnTo>
                  <a:lnTo>
                    <a:pt x="648" y="108"/>
                  </a:lnTo>
                  <a:lnTo>
                    <a:pt x="636" y="102"/>
                  </a:lnTo>
                  <a:lnTo>
                    <a:pt x="636" y="96"/>
                  </a:lnTo>
                  <a:lnTo>
                    <a:pt x="642" y="90"/>
                  </a:lnTo>
                  <a:lnTo>
                    <a:pt x="642" y="66"/>
                  </a:lnTo>
                  <a:lnTo>
                    <a:pt x="636" y="66"/>
                  </a:lnTo>
                  <a:lnTo>
                    <a:pt x="630" y="60"/>
                  </a:lnTo>
                  <a:lnTo>
                    <a:pt x="618" y="60"/>
                  </a:lnTo>
                  <a:lnTo>
                    <a:pt x="588" y="42"/>
                  </a:lnTo>
                  <a:lnTo>
                    <a:pt x="552" y="42"/>
                  </a:lnTo>
                  <a:lnTo>
                    <a:pt x="540" y="30"/>
                  </a:lnTo>
                  <a:lnTo>
                    <a:pt x="534" y="30"/>
                  </a:lnTo>
                  <a:lnTo>
                    <a:pt x="528" y="24"/>
                  </a:lnTo>
                  <a:lnTo>
                    <a:pt x="516" y="24"/>
                  </a:lnTo>
                  <a:lnTo>
                    <a:pt x="504" y="18"/>
                  </a:lnTo>
                  <a:lnTo>
                    <a:pt x="498" y="12"/>
                  </a:lnTo>
                  <a:lnTo>
                    <a:pt x="486" y="6"/>
                  </a:lnTo>
                  <a:lnTo>
                    <a:pt x="456" y="0"/>
                  </a:lnTo>
                  <a:lnTo>
                    <a:pt x="456" y="24"/>
                  </a:lnTo>
                  <a:lnTo>
                    <a:pt x="444" y="24"/>
                  </a:lnTo>
                  <a:lnTo>
                    <a:pt x="444" y="30"/>
                  </a:lnTo>
                  <a:lnTo>
                    <a:pt x="456" y="42"/>
                  </a:lnTo>
                  <a:lnTo>
                    <a:pt x="462" y="42"/>
                  </a:lnTo>
                  <a:lnTo>
                    <a:pt x="456" y="48"/>
                  </a:lnTo>
                  <a:lnTo>
                    <a:pt x="444" y="48"/>
                  </a:lnTo>
                  <a:lnTo>
                    <a:pt x="438" y="42"/>
                  </a:lnTo>
                  <a:lnTo>
                    <a:pt x="414" y="42"/>
                  </a:lnTo>
                  <a:lnTo>
                    <a:pt x="390" y="36"/>
                  </a:lnTo>
                  <a:lnTo>
                    <a:pt x="366" y="42"/>
                  </a:lnTo>
                  <a:lnTo>
                    <a:pt x="366" y="30"/>
                  </a:lnTo>
                  <a:lnTo>
                    <a:pt x="360" y="24"/>
                  </a:lnTo>
                  <a:lnTo>
                    <a:pt x="348" y="36"/>
                  </a:lnTo>
                  <a:lnTo>
                    <a:pt x="348" y="66"/>
                  </a:lnTo>
                  <a:lnTo>
                    <a:pt x="342" y="72"/>
                  </a:lnTo>
                  <a:lnTo>
                    <a:pt x="324" y="72"/>
                  </a:lnTo>
                  <a:lnTo>
                    <a:pt x="282" y="78"/>
                  </a:lnTo>
                  <a:lnTo>
                    <a:pt x="264" y="96"/>
                  </a:lnTo>
                  <a:lnTo>
                    <a:pt x="252" y="102"/>
                  </a:lnTo>
                  <a:lnTo>
                    <a:pt x="246" y="102"/>
                  </a:lnTo>
                  <a:lnTo>
                    <a:pt x="246" y="114"/>
                  </a:lnTo>
                  <a:lnTo>
                    <a:pt x="258" y="120"/>
                  </a:lnTo>
                  <a:lnTo>
                    <a:pt x="264" y="126"/>
                  </a:lnTo>
                  <a:lnTo>
                    <a:pt x="258" y="144"/>
                  </a:lnTo>
                  <a:lnTo>
                    <a:pt x="252" y="144"/>
                  </a:lnTo>
                  <a:lnTo>
                    <a:pt x="240" y="150"/>
                  </a:lnTo>
                  <a:lnTo>
                    <a:pt x="234" y="156"/>
                  </a:lnTo>
                  <a:lnTo>
                    <a:pt x="234" y="162"/>
                  </a:lnTo>
                  <a:lnTo>
                    <a:pt x="228" y="168"/>
                  </a:lnTo>
                  <a:lnTo>
                    <a:pt x="210" y="168"/>
                  </a:lnTo>
                  <a:lnTo>
                    <a:pt x="216" y="174"/>
                  </a:lnTo>
                  <a:lnTo>
                    <a:pt x="216" y="180"/>
                  </a:lnTo>
                  <a:lnTo>
                    <a:pt x="222" y="186"/>
                  </a:lnTo>
                  <a:lnTo>
                    <a:pt x="222" y="192"/>
                  </a:lnTo>
                  <a:lnTo>
                    <a:pt x="216" y="192"/>
                  </a:lnTo>
                  <a:lnTo>
                    <a:pt x="210" y="198"/>
                  </a:lnTo>
                  <a:lnTo>
                    <a:pt x="204" y="198"/>
                  </a:lnTo>
                  <a:lnTo>
                    <a:pt x="192" y="204"/>
                  </a:lnTo>
                  <a:lnTo>
                    <a:pt x="174" y="192"/>
                  </a:lnTo>
                  <a:lnTo>
                    <a:pt x="174" y="228"/>
                  </a:lnTo>
                  <a:lnTo>
                    <a:pt x="168" y="270"/>
                  </a:lnTo>
                  <a:lnTo>
                    <a:pt x="138" y="300"/>
                  </a:lnTo>
                  <a:lnTo>
                    <a:pt x="132" y="300"/>
                  </a:lnTo>
                  <a:lnTo>
                    <a:pt x="120" y="306"/>
                  </a:lnTo>
                  <a:lnTo>
                    <a:pt x="132" y="312"/>
                  </a:lnTo>
                  <a:lnTo>
                    <a:pt x="150" y="330"/>
                  </a:lnTo>
                  <a:lnTo>
                    <a:pt x="150" y="336"/>
                  </a:lnTo>
                  <a:lnTo>
                    <a:pt x="144" y="342"/>
                  </a:lnTo>
                  <a:lnTo>
                    <a:pt x="102" y="342"/>
                  </a:lnTo>
                  <a:lnTo>
                    <a:pt x="90" y="348"/>
                  </a:lnTo>
                  <a:lnTo>
                    <a:pt x="84" y="354"/>
                  </a:lnTo>
                  <a:lnTo>
                    <a:pt x="72" y="360"/>
                  </a:lnTo>
                  <a:lnTo>
                    <a:pt x="30" y="402"/>
                  </a:lnTo>
                  <a:lnTo>
                    <a:pt x="36" y="408"/>
                  </a:lnTo>
                  <a:lnTo>
                    <a:pt x="42" y="408"/>
                  </a:lnTo>
                  <a:lnTo>
                    <a:pt x="48" y="414"/>
                  </a:lnTo>
                  <a:lnTo>
                    <a:pt x="48" y="420"/>
                  </a:lnTo>
                  <a:lnTo>
                    <a:pt x="42" y="426"/>
                  </a:lnTo>
                  <a:lnTo>
                    <a:pt x="36" y="426"/>
                  </a:lnTo>
                  <a:lnTo>
                    <a:pt x="30" y="432"/>
                  </a:lnTo>
                  <a:lnTo>
                    <a:pt x="30" y="444"/>
                  </a:lnTo>
                  <a:lnTo>
                    <a:pt x="54" y="468"/>
                  </a:lnTo>
                  <a:lnTo>
                    <a:pt x="54" y="480"/>
                  </a:lnTo>
                  <a:lnTo>
                    <a:pt x="48" y="492"/>
                  </a:lnTo>
                  <a:lnTo>
                    <a:pt x="48" y="510"/>
                  </a:lnTo>
                  <a:lnTo>
                    <a:pt x="60" y="522"/>
                  </a:lnTo>
                  <a:lnTo>
                    <a:pt x="66" y="522"/>
                  </a:lnTo>
                  <a:lnTo>
                    <a:pt x="84" y="540"/>
                  </a:lnTo>
                  <a:lnTo>
                    <a:pt x="84" y="552"/>
                  </a:lnTo>
                  <a:lnTo>
                    <a:pt x="72" y="564"/>
                  </a:lnTo>
                  <a:lnTo>
                    <a:pt x="48" y="570"/>
                  </a:lnTo>
                  <a:lnTo>
                    <a:pt x="54" y="576"/>
                  </a:lnTo>
                  <a:lnTo>
                    <a:pt x="60" y="588"/>
                  </a:lnTo>
                  <a:lnTo>
                    <a:pt x="60" y="594"/>
                  </a:lnTo>
                  <a:lnTo>
                    <a:pt x="66" y="600"/>
                  </a:lnTo>
                  <a:lnTo>
                    <a:pt x="66" y="606"/>
                  </a:lnTo>
                  <a:lnTo>
                    <a:pt x="72" y="618"/>
                  </a:lnTo>
                  <a:lnTo>
                    <a:pt x="66" y="618"/>
                  </a:lnTo>
                  <a:lnTo>
                    <a:pt x="66" y="642"/>
                  </a:lnTo>
                  <a:lnTo>
                    <a:pt x="60" y="648"/>
                  </a:lnTo>
                  <a:lnTo>
                    <a:pt x="24" y="648"/>
                  </a:lnTo>
                  <a:lnTo>
                    <a:pt x="30" y="660"/>
                  </a:lnTo>
                  <a:lnTo>
                    <a:pt x="30" y="666"/>
                  </a:lnTo>
                  <a:lnTo>
                    <a:pt x="24" y="666"/>
                  </a:lnTo>
                  <a:lnTo>
                    <a:pt x="18" y="672"/>
                  </a:lnTo>
                  <a:lnTo>
                    <a:pt x="18" y="678"/>
                  </a:lnTo>
                  <a:lnTo>
                    <a:pt x="30" y="690"/>
                  </a:lnTo>
                  <a:lnTo>
                    <a:pt x="30" y="708"/>
                  </a:lnTo>
                  <a:lnTo>
                    <a:pt x="24" y="714"/>
                  </a:lnTo>
                  <a:lnTo>
                    <a:pt x="18" y="726"/>
                  </a:lnTo>
                  <a:lnTo>
                    <a:pt x="0" y="708"/>
                  </a:lnTo>
                  <a:lnTo>
                    <a:pt x="0" y="768"/>
                  </a:lnTo>
                  <a:lnTo>
                    <a:pt x="6" y="762"/>
                  </a:lnTo>
                  <a:lnTo>
                    <a:pt x="24" y="762"/>
                  </a:lnTo>
                  <a:lnTo>
                    <a:pt x="36" y="774"/>
                  </a:lnTo>
                  <a:lnTo>
                    <a:pt x="36" y="780"/>
                  </a:lnTo>
                  <a:lnTo>
                    <a:pt x="30" y="780"/>
                  </a:lnTo>
                  <a:lnTo>
                    <a:pt x="30" y="774"/>
                  </a:lnTo>
                  <a:lnTo>
                    <a:pt x="24" y="774"/>
                  </a:lnTo>
                  <a:lnTo>
                    <a:pt x="24" y="834"/>
                  </a:lnTo>
                  <a:lnTo>
                    <a:pt x="30" y="840"/>
                  </a:lnTo>
                  <a:lnTo>
                    <a:pt x="36" y="840"/>
                  </a:lnTo>
                  <a:lnTo>
                    <a:pt x="48" y="846"/>
                  </a:lnTo>
                  <a:lnTo>
                    <a:pt x="54" y="858"/>
                  </a:lnTo>
                  <a:lnTo>
                    <a:pt x="60" y="864"/>
                  </a:lnTo>
                  <a:lnTo>
                    <a:pt x="66" y="876"/>
                  </a:lnTo>
                  <a:lnTo>
                    <a:pt x="90" y="900"/>
                  </a:lnTo>
                  <a:lnTo>
                    <a:pt x="96" y="900"/>
                  </a:lnTo>
                  <a:lnTo>
                    <a:pt x="96" y="912"/>
                  </a:lnTo>
                  <a:lnTo>
                    <a:pt x="78" y="912"/>
                  </a:lnTo>
                  <a:lnTo>
                    <a:pt x="78" y="942"/>
                  </a:lnTo>
                  <a:lnTo>
                    <a:pt x="90" y="954"/>
                  </a:lnTo>
                  <a:lnTo>
                    <a:pt x="102" y="960"/>
                  </a:lnTo>
                  <a:lnTo>
                    <a:pt x="96" y="966"/>
                  </a:lnTo>
                  <a:lnTo>
                    <a:pt x="96" y="984"/>
                  </a:lnTo>
                  <a:lnTo>
                    <a:pt x="102" y="984"/>
                  </a:lnTo>
                  <a:lnTo>
                    <a:pt x="108" y="990"/>
                  </a:lnTo>
                  <a:lnTo>
                    <a:pt x="174" y="990"/>
                  </a:lnTo>
                  <a:lnTo>
                    <a:pt x="180" y="984"/>
                  </a:lnTo>
                  <a:lnTo>
                    <a:pt x="180" y="948"/>
                  </a:lnTo>
                  <a:lnTo>
                    <a:pt x="198" y="942"/>
                  </a:lnTo>
                  <a:lnTo>
                    <a:pt x="198" y="924"/>
                  </a:lnTo>
                  <a:lnTo>
                    <a:pt x="264" y="930"/>
                  </a:lnTo>
                  <a:lnTo>
                    <a:pt x="276" y="936"/>
                  </a:lnTo>
                  <a:lnTo>
                    <a:pt x="300" y="876"/>
                  </a:lnTo>
                  <a:lnTo>
                    <a:pt x="300" y="864"/>
                  </a:lnTo>
                  <a:lnTo>
                    <a:pt x="306" y="852"/>
                  </a:lnTo>
                  <a:lnTo>
                    <a:pt x="306" y="816"/>
                  </a:lnTo>
                  <a:lnTo>
                    <a:pt x="300" y="810"/>
                  </a:lnTo>
                  <a:lnTo>
                    <a:pt x="294" y="798"/>
                  </a:lnTo>
                  <a:lnTo>
                    <a:pt x="312" y="798"/>
                  </a:lnTo>
                  <a:lnTo>
                    <a:pt x="324" y="786"/>
                  </a:lnTo>
                  <a:lnTo>
                    <a:pt x="324" y="780"/>
                  </a:lnTo>
                  <a:lnTo>
                    <a:pt x="306" y="762"/>
                  </a:lnTo>
                  <a:lnTo>
                    <a:pt x="294" y="762"/>
                  </a:lnTo>
                  <a:lnTo>
                    <a:pt x="312" y="756"/>
                  </a:lnTo>
                  <a:lnTo>
                    <a:pt x="300" y="750"/>
                  </a:lnTo>
                  <a:lnTo>
                    <a:pt x="324" y="750"/>
                  </a:lnTo>
                  <a:lnTo>
                    <a:pt x="336" y="744"/>
                  </a:lnTo>
                  <a:lnTo>
                    <a:pt x="348" y="744"/>
                  </a:lnTo>
                  <a:lnTo>
                    <a:pt x="354" y="738"/>
                  </a:lnTo>
                  <a:lnTo>
                    <a:pt x="360" y="726"/>
                  </a:lnTo>
                  <a:lnTo>
                    <a:pt x="360" y="714"/>
                  </a:lnTo>
                  <a:lnTo>
                    <a:pt x="366" y="708"/>
                  </a:lnTo>
                  <a:lnTo>
                    <a:pt x="384" y="726"/>
                  </a:lnTo>
                  <a:lnTo>
                    <a:pt x="390" y="726"/>
                  </a:lnTo>
                  <a:lnTo>
                    <a:pt x="396" y="720"/>
                  </a:lnTo>
                  <a:lnTo>
                    <a:pt x="408" y="696"/>
                  </a:lnTo>
                  <a:lnTo>
                    <a:pt x="402" y="690"/>
                  </a:lnTo>
                  <a:lnTo>
                    <a:pt x="402" y="684"/>
                  </a:lnTo>
                  <a:lnTo>
                    <a:pt x="414" y="684"/>
                  </a:lnTo>
                  <a:lnTo>
                    <a:pt x="420" y="678"/>
                  </a:lnTo>
                  <a:lnTo>
                    <a:pt x="432" y="672"/>
                  </a:lnTo>
                  <a:lnTo>
                    <a:pt x="432" y="660"/>
                  </a:lnTo>
                  <a:lnTo>
                    <a:pt x="420" y="636"/>
                  </a:lnTo>
                  <a:lnTo>
                    <a:pt x="408" y="630"/>
                  </a:lnTo>
                  <a:lnTo>
                    <a:pt x="408" y="618"/>
                  </a:lnTo>
                  <a:lnTo>
                    <a:pt x="372" y="600"/>
                  </a:lnTo>
                  <a:lnTo>
                    <a:pt x="360" y="606"/>
                  </a:lnTo>
                  <a:lnTo>
                    <a:pt x="354" y="606"/>
                  </a:lnTo>
                  <a:lnTo>
                    <a:pt x="342" y="600"/>
                  </a:lnTo>
                  <a:lnTo>
                    <a:pt x="330" y="576"/>
                  </a:lnTo>
                  <a:lnTo>
                    <a:pt x="330" y="558"/>
                  </a:lnTo>
                  <a:lnTo>
                    <a:pt x="324" y="546"/>
                  </a:lnTo>
                  <a:lnTo>
                    <a:pt x="324" y="528"/>
                  </a:lnTo>
                  <a:lnTo>
                    <a:pt x="336" y="516"/>
                  </a:lnTo>
                  <a:lnTo>
                    <a:pt x="342" y="504"/>
                  </a:lnTo>
                  <a:lnTo>
                    <a:pt x="342" y="486"/>
                  </a:lnTo>
                  <a:lnTo>
                    <a:pt x="336" y="474"/>
                  </a:lnTo>
                  <a:lnTo>
                    <a:pt x="330" y="468"/>
                  </a:lnTo>
                  <a:lnTo>
                    <a:pt x="330" y="462"/>
                  </a:lnTo>
                  <a:lnTo>
                    <a:pt x="348" y="462"/>
                  </a:lnTo>
                  <a:lnTo>
                    <a:pt x="354" y="456"/>
                  </a:lnTo>
                  <a:lnTo>
                    <a:pt x="354" y="438"/>
                  </a:lnTo>
                  <a:lnTo>
                    <a:pt x="348" y="426"/>
                  </a:lnTo>
                  <a:lnTo>
                    <a:pt x="354" y="432"/>
                  </a:lnTo>
                  <a:lnTo>
                    <a:pt x="378" y="432"/>
                  </a:lnTo>
                  <a:lnTo>
                    <a:pt x="384" y="426"/>
                  </a:lnTo>
                  <a:lnTo>
                    <a:pt x="396" y="420"/>
                  </a:lnTo>
                  <a:lnTo>
                    <a:pt x="408" y="408"/>
                  </a:lnTo>
                  <a:lnTo>
                    <a:pt x="438" y="414"/>
                  </a:lnTo>
                  <a:lnTo>
                    <a:pt x="450" y="390"/>
                  </a:lnTo>
                  <a:lnTo>
                    <a:pt x="480" y="390"/>
                  </a:lnTo>
                  <a:lnTo>
                    <a:pt x="498" y="384"/>
                  </a:lnTo>
                  <a:lnTo>
                    <a:pt x="510" y="378"/>
                  </a:lnTo>
                  <a:lnTo>
                    <a:pt x="522" y="354"/>
                  </a:lnTo>
                  <a:lnTo>
                    <a:pt x="540" y="336"/>
                  </a:lnTo>
                  <a:lnTo>
                    <a:pt x="546" y="324"/>
                  </a:lnTo>
                  <a:lnTo>
                    <a:pt x="528" y="300"/>
                  </a:lnTo>
                  <a:lnTo>
                    <a:pt x="558" y="264"/>
                  </a:lnTo>
                  <a:lnTo>
                    <a:pt x="540" y="246"/>
                  </a:lnTo>
                  <a:lnTo>
                    <a:pt x="576" y="234"/>
                  </a:lnTo>
                  <a:lnTo>
                    <a:pt x="594" y="216"/>
                  </a:lnTo>
                  <a:lnTo>
                    <a:pt x="672" y="222"/>
                  </a:lnTo>
                  <a:lnTo>
                    <a:pt x="684" y="240"/>
                  </a:lnTo>
                  <a:lnTo>
                    <a:pt x="690" y="240"/>
                  </a:lnTo>
                  <a:lnTo>
                    <a:pt x="678" y="204"/>
                  </a:lnTo>
                  <a:close/>
                  <a:moveTo>
                    <a:pt x="390" y="828"/>
                  </a:moveTo>
                  <a:lnTo>
                    <a:pt x="390" y="840"/>
                  </a:lnTo>
                  <a:lnTo>
                    <a:pt x="396" y="852"/>
                  </a:lnTo>
                  <a:lnTo>
                    <a:pt x="396" y="864"/>
                  </a:lnTo>
                  <a:lnTo>
                    <a:pt x="402" y="870"/>
                  </a:lnTo>
                  <a:lnTo>
                    <a:pt x="402" y="876"/>
                  </a:lnTo>
                  <a:lnTo>
                    <a:pt x="414" y="852"/>
                  </a:lnTo>
                  <a:lnTo>
                    <a:pt x="426" y="852"/>
                  </a:lnTo>
                  <a:lnTo>
                    <a:pt x="432" y="846"/>
                  </a:lnTo>
                  <a:lnTo>
                    <a:pt x="438" y="834"/>
                  </a:lnTo>
                  <a:lnTo>
                    <a:pt x="438" y="822"/>
                  </a:lnTo>
                  <a:lnTo>
                    <a:pt x="432" y="816"/>
                  </a:lnTo>
                  <a:lnTo>
                    <a:pt x="450" y="798"/>
                  </a:lnTo>
                  <a:lnTo>
                    <a:pt x="444" y="798"/>
                  </a:lnTo>
                  <a:lnTo>
                    <a:pt x="438" y="804"/>
                  </a:lnTo>
                  <a:lnTo>
                    <a:pt x="420" y="804"/>
                  </a:lnTo>
                  <a:lnTo>
                    <a:pt x="408" y="810"/>
                  </a:lnTo>
                  <a:lnTo>
                    <a:pt x="390" y="828"/>
                  </a:lnTo>
                  <a:close/>
                  <a:moveTo>
                    <a:pt x="300" y="900"/>
                  </a:moveTo>
                  <a:lnTo>
                    <a:pt x="300" y="912"/>
                  </a:lnTo>
                  <a:lnTo>
                    <a:pt x="294" y="924"/>
                  </a:lnTo>
                  <a:lnTo>
                    <a:pt x="300" y="918"/>
                  </a:lnTo>
                  <a:lnTo>
                    <a:pt x="312" y="912"/>
                  </a:lnTo>
                  <a:lnTo>
                    <a:pt x="318" y="900"/>
                  </a:lnTo>
                  <a:lnTo>
                    <a:pt x="318" y="894"/>
                  </a:lnTo>
                  <a:lnTo>
                    <a:pt x="324" y="888"/>
                  </a:lnTo>
                  <a:lnTo>
                    <a:pt x="324" y="882"/>
                  </a:lnTo>
                  <a:lnTo>
                    <a:pt x="342" y="858"/>
                  </a:lnTo>
                  <a:lnTo>
                    <a:pt x="336" y="840"/>
                  </a:lnTo>
                  <a:lnTo>
                    <a:pt x="330" y="852"/>
                  </a:lnTo>
                  <a:lnTo>
                    <a:pt x="312" y="870"/>
                  </a:lnTo>
                  <a:lnTo>
                    <a:pt x="300" y="894"/>
                  </a:lnTo>
                  <a:lnTo>
                    <a:pt x="300" y="900"/>
                  </a:lnTo>
                  <a:close/>
                </a:path>
              </a:pathLst>
            </a:custGeom>
            <a:solidFill>
              <a:srgbClr val="005995"/>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69" name="Swaziland" descr="© INSCALE GmbH, 05.05.2010&#10;http://www.presentationload.com/"/>
            <p:cNvSpPr>
              <a:spLocks/>
            </p:cNvSpPr>
            <p:nvPr/>
          </p:nvSpPr>
          <p:spPr bwMode="gray">
            <a:xfrm>
              <a:off x="5080005" y="4911724"/>
              <a:ext cx="41275" cy="53975"/>
            </a:xfrm>
            <a:custGeom>
              <a:avLst/>
              <a:gdLst>
                <a:gd name="T0" fmla="*/ 2147483647 w 102"/>
                <a:gd name="T1" fmla="*/ 2147483647 h 132"/>
                <a:gd name="T2" fmla="*/ 2147483647 w 102"/>
                <a:gd name="T3" fmla="*/ 2147483647 h 132"/>
                <a:gd name="T4" fmla="*/ 2147483647 w 102"/>
                <a:gd name="T5" fmla="*/ 2147483647 h 132"/>
                <a:gd name="T6" fmla="*/ 2147483647 w 102"/>
                <a:gd name="T7" fmla="*/ 2147483647 h 132"/>
                <a:gd name="T8" fmla="*/ 2147483647 w 102"/>
                <a:gd name="T9" fmla="*/ 2147483647 h 132"/>
                <a:gd name="T10" fmla="*/ 2147483647 w 102"/>
                <a:gd name="T11" fmla="*/ 0 h 132"/>
                <a:gd name="T12" fmla="*/ 2147483647 w 102"/>
                <a:gd name="T13" fmla="*/ 0 h 132"/>
                <a:gd name="T14" fmla="*/ 2147483647 w 102"/>
                <a:gd name="T15" fmla="*/ 2147483647 h 132"/>
                <a:gd name="T16" fmla="*/ 2147483647 w 102"/>
                <a:gd name="T17" fmla="*/ 2147483647 h 132"/>
                <a:gd name="T18" fmla="*/ 2147483647 w 102"/>
                <a:gd name="T19" fmla="*/ 2147483647 h 132"/>
                <a:gd name="T20" fmla="*/ 2147483647 w 102"/>
                <a:gd name="T21" fmla="*/ 2147483647 h 132"/>
                <a:gd name="T22" fmla="*/ 0 w 102"/>
                <a:gd name="T23" fmla="*/ 2147483647 h 132"/>
                <a:gd name="T24" fmla="*/ 0 w 102"/>
                <a:gd name="T25" fmla="*/ 2147483647 h 132"/>
                <a:gd name="T26" fmla="*/ 2147483647 w 102"/>
                <a:gd name="T27" fmla="*/ 2147483647 h 132"/>
                <a:gd name="T28" fmla="*/ 2147483647 w 102"/>
                <a:gd name="T29" fmla="*/ 2147483647 h 132"/>
                <a:gd name="T30" fmla="*/ 2147483647 w 102"/>
                <a:gd name="T31" fmla="*/ 2147483647 h 132"/>
                <a:gd name="T32" fmla="*/ 2147483647 w 102"/>
                <a:gd name="T33" fmla="*/ 2147483647 h 132"/>
                <a:gd name="T34" fmla="*/ 2147483647 w 102"/>
                <a:gd name="T35" fmla="*/ 2147483647 h 132"/>
                <a:gd name="T36" fmla="*/ 2147483647 w 102"/>
                <a:gd name="T37" fmla="*/ 2147483647 h 132"/>
                <a:gd name="T38" fmla="*/ 2147483647 w 102"/>
                <a:gd name="T39" fmla="*/ 2147483647 h 132"/>
                <a:gd name="T40" fmla="*/ 2147483647 w 102"/>
                <a:gd name="T41" fmla="*/ 2147483647 h 132"/>
                <a:gd name="T42" fmla="*/ 2147483647 w 102"/>
                <a:gd name="T43" fmla="*/ 2147483647 h 132"/>
                <a:gd name="T44" fmla="*/ 2147483647 w 102"/>
                <a:gd name="T45" fmla="*/ 2147483647 h 132"/>
                <a:gd name="T46" fmla="*/ 2147483647 w 102"/>
                <a:gd name="T47" fmla="*/ 2147483647 h 132"/>
                <a:gd name="T48" fmla="*/ 2147483647 w 102"/>
                <a:gd name="T49" fmla="*/ 2147483647 h 1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2"/>
                <a:gd name="T76" fmla="*/ 0 h 132"/>
                <a:gd name="T77" fmla="*/ 102 w 102"/>
                <a:gd name="T78" fmla="*/ 132 h 1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2" h="132">
                  <a:moveTo>
                    <a:pt x="84" y="54"/>
                  </a:moveTo>
                  <a:lnTo>
                    <a:pt x="84" y="30"/>
                  </a:lnTo>
                  <a:lnTo>
                    <a:pt x="90" y="18"/>
                  </a:lnTo>
                  <a:lnTo>
                    <a:pt x="66" y="18"/>
                  </a:lnTo>
                  <a:lnTo>
                    <a:pt x="54" y="6"/>
                  </a:lnTo>
                  <a:lnTo>
                    <a:pt x="42" y="0"/>
                  </a:lnTo>
                  <a:lnTo>
                    <a:pt x="36" y="0"/>
                  </a:lnTo>
                  <a:lnTo>
                    <a:pt x="24" y="12"/>
                  </a:lnTo>
                  <a:lnTo>
                    <a:pt x="18" y="24"/>
                  </a:lnTo>
                  <a:lnTo>
                    <a:pt x="18" y="36"/>
                  </a:lnTo>
                  <a:lnTo>
                    <a:pt x="6" y="48"/>
                  </a:lnTo>
                  <a:lnTo>
                    <a:pt x="0" y="60"/>
                  </a:lnTo>
                  <a:lnTo>
                    <a:pt x="0" y="84"/>
                  </a:lnTo>
                  <a:lnTo>
                    <a:pt x="12" y="108"/>
                  </a:lnTo>
                  <a:lnTo>
                    <a:pt x="24" y="114"/>
                  </a:lnTo>
                  <a:lnTo>
                    <a:pt x="36" y="126"/>
                  </a:lnTo>
                  <a:lnTo>
                    <a:pt x="54" y="126"/>
                  </a:lnTo>
                  <a:lnTo>
                    <a:pt x="66" y="132"/>
                  </a:lnTo>
                  <a:lnTo>
                    <a:pt x="78" y="132"/>
                  </a:lnTo>
                  <a:lnTo>
                    <a:pt x="90" y="90"/>
                  </a:lnTo>
                  <a:lnTo>
                    <a:pt x="96" y="90"/>
                  </a:lnTo>
                  <a:lnTo>
                    <a:pt x="102" y="84"/>
                  </a:lnTo>
                  <a:lnTo>
                    <a:pt x="96" y="60"/>
                  </a:lnTo>
                  <a:lnTo>
                    <a:pt x="90" y="60"/>
                  </a:lnTo>
                  <a:lnTo>
                    <a:pt x="84" y="54"/>
                  </a:lnTo>
                  <a:close/>
                </a:path>
              </a:pathLst>
            </a:custGeom>
            <a:solidFill>
              <a:srgbClr val="692864"/>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70" name="Suriname" descr="© INSCALE GmbH, 05.05.2010&#10;http://www.presentationload.com/"/>
            <p:cNvSpPr>
              <a:spLocks/>
            </p:cNvSpPr>
            <p:nvPr/>
          </p:nvSpPr>
          <p:spPr bwMode="gray">
            <a:xfrm>
              <a:off x="2551115" y="3884612"/>
              <a:ext cx="117475" cy="134938"/>
            </a:xfrm>
            <a:custGeom>
              <a:avLst/>
              <a:gdLst>
                <a:gd name="T0" fmla="*/ 2147483647 w 294"/>
                <a:gd name="T1" fmla="*/ 2147483647 h 336"/>
                <a:gd name="T2" fmla="*/ 2147483647 w 294"/>
                <a:gd name="T3" fmla="*/ 2147483647 h 336"/>
                <a:gd name="T4" fmla="*/ 2147483647 w 294"/>
                <a:gd name="T5" fmla="*/ 2147483647 h 336"/>
                <a:gd name="T6" fmla="*/ 0 w 294"/>
                <a:gd name="T7" fmla="*/ 2147483647 h 336"/>
                <a:gd name="T8" fmla="*/ 2147483647 w 294"/>
                <a:gd name="T9" fmla="*/ 2147483647 h 336"/>
                <a:gd name="T10" fmla="*/ 2147483647 w 294"/>
                <a:gd name="T11" fmla="*/ 2147483647 h 336"/>
                <a:gd name="T12" fmla="*/ 2147483647 w 294"/>
                <a:gd name="T13" fmla="*/ 2147483647 h 336"/>
                <a:gd name="T14" fmla="*/ 2147483647 w 294"/>
                <a:gd name="T15" fmla="*/ 2147483647 h 336"/>
                <a:gd name="T16" fmla="*/ 2147483647 w 294"/>
                <a:gd name="T17" fmla="*/ 2147483647 h 336"/>
                <a:gd name="T18" fmla="*/ 2147483647 w 294"/>
                <a:gd name="T19" fmla="*/ 2147483647 h 336"/>
                <a:gd name="T20" fmla="*/ 2147483647 w 294"/>
                <a:gd name="T21" fmla="*/ 2147483647 h 336"/>
                <a:gd name="T22" fmla="*/ 2147483647 w 294"/>
                <a:gd name="T23" fmla="*/ 2147483647 h 336"/>
                <a:gd name="T24" fmla="*/ 2147483647 w 294"/>
                <a:gd name="T25" fmla="*/ 2147483647 h 336"/>
                <a:gd name="T26" fmla="*/ 2147483647 w 294"/>
                <a:gd name="T27" fmla="*/ 2147483647 h 336"/>
                <a:gd name="T28" fmla="*/ 2147483647 w 294"/>
                <a:gd name="T29" fmla="*/ 2147483647 h 336"/>
                <a:gd name="T30" fmla="*/ 2147483647 w 294"/>
                <a:gd name="T31" fmla="*/ 2147483647 h 336"/>
                <a:gd name="T32" fmla="*/ 2147483647 w 294"/>
                <a:gd name="T33" fmla="*/ 2147483647 h 336"/>
                <a:gd name="T34" fmla="*/ 2147483647 w 294"/>
                <a:gd name="T35" fmla="*/ 2147483647 h 336"/>
                <a:gd name="T36" fmla="*/ 2147483647 w 294"/>
                <a:gd name="T37" fmla="*/ 2147483647 h 336"/>
                <a:gd name="T38" fmla="*/ 2147483647 w 294"/>
                <a:gd name="T39" fmla="*/ 2147483647 h 336"/>
                <a:gd name="T40" fmla="*/ 2147483647 w 294"/>
                <a:gd name="T41" fmla="*/ 2147483647 h 336"/>
                <a:gd name="T42" fmla="*/ 2147483647 w 294"/>
                <a:gd name="T43" fmla="*/ 2147483647 h 336"/>
                <a:gd name="T44" fmla="*/ 2147483647 w 294"/>
                <a:gd name="T45" fmla="*/ 2147483647 h 336"/>
                <a:gd name="T46" fmla="*/ 2147483647 w 294"/>
                <a:gd name="T47" fmla="*/ 2147483647 h 336"/>
                <a:gd name="T48" fmla="*/ 2147483647 w 294"/>
                <a:gd name="T49" fmla="*/ 2147483647 h 336"/>
                <a:gd name="T50" fmla="*/ 2147483647 w 294"/>
                <a:gd name="T51" fmla="*/ 2147483647 h 336"/>
                <a:gd name="T52" fmla="*/ 2147483647 w 294"/>
                <a:gd name="T53" fmla="*/ 2147483647 h 336"/>
                <a:gd name="T54" fmla="*/ 2147483647 w 294"/>
                <a:gd name="T55" fmla="*/ 2147483647 h 336"/>
                <a:gd name="T56" fmla="*/ 2147483647 w 294"/>
                <a:gd name="T57" fmla="*/ 2147483647 h 336"/>
                <a:gd name="T58" fmla="*/ 2147483647 w 294"/>
                <a:gd name="T59" fmla="*/ 2147483647 h 336"/>
                <a:gd name="T60" fmla="*/ 2147483647 w 294"/>
                <a:gd name="T61" fmla="*/ 2147483647 h 336"/>
                <a:gd name="T62" fmla="*/ 2147483647 w 294"/>
                <a:gd name="T63" fmla="*/ 2147483647 h 336"/>
                <a:gd name="T64" fmla="*/ 2147483647 w 294"/>
                <a:gd name="T65" fmla="*/ 2147483647 h 336"/>
                <a:gd name="T66" fmla="*/ 2147483647 w 294"/>
                <a:gd name="T67" fmla="*/ 2147483647 h 336"/>
                <a:gd name="T68" fmla="*/ 2147483647 w 294"/>
                <a:gd name="T69" fmla="*/ 2147483647 h 336"/>
                <a:gd name="T70" fmla="*/ 2147483647 w 294"/>
                <a:gd name="T71" fmla="*/ 0 h 336"/>
                <a:gd name="T72" fmla="*/ 2147483647 w 294"/>
                <a:gd name="T73" fmla="*/ 2147483647 h 336"/>
                <a:gd name="T74" fmla="*/ 2147483647 w 294"/>
                <a:gd name="T75" fmla="*/ 2147483647 h 336"/>
                <a:gd name="T76" fmla="*/ 2147483647 w 294"/>
                <a:gd name="T77" fmla="*/ 2147483647 h 336"/>
                <a:gd name="T78" fmla="*/ 2147483647 w 294"/>
                <a:gd name="T79" fmla="*/ 2147483647 h 336"/>
                <a:gd name="T80" fmla="*/ 2147483647 w 294"/>
                <a:gd name="T81" fmla="*/ 2147483647 h 336"/>
                <a:gd name="T82" fmla="*/ 2147483647 w 294"/>
                <a:gd name="T83" fmla="*/ 2147483647 h 3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94"/>
                <a:gd name="T127" fmla="*/ 0 h 336"/>
                <a:gd name="T128" fmla="*/ 294 w 294"/>
                <a:gd name="T129" fmla="*/ 336 h 3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94" h="336">
                  <a:moveTo>
                    <a:pt x="60" y="78"/>
                  </a:moveTo>
                  <a:lnTo>
                    <a:pt x="30" y="78"/>
                  </a:lnTo>
                  <a:lnTo>
                    <a:pt x="18" y="84"/>
                  </a:lnTo>
                  <a:lnTo>
                    <a:pt x="12" y="90"/>
                  </a:lnTo>
                  <a:lnTo>
                    <a:pt x="12" y="132"/>
                  </a:lnTo>
                  <a:lnTo>
                    <a:pt x="6" y="138"/>
                  </a:lnTo>
                  <a:lnTo>
                    <a:pt x="0" y="150"/>
                  </a:lnTo>
                  <a:lnTo>
                    <a:pt x="0" y="162"/>
                  </a:lnTo>
                  <a:lnTo>
                    <a:pt x="6" y="168"/>
                  </a:lnTo>
                  <a:lnTo>
                    <a:pt x="6" y="174"/>
                  </a:lnTo>
                  <a:lnTo>
                    <a:pt x="12" y="174"/>
                  </a:lnTo>
                  <a:lnTo>
                    <a:pt x="12" y="186"/>
                  </a:lnTo>
                  <a:lnTo>
                    <a:pt x="18" y="198"/>
                  </a:lnTo>
                  <a:lnTo>
                    <a:pt x="24" y="204"/>
                  </a:lnTo>
                  <a:lnTo>
                    <a:pt x="30" y="216"/>
                  </a:lnTo>
                  <a:lnTo>
                    <a:pt x="42" y="216"/>
                  </a:lnTo>
                  <a:lnTo>
                    <a:pt x="42" y="210"/>
                  </a:lnTo>
                  <a:lnTo>
                    <a:pt x="54" y="198"/>
                  </a:lnTo>
                  <a:lnTo>
                    <a:pt x="54" y="216"/>
                  </a:lnTo>
                  <a:lnTo>
                    <a:pt x="48" y="222"/>
                  </a:lnTo>
                  <a:lnTo>
                    <a:pt x="48" y="246"/>
                  </a:lnTo>
                  <a:lnTo>
                    <a:pt x="54" y="258"/>
                  </a:lnTo>
                  <a:lnTo>
                    <a:pt x="72" y="276"/>
                  </a:lnTo>
                  <a:lnTo>
                    <a:pt x="78" y="294"/>
                  </a:lnTo>
                  <a:lnTo>
                    <a:pt x="84" y="306"/>
                  </a:lnTo>
                  <a:lnTo>
                    <a:pt x="90" y="312"/>
                  </a:lnTo>
                  <a:lnTo>
                    <a:pt x="90" y="318"/>
                  </a:lnTo>
                  <a:lnTo>
                    <a:pt x="102" y="324"/>
                  </a:lnTo>
                  <a:lnTo>
                    <a:pt x="108" y="324"/>
                  </a:lnTo>
                  <a:lnTo>
                    <a:pt x="132" y="336"/>
                  </a:lnTo>
                  <a:lnTo>
                    <a:pt x="150" y="336"/>
                  </a:lnTo>
                  <a:lnTo>
                    <a:pt x="156" y="330"/>
                  </a:lnTo>
                  <a:lnTo>
                    <a:pt x="150" y="324"/>
                  </a:lnTo>
                  <a:lnTo>
                    <a:pt x="150" y="318"/>
                  </a:lnTo>
                  <a:lnTo>
                    <a:pt x="138" y="306"/>
                  </a:lnTo>
                  <a:lnTo>
                    <a:pt x="138" y="282"/>
                  </a:lnTo>
                  <a:lnTo>
                    <a:pt x="150" y="276"/>
                  </a:lnTo>
                  <a:lnTo>
                    <a:pt x="156" y="276"/>
                  </a:lnTo>
                  <a:lnTo>
                    <a:pt x="156" y="288"/>
                  </a:lnTo>
                  <a:lnTo>
                    <a:pt x="180" y="288"/>
                  </a:lnTo>
                  <a:lnTo>
                    <a:pt x="192" y="282"/>
                  </a:lnTo>
                  <a:lnTo>
                    <a:pt x="198" y="276"/>
                  </a:lnTo>
                  <a:lnTo>
                    <a:pt x="210" y="270"/>
                  </a:lnTo>
                  <a:lnTo>
                    <a:pt x="216" y="270"/>
                  </a:lnTo>
                  <a:lnTo>
                    <a:pt x="222" y="282"/>
                  </a:lnTo>
                  <a:lnTo>
                    <a:pt x="228" y="288"/>
                  </a:lnTo>
                  <a:lnTo>
                    <a:pt x="246" y="294"/>
                  </a:lnTo>
                  <a:lnTo>
                    <a:pt x="252" y="282"/>
                  </a:lnTo>
                  <a:lnTo>
                    <a:pt x="258" y="276"/>
                  </a:lnTo>
                  <a:lnTo>
                    <a:pt x="258" y="264"/>
                  </a:lnTo>
                  <a:lnTo>
                    <a:pt x="264" y="264"/>
                  </a:lnTo>
                  <a:lnTo>
                    <a:pt x="276" y="258"/>
                  </a:lnTo>
                  <a:lnTo>
                    <a:pt x="270" y="222"/>
                  </a:lnTo>
                  <a:lnTo>
                    <a:pt x="288" y="204"/>
                  </a:lnTo>
                  <a:lnTo>
                    <a:pt x="288" y="198"/>
                  </a:lnTo>
                  <a:lnTo>
                    <a:pt x="282" y="186"/>
                  </a:lnTo>
                  <a:lnTo>
                    <a:pt x="264" y="168"/>
                  </a:lnTo>
                  <a:lnTo>
                    <a:pt x="258" y="156"/>
                  </a:lnTo>
                  <a:lnTo>
                    <a:pt x="258" y="144"/>
                  </a:lnTo>
                  <a:lnTo>
                    <a:pt x="252" y="126"/>
                  </a:lnTo>
                  <a:lnTo>
                    <a:pt x="252" y="96"/>
                  </a:lnTo>
                  <a:lnTo>
                    <a:pt x="258" y="78"/>
                  </a:lnTo>
                  <a:lnTo>
                    <a:pt x="264" y="66"/>
                  </a:lnTo>
                  <a:lnTo>
                    <a:pt x="276" y="60"/>
                  </a:lnTo>
                  <a:lnTo>
                    <a:pt x="282" y="54"/>
                  </a:lnTo>
                  <a:lnTo>
                    <a:pt x="288" y="54"/>
                  </a:lnTo>
                  <a:lnTo>
                    <a:pt x="288" y="30"/>
                  </a:lnTo>
                  <a:lnTo>
                    <a:pt x="294" y="12"/>
                  </a:lnTo>
                  <a:lnTo>
                    <a:pt x="288" y="12"/>
                  </a:lnTo>
                  <a:lnTo>
                    <a:pt x="282" y="6"/>
                  </a:lnTo>
                  <a:lnTo>
                    <a:pt x="270" y="6"/>
                  </a:lnTo>
                  <a:lnTo>
                    <a:pt x="252" y="0"/>
                  </a:lnTo>
                  <a:lnTo>
                    <a:pt x="210" y="0"/>
                  </a:lnTo>
                  <a:lnTo>
                    <a:pt x="204" y="12"/>
                  </a:lnTo>
                  <a:lnTo>
                    <a:pt x="156" y="6"/>
                  </a:lnTo>
                  <a:lnTo>
                    <a:pt x="156" y="18"/>
                  </a:lnTo>
                  <a:lnTo>
                    <a:pt x="96" y="0"/>
                  </a:lnTo>
                  <a:lnTo>
                    <a:pt x="72" y="6"/>
                  </a:lnTo>
                  <a:lnTo>
                    <a:pt x="66" y="18"/>
                  </a:lnTo>
                  <a:lnTo>
                    <a:pt x="60" y="24"/>
                  </a:lnTo>
                  <a:lnTo>
                    <a:pt x="54" y="36"/>
                  </a:lnTo>
                  <a:lnTo>
                    <a:pt x="54" y="48"/>
                  </a:lnTo>
                  <a:lnTo>
                    <a:pt x="66" y="60"/>
                  </a:lnTo>
                  <a:lnTo>
                    <a:pt x="66" y="72"/>
                  </a:lnTo>
                  <a:lnTo>
                    <a:pt x="60" y="78"/>
                  </a:lnTo>
                  <a:close/>
                </a:path>
              </a:pathLst>
            </a:custGeom>
            <a:solidFill>
              <a:srgbClr val="658B26"/>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71" name="Sri Lanka" descr="© INSCALE GmbH, 05.05.2010&#10;http://www.presentationload.com/"/>
            <p:cNvSpPr>
              <a:spLocks/>
            </p:cNvSpPr>
            <p:nvPr/>
          </p:nvSpPr>
          <p:spPr bwMode="gray">
            <a:xfrm>
              <a:off x="6491294" y="3767137"/>
              <a:ext cx="68261" cy="122238"/>
            </a:xfrm>
            <a:custGeom>
              <a:avLst/>
              <a:gdLst>
                <a:gd name="T0" fmla="*/ 2147483647 w 174"/>
                <a:gd name="T1" fmla="*/ 2147483647 h 306"/>
                <a:gd name="T2" fmla="*/ 2147483647 w 174"/>
                <a:gd name="T3" fmla="*/ 0 h 306"/>
                <a:gd name="T4" fmla="*/ 2147483647 w 174"/>
                <a:gd name="T5" fmla="*/ 0 h 306"/>
                <a:gd name="T6" fmla="*/ 2147483647 w 174"/>
                <a:gd name="T7" fmla="*/ 2147483647 h 306"/>
                <a:gd name="T8" fmla="*/ 2147483647 w 174"/>
                <a:gd name="T9" fmla="*/ 2147483647 h 306"/>
                <a:gd name="T10" fmla="*/ 2147483647 w 174"/>
                <a:gd name="T11" fmla="*/ 2147483647 h 306"/>
                <a:gd name="T12" fmla="*/ 2147483647 w 174"/>
                <a:gd name="T13" fmla="*/ 2147483647 h 306"/>
                <a:gd name="T14" fmla="*/ 2147483647 w 174"/>
                <a:gd name="T15" fmla="*/ 2147483647 h 306"/>
                <a:gd name="T16" fmla="*/ 2147483647 w 174"/>
                <a:gd name="T17" fmla="*/ 2147483647 h 306"/>
                <a:gd name="T18" fmla="*/ 2147483647 w 174"/>
                <a:gd name="T19" fmla="*/ 2147483647 h 306"/>
                <a:gd name="T20" fmla="*/ 2147483647 w 174"/>
                <a:gd name="T21" fmla="*/ 2147483647 h 306"/>
                <a:gd name="T22" fmla="*/ 2147483647 w 174"/>
                <a:gd name="T23" fmla="*/ 2147483647 h 306"/>
                <a:gd name="T24" fmla="*/ 2147483647 w 174"/>
                <a:gd name="T25" fmla="*/ 2147483647 h 306"/>
                <a:gd name="T26" fmla="*/ 2147483647 w 174"/>
                <a:gd name="T27" fmla="*/ 2147483647 h 306"/>
                <a:gd name="T28" fmla="*/ 2147483647 w 174"/>
                <a:gd name="T29" fmla="*/ 2147483647 h 306"/>
                <a:gd name="T30" fmla="*/ 2147483647 w 174"/>
                <a:gd name="T31" fmla="*/ 2147483647 h 306"/>
                <a:gd name="T32" fmla="*/ 2147483647 w 174"/>
                <a:gd name="T33" fmla="*/ 2147483647 h 306"/>
                <a:gd name="T34" fmla="*/ 2147483647 w 174"/>
                <a:gd name="T35" fmla="*/ 2147483647 h 306"/>
                <a:gd name="T36" fmla="*/ 2147483647 w 174"/>
                <a:gd name="T37" fmla="*/ 2147483647 h 306"/>
                <a:gd name="T38" fmla="*/ 2147483647 w 174"/>
                <a:gd name="T39" fmla="*/ 2147483647 h 306"/>
                <a:gd name="T40" fmla="*/ 0 w 174"/>
                <a:gd name="T41" fmla="*/ 2147483647 h 306"/>
                <a:gd name="T42" fmla="*/ 0 w 174"/>
                <a:gd name="T43" fmla="*/ 2147483647 h 306"/>
                <a:gd name="T44" fmla="*/ 2147483647 w 174"/>
                <a:gd name="T45" fmla="*/ 2147483647 h 306"/>
                <a:gd name="T46" fmla="*/ 2147483647 w 174"/>
                <a:gd name="T47" fmla="*/ 2147483647 h 306"/>
                <a:gd name="T48" fmla="*/ 2147483647 w 174"/>
                <a:gd name="T49" fmla="*/ 2147483647 h 306"/>
                <a:gd name="T50" fmla="*/ 2147483647 w 174"/>
                <a:gd name="T51" fmla="*/ 2147483647 h 306"/>
                <a:gd name="T52" fmla="*/ 2147483647 w 174"/>
                <a:gd name="T53" fmla="*/ 2147483647 h 306"/>
                <a:gd name="T54" fmla="*/ 0 w 174"/>
                <a:gd name="T55" fmla="*/ 2147483647 h 306"/>
                <a:gd name="T56" fmla="*/ 2147483647 w 174"/>
                <a:gd name="T57" fmla="*/ 2147483647 h 306"/>
                <a:gd name="T58" fmla="*/ 2147483647 w 174"/>
                <a:gd name="T59" fmla="*/ 2147483647 h 30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4"/>
                <a:gd name="T91" fmla="*/ 0 h 306"/>
                <a:gd name="T92" fmla="*/ 174 w 174"/>
                <a:gd name="T93" fmla="*/ 306 h 30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4" h="306">
                  <a:moveTo>
                    <a:pt x="24" y="6"/>
                  </a:moveTo>
                  <a:lnTo>
                    <a:pt x="36" y="0"/>
                  </a:lnTo>
                  <a:lnTo>
                    <a:pt x="48" y="0"/>
                  </a:lnTo>
                  <a:lnTo>
                    <a:pt x="66" y="6"/>
                  </a:lnTo>
                  <a:lnTo>
                    <a:pt x="78" y="12"/>
                  </a:lnTo>
                  <a:lnTo>
                    <a:pt x="114" y="66"/>
                  </a:lnTo>
                  <a:lnTo>
                    <a:pt x="132" y="84"/>
                  </a:lnTo>
                  <a:lnTo>
                    <a:pt x="126" y="120"/>
                  </a:lnTo>
                  <a:lnTo>
                    <a:pt x="150" y="114"/>
                  </a:lnTo>
                  <a:lnTo>
                    <a:pt x="156" y="168"/>
                  </a:lnTo>
                  <a:lnTo>
                    <a:pt x="162" y="174"/>
                  </a:lnTo>
                  <a:lnTo>
                    <a:pt x="168" y="198"/>
                  </a:lnTo>
                  <a:lnTo>
                    <a:pt x="174" y="228"/>
                  </a:lnTo>
                  <a:lnTo>
                    <a:pt x="174" y="258"/>
                  </a:lnTo>
                  <a:lnTo>
                    <a:pt x="156" y="276"/>
                  </a:lnTo>
                  <a:lnTo>
                    <a:pt x="120" y="294"/>
                  </a:lnTo>
                  <a:lnTo>
                    <a:pt x="84" y="306"/>
                  </a:lnTo>
                  <a:lnTo>
                    <a:pt x="48" y="306"/>
                  </a:lnTo>
                  <a:lnTo>
                    <a:pt x="24" y="282"/>
                  </a:lnTo>
                  <a:lnTo>
                    <a:pt x="12" y="240"/>
                  </a:lnTo>
                  <a:lnTo>
                    <a:pt x="0" y="192"/>
                  </a:lnTo>
                  <a:lnTo>
                    <a:pt x="0" y="156"/>
                  </a:lnTo>
                  <a:lnTo>
                    <a:pt x="12" y="138"/>
                  </a:lnTo>
                  <a:lnTo>
                    <a:pt x="18" y="132"/>
                  </a:lnTo>
                  <a:lnTo>
                    <a:pt x="24" y="120"/>
                  </a:lnTo>
                  <a:lnTo>
                    <a:pt x="30" y="102"/>
                  </a:lnTo>
                  <a:lnTo>
                    <a:pt x="30" y="78"/>
                  </a:lnTo>
                  <a:lnTo>
                    <a:pt x="0" y="36"/>
                  </a:lnTo>
                  <a:lnTo>
                    <a:pt x="24" y="36"/>
                  </a:lnTo>
                  <a:lnTo>
                    <a:pt x="24" y="6"/>
                  </a:lnTo>
                  <a:close/>
                </a:path>
              </a:pathLst>
            </a:custGeom>
            <a:solidFill>
              <a:srgbClr val="FFC000"/>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72" name="Spain" descr="© INSCALE GmbH, 05.05.2010&#10;http://www.presentationload.com/"/>
            <p:cNvSpPr>
              <a:spLocks noEditPoints="1"/>
            </p:cNvSpPr>
            <p:nvPr/>
          </p:nvSpPr>
          <p:spPr bwMode="gray">
            <a:xfrm>
              <a:off x="3997329" y="2660651"/>
              <a:ext cx="352425" cy="247650"/>
            </a:xfrm>
            <a:custGeom>
              <a:avLst/>
              <a:gdLst>
                <a:gd name="T0" fmla="*/ 2147483647 w 876"/>
                <a:gd name="T1" fmla="*/ 2147483647 h 618"/>
                <a:gd name="T2" fmla="*/ 2147483647 w 876"/>
                <a:gd name="T3" fmla="*/ 2147483647 h 618"/>
                <a:gd name="T4" fmla="*/ 2147483647 w 876"/>
                <a:gd name="T5" fmla="*/ 2147483647 h 618"/>
                <a:gd name="T6" fmla="*/ 2147483647 w 876"/>
                <a:gd name="T7" fmla="*/ 2147483647 h 618"/>
                <a:gd name="T8" fmla="*/ 2147483647 w 876"/>
                <a:gd name="T9" fmla="*/ 2147483647 h 618"/>
                <a:gd name="T10" fmla="*/ 2147483647 w 876"/>
                <a:gd name="T11" fmla="*/ 2147483647 h 618"/>
                <a:gd name="T12" fmla="*/ 2147483647 w 876"/>
                <a:gd name="T13" fmla="*/ 2147483647 h 618"/>
                <a:gd name="T14" fmla="*/ 2147483647 w 876"/>
                <a:gd name="T15" fmla="*/ 2147483647 h 618"/>
                <a:gd name="T16" fmla="*/ 2147483647 w 876"/>
                <a:gd name="T17" fmla="*/ 2147483647 h 618"/>
                <a:gd name="T18" fmla="*/ 2147483647 w 876"/>
                <a:gd name="T19" fmla="*/ 2147483647 h 618"/>
                <a:gd name="T20" fmla="*/ 2147483647 w 876"/>
                <a:gd name="T21" fmla="*/ 2147483647 h 618"/>
                <a:gd name="T22" fmla="*/ 2147483647 w 876"/>
                <a:gd name="T23" fmla="*/ 2147483647 h 618"/>
                <a:gd name="T24" fmla="*/ 2147483647 w 876"/>
                <a:gd name="T25" fmla="*/ 2147483647 h 618"/>
                <a:gd name="T26" fmla="*/ 2147483647 w 876"/>
                <a:gd name="T27" fmla="*/ 2147483647 h 618"/>
                <a:gd name="T28" fmla="*/ 2147483647 w 876"/>
                <a:gd name="T29" fmla="*/ 2147483647 h 618"/>
                <a:gd name="T30" fmla="*/ 2147483647 w 876"/>
                <a:gd name="T31" fmla="*/ 2147483647 h 618"/>
                <a:gd name="T32" fmla="*/ 2147483647 w 876"/>
                <a:gd name="T33" fmla="*/ 2147483647 h 618"/>
                <a:gd name="T34" fmla="*/ 2147483647 w 876"/>
                <a:gd name="T35" fmla="*/ 2147483647 h 618"/>
                <a:gd name="T36" fmla="*/ 2147483647 w 876"/>
                <a:gd name="T37" fmla="*/ 2147483647 h 618"/>
                <a:gd name="T38" fmla="*/ 2147483647 w 876"/>
                <a:gd name="T39" fmla="*/ 2147483647 h 618"/>
                <a:gd name="T40" fmla="*/ 2147483647 w 876"/>
                <a:gd name="T41" fmla="*/ 0 h 618"/>
                <a:gd name="T42" fmla="*/ 2147483647 w 876"/>
                <a:gd name="T43" fmla="*/ 2147483647 h 618"/>
                <a:gd name="T44" fmla="*/ 0 w 876"/>
                <a:gd name="T45" fmla="*/ 2147483647 h 618"/>
                <a:gd name="T46" fmla="*/ 2147483647 w 876"/>
                <a:gd name="T47" fmla="*/ 2147483647 h 618"/>
                <a:gd name="T48" fmla="*/ 2147483647 w 876"/>
                <a:gd name="T49" fmla="*/ 2147483647 h 618"/>
                <a:gd name="T50" fmla="*/ 2147483647 w 876"/>
                <a:gd name="T51" fmla="*/ 2147483647 h 618"/>
                <a:gd name="T52" fmla="*/ 2147483647 w 876"/>
                <a:gd name="T53" fmla="*/ 2147483647 h 618"/>
                <a:gd name="T54" fmla="*/ 2147483647 w 876"/>
                <a:gd name="T55" fmla="*/ 2147483647 h 618"/>
                <a:gd name="T56" fmla="*/ 2147483647 w 876"/>
                <a:gd name="T57" fmla="*/ 2147483647 h 618"/>
                <a:gd name="T58" fmla="*/ 2147483647 w 876"/>
                <a:gd name="T59" fmla="*/ 2147483647 h 618"/>
                <a:gd name="T60" fmla="*/ 2147483647 w 876"/>
                <a:gd name="T61" fmla="*/ 2147483647 h 618"/>
                <a:gd name="T62" fmla="*/ 2147483647 w 876"/>
                <a:gd name="T63" fmla="*/ 2147483647 h 618"/>
                <a:gd name="T64" fmla="*/ 2147483647 w 876"/>
                <a:gd name="T65" fmla="*/ 2147483647 h 618"/>
                <a:gd name="T66" fmla="*/ 2147483647 w 876"/>
                <a:gd name="T67" fmla="*/ 2147483647 h 618"/>
                <a:gd name="T68" fmla="*/ 2147483647 w 876"/>
                <a:gd name="T69" fmla="*/ 2147483647 h 618"/>
                <a:gd name="T70" fmla="*/ 2147483647 w 876"/>
                <a:gd name="T71" fmla="*/ 2147483647 h 618"/>
                <a:gd name="T72" fmla="*/ 2147483647 w 876"/>
                <a:gd name="T73" fmla="*/ 2147483647 h 618"/>
                <a:gd name="T74" fmla="*/ 2147483647 w 876"/>
                <a:gd name="T75" fmla="*/ 2147483647 h 618"/>
                <a:gd name="T76" fmla="*/ 2147483647 w 876"/>
                <a:gd name="T77" fmla="*/ 2147483647 h 618"/>
                <a:gd name="T78" fmla="*/ 2147483647 w 876"/>
                <a:gd name="T79" fmla="*/ 2147483647 h 618"/>
                <a:gd name="T80" fmla="*/ 2147483647 w 876"/>
                <a:gd name="T81" fmla="*/ 2147483647 h 618"/>
                <a:gd name="T82" fmla="*/ 2147483647 w 876"/>
                <a:gd name="T83" fmla="*/ 2147483647 h 618"/>
                <a:gd name="T84" fmla="*/ 2147483647 w 876"/>
                <a:gd name="T85" fmla="*/ 2147483647 h 618"/>
                <a:gd name="T86" fmla="*/ 2147483647 w 876"/>
                <a:gd name="T87" fmla="*/ 2147483647 h 618"/>
                <a:gd name="T88" fmla="*/ 2147483647 w 876"/>
                <a:gd name="T89" fmla="*/ 2147483647 h 618"/>
                <a:gd name="T90" fmla="*/ 2147483647 w 876"/>
                <a:gd name="T91" fmla="*/ 2147483647 h 618"/>
                <a:gd name="T92" fmla="*/ 2147483647 w 876"/>
                <a:gd name="T93" fmla="*/ 2147483647 h 618"/>
                <a:gd name="T94" fmla="*/ 2147483647 w 876"/>
                <a:gd name="T95" fmla="*/ 2147483647 h 618"/>
                <a:gd name="T96" fmla="*/ 2147483647 w 876"/>
                <a:gd name="T97" fmla="*/ 2147483647 h 618"/>
                <a:gd name="T98" fmla="*/ 2147483647 w 876"/>
                <a:gd name="T99" fmla="*/ 2147483647 h 618"/>
                <a:gd name="T100" fmla="*/ 2147483647 w 876"/>
                <a:gd name="T101" fmla="*/ 2147483647 h 618"/>
                <a:gd name="T102" fmla="*/ 2147483647 w 876"/>
                <a:gd name="T103" fmla="*/ 2147483647 h 618"/>
                <a:gd name="T104" fmla="*/ 2147483647 w 876"/>
                <a:gd name="T105" fmla="*/ 2147483647 h 618"/>
                <a:gd name="T106" fmla="*/ 2147483647 w 876"/>
                <a:gd name="T107" fmla="*/ 2147483647 h 618"/>
                <a:gd name="T108" fmla="*/ 2147483647 w 876"/>
                <a:gd name="T109" fmla="*/ 2147483647 h 61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76"/>
                <a:gd name="T166" fmla="*/ 0 h 618"/>
                <a:gd name="T167" fmla="*/ 876 w 876"/>
                <a:gd name="T168" fmla="*/ 618 h 61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76" h="618">
                  <a:moveTo>
                    <a:pt x="804" y="318"/>
                  </a:moveTo>
                  <a:lnTo>
                    <a:pt x="798" y="312"/>
                  </a:lnTo>
                  <a:lnTo>
                    <a:pt x="798" y="306"/>
                  </a:lnTo>
                  <a:lnTo>
                    <a:pt x="786" y="306"/>
                  </a:lnTo>
                  <a:lnTo>
                    <a:pt x="762" y="318"/>
                  </a:lnTo>
                  <a:lnTo>
                    <a:pt x="750" y="330"/>
                  </a:lnTo>
                  <a:lnTo>
                    <a:pt x="750" y="336"/>
                  </a:lnTo>
                  <a:lnTo>
                    <a:pt x="756" y="342"/>
                  </a:lnTo>
                  <a:lnTo>
                    <a:pt x="768" y="342"/>
                  </a:lnTo>
                  <a:lnTo>
                    <a:pt x="774" y="348"/>
                  </a:lnTo>
                  <a:lnTo>
                    <a:pt x="774" y="354"/>
                  </a:lnTo>
                  <a:lnTo>
                    <a:pt x="804" y="354"/>
                  </a:lnTo>
                  <a:lnTo>
                    <a:pt x="816" y="342"/>
                  </a:lnTo>
                  <a:lnTo>
                    <a:pt x="816" y="324"/>
                  </a:lnTo>
                  <a:lnTo>
                    <a:pt x="810" y="318"/>
                  </a:lnTo>
                  <a:lnTo>
                    <a:pt x="804" y="318"/>
                  </a:lnTo>
                  <a:close/>
                  <a:moveTo>
                    <a:pt x="672" y="390"/>
                  </a:moveTo>
                  <a:lnTo>
                    <a:pt x="678" y="396"/>
                  </a:lnTo>
                  <a:lnTo>
                    <a:pt x="684" y="396"/>
                  </a:lnTo>
                  <a:lnTo>
                    <a:pt x="690" y="390"/>
                  </a:lnTo>
                  <a:lnTo>
                    <a:pt x="690" y="372"/>
                  </a:lnTo>
                  <a:lnTo>
                    <a:pt x="684" y="372"/>
                  </a:lnTo>
                  <a:lnTo>
                    <a:pt x="672" y="384"/>
                  </a:lnTo>
                  <a:lnTo>
                    <a:pt x="672" y="390"/>
                  </a:lnTo>
                  <a:close/>
                  <a:moveTo>
                    <a:pt x="840" y="300"/>
                  </a:moveTo>
                  <a:lnTo>
                    <a:pt x="840" y="306"/>
                  </a:lnTo>
                  <a:lnTo>
                    <a:pt x="852" y="318"/>
                  </a:lnTo>
                  <a:lnTo>
                    <a:pt x="870" y="318"/>
                  </a:lnTo>
                  <a:lnTo>
                    <a:pt x="876" y="312"/>
                  </a:lnTo>
                  <a:lnTo>
                    <a:pt x="864" y="300"/>
                  </a:lnTo>
                  <a:lnTo>
                    <a:pt x="852" y="300"/>
                  </a:lnTo>
                  <a:lnTo>
                    <a:pt x="846" y="294"/>
                  </a:lnTo>
                  <a:lnTo>
                    <a:pt x="840" y="300"/>
                  </a:lnTo>
                  <a:close/>
                  <a:moveTo>
                    <a:pt x="804" y="150"/>
                  </a:moveTo>
                  <a:lnTo>
                    <a:pt x="798" y="138"/>
                  </a:lnTo>
                  <a:lnTo>
                    <a:pt x="798" y="132"/>
                  </a:lnTo>
                  <a:lnTo>
                    <a:pt x="810" y="120"/>
                  </a:lnTo>
                  <a:lnTo>
                    <a:pt x="798" y="114"/>
                  </a:lnTo>
                  <a:lnTo>
                    <a:pt x="792" y="108"/>
                  </a:lnTo>
                  <a:lnTo>
                    <a:pt x="792" y="102"/>
                  </a:lnTo>
                  <a:lnTo>
                    <a:pt x="780" y="102"/>
                  </a:lnTo>
                  <a:lnTo>
                    <a:pt x="780" y="108"/>
                  </a:lnTo>
                  <a:lnTo>
                    <a:pt x="774" y="114"/>
                  </a:lnTo>
                  <a:lnTo>
                    <a:pt x="756" y="114"/>
                  </a:lnTo>
                  <a:lnTo>
                    <a:pt x="750" y="108"/>
                  </a:lnTo>
                  <a:lnTo>
                    <a:pt x="726" y="108"/>
                  </a:lnTo>
                  <a:lnTo>
                    <a:pt x="726" y="102"/>
                  </a:lnTo>
                  <a:lnTo>
                    <a:pt x="708" y="102"/>
                  </a:lnTo>
                  <a:lnTo>
                    <a:pt x="696" y="108"/>
                  </a:lnTo>
                  <a:lnTo>
                    <a:pt x="690" y="84"/>
                  </a:lnTo>
                  <a:lnTo>
                    <a:pt x="672" y="84"/>
                  </a:lnTo>
                  <a:lnTo>
                    <a:pt x="672" y="78"/>
                  </a:lnTo>
                  <a:lnTo>
                    <a:pt x="666" y="72"/>
                  </a:lnTo>
                  <a:lnTo>
                    <a:pt x="648" y="72"/>
                  </a:lnTo>
                  <a:lnTo>
                    <a:pt x="642" y="78"/>
                  </a:lnTo>
                  <a:lnTo>
                    <a:pt x="642" y="90"/>
                  </a:lnTo>
                  <a:lnTo>
                    <a:pt x="624" y="96"/>
                  </a:lnTo>
                  <a:lnTo>
                    <a:pt x="624" y="84"/>
                  </a:lnTo>
                  <a:lnTo>
                    <a:pt x="594" y="84"/>
                  </a:lnTo>
                  <a:lnTo>
                    <a:pt x="582" y="72"/>
                  </a:lnTo>
                  <a:lnTo>
                    <a:pt x="570" y="72"/>
                  </a:lnTo>
                  <a:lnTo>
                    <a:pt x="564" y="78"/>
                  </a:lnTo>
                  <a:lnTo>
                    <a:pt x="546" y="60"/>
                  </a:lnTo>
                  <a:lnTo>
                    <a:pt x="510" y="60"/>
                  </a:lnTo>
                  <a:lnTo>
                    <a:pt x="516" y="54"/>
                  </a:lnTo>
                  <a:lnTo>
                    <a:pt x="516" y="48"/>
                  </a:lnTo>
                  <a:lnTo>
                    <a:pt x="504" y="36"/>
                  </a:lnTo>
                  <a:lnTo>
                    <a:pt x="498" y="36"/>
                  </a:lnTo>
                  <a:lnTo>
                    <a:pt x="492" y="42"/>
                  </a:lnTo>
                  <a:lnTo>
                    <a:pt x="486" y="36"/>
                  </a:lnTo>
                  <a:lnTo>
                    <a:pt x="450" y="36"/>
                  </a:lnTo>
                  <a:lnTo>
                    <a:pt x="390" y="24"/>
                  </a:lnTo>
                  <a:lnTo>
                    <a:pt x="378" y="24"/>
                  </a:lnTo>
                  <a:lnTo>
                    <a:pt x="348" y="36"/>
                  </a:lnTo>
                  <a:lnTo>
                    <a:pt x="294" y="30"/>
                  </a:lnTo>
                  <a:lnTo>
                    <a:pt x="258" y="12"/>
                  </a:lnTo>
                  <a:lnTo>
                    <a:pt x="234" y="12"/>
                  </a:lnTo>
                  <a:lnTo>
                    <a:pt x="216" y="18"/>
                  </a:lnTo>
                  <a:lnTo>
                    <a:pt x="162" y="18"/>
                  </a:lnTo>
                  <a:lnTo>
                    <a:pt x="150" y="12"/>
                  </a:lnTo>
                  <a:lnTo>
                    <a:pt x="138" y="12"/>
                  </a:lnTo>
                  <a:lnTo>
                    <a:pt x="126" y="6"/>
                  </a:lnTo>
                  <a:lnTo>
                    <a:pt x="120" y="0"/>
                  </a:lnTo>
                  <a:lnTo>
                    <a:pt x="108" y="0"/>
                  </a:lnTo>
                  <a:lnTo>
                    <a:pt x="96" y="6"/>
                  </a:lnTo>
                  <a:lnTo>
                    <a:pt x="72" y="30"/>
                  </a:lnTo>
                  <a:lnTo>
                    <a:pt x="60" y="30"/>
                  </a:lnTo>
                  <a:lnTo>
                    <a:pt x="48" y="36"/>
                  </a:lnTo>
                  <a:lnTo>
                    <a:pt x="30" y="36"/>
                  </a:lnTo>
                  <a:lnTo>
                    <a:pt x="6" y="48"/>
                  </a:lnTo>
                  <a:lnTo>
                    <a:pt x="0" y="60"/>
                  </a:lnTo>
                  <a:lnTo>
                    <a:pt x="0" y="72"/>
                  </a:lnTo>
                  <a:lnTo>
                    <a:pt x="6" y="78"/>
                  </a:lnTo>
                  <a:lnTo>
                    <a:pt x="12" y="90"/>
                  </a:lnTo>
                  <a:lnTo>
                    <a:pt x="24" y="96"/>
                  </a:lnTo>
                  <a:lnTo>
                    <a:pt x="30" y="102"/>
                  </a:lnTo>
                  <a:lnTo>
                    <a:pt x="18" y="138"/>
                  </a:lnTo>
                  <a:lnTo>
                    <a:pt x="24" y="144"/>
                  </a:lnTo>
                  <a:lnTo>
                    <a:pt x="24" y="150"/>
                  </a:lnTo>
                  <a:lnTo>
                    <a:pt x="30" y="144"/>
                  </a:lnTo>
                  <a:lnTo>
                    <a:pt x="54" y="132"/>
                  </a:lnTo>
                  <a:lnTo>
                    <a:pt x="78" y="132"/>
                  </a:lnTo>
                  <a:lnTo>
                    <a:pt x="78" y="138"/>
                  </a:lnTo>
                  <a:lnTo>
                    <a:pt x="66" y="150"/>
                  </a:lnTo>
                  <a:lnTo>
                    <a:pt x="60" y="150"/>
                  </a:lnTo>
                  <a:lnTo>
                    <a:pt x="60" y="156"/>
                  </a:lnTo>
                  <a:lnTo>
                    <a:pt x="72" y="156"/>
                  </a:lnTo>
                  <a:lnTo>
                    <a:pt x="78" y="150"/>
                  </a:lnTo>
                  <a:lnTo>
                    <a:pt x="96" y="150"/>
                  </a:lnTo>
                  <a:lnTo>
                    <a:pt x="102" y="156"/>
                  </a:lnTo>
                  <a:lnTo>
                    <a:pt x="114" y="156"/>
                  </a:lnTo>
                  <a:lnTo>
                    <a:pt x="120" y="150"/>
                  </a:lnTo>
                  <a:lnTo>
                    <a:pt x="120" y="144"/>
                  </a:lnTo>
                  <a:lnTo>
                    <a:pt x="174" y="144"/>
                  </a:lnTo>
                  <a:lnTo>
                    <a:pt x="174" y="162"/>
                  </a:lnTo>
                  <a:lnTo>
                    <a:pt x="180" y="162"/>
                  </a:lnTo>
                  <a:lnTo>
                    <a:pt x="192" y="168"/>
                  </a:lnTo>
                  <a:lnTo>
                    <a:pt x="192" y="174"/>
                  </a:lnTo>
                  <a:lnTo>
                    <a:pt x="168" y="198"/>
                  </a:lnTo>
                  <a:lnTo>
                    <a:pt x="144" y="210"/>
                  </a:lnTo>
                  <a:lnTo>
                    <a:pt x="138" y="216"/>
                  </a:lnTo>
                  <a:lnTo>
                    <a:pt x="138" y="222"/>
                  </a:lnTo>
                  <a:lnTo>
                    <a:pt x="144" y="222"/>
                  </a:lnTo>
                  <a:lnTo>
                    <a:pt x="150" y="228"/>
                  </a:lnTo>
                  <a:lnTo>
                    <a:pt x="150" y="240"/>
                  </a:lnTo>
                  <a:lnTo>
                    <a:pt x="144" y="258"/>
                  </a:lnTo>
                  <a:lnTo>
                    <a:pt x="144" y="276"/>
                  </a:lnTo>
                  <a:lnTo>
                    <a:pt x="138" y="276"/>
                  </a:lnTo>
                  <a:lnTo>
                    <a:pt x="132" y="282"/>
                  </a:lnTo>
                  <a:lnTo>
                    <a:pt x="132" y="294"/>
                  </a:lnTo>
                  <a:lnTo>
                    <a:pt x="138" y="300"/>
                  </a:lnTo>
                  <a:lnTo>
                    <a:pt x="138" y="312"/>
                  </a:lnTo>
                  <a:lnTo>
                    <a:pt x="126" y="324"/>
                  </a:lnTo>
                  <a:lnTo>
                    <a:pt x="90" y="324"/>
                  </a:lnTo>
                  <a:lnTo>
                    <a:pt x="114" y="348"/>
                  </a:lnTo>
                  <a:lnTo>
                    <a:pt x="114" y="360"/>
                  </a:lnTo>
                  <a:lnTo>
                    <a:pt x="120" y="366"/>
                  </a:lnTo>
                  <a:lnTo>
                    <a:pt x="132" y="372"/>
                  </a:lnTo>
                  <a:lnTo>
                    <a:pt x="132" y="378"/>
                  </a:lnTo>
                  <a:lnTo>
                    <a:pt x="120" y="390"/>
                  </a:lnTo>
                  <a:lnTo>
                    <a:pt x="108" y="396"/>
                  </a:lnTo>
                  <a:lnTo>
                    <a:pt x="96" y="408"/>
                  </a:lnTo>
                  <a:lnTo>
                    <a:pt x="96" y="414"/>
                  </a:lnTo>
                  <a:lnTo>
                    <a:pt x="102" y="420"/>
                  </a:lnTo>
                  <a:lnTo>
                    <a:pt x="102" y="426"/>
                  </a:lnTo>
                  <a:lnTo>
                    <a:pt x="108" y="438"/>
                  </a:lnTo>
                  <a:lnTo>
                    <a:pt x="114" y="444"/>
                  </a:lnTo>
                  <a:lnTo>
                    <a:pt x="126" y="444"/>
                  </a:lnTo>
                  <a:lnTo>
                    <a:pt x="126" y="450"/>
                  </a:lnTo>
                  <a:lnTo>
                    <a:pt x="114" y="462"/>
                  </a:lnTo>
                  <a:lnTo>
                    <a:pt x="102" y="462"/>
                  </a:lnTo>
                  <a:lnTo>
                    <a:pt x="96" y="474"/>
                  </a:lnTo>
                  <a:lnTo>
                    <a:pt x="90" y="480"/>
                  </a:lnTo>
                  <a:lnTo>
                    <a:pt x="90" y="528"/>
                  </a:lnTo>
                  <a:lnTo>
                    <a:pt x="120" y="528"/>
                  </a:lnTo>
                  <a:lnTo>
                    <a:pt x="144" y="546"/>
                  </a:lnTo>
                  <a:lnTo>
                    <a:pt x="162" y="546"/>
                  </a:lnTo>
                  <a:lnTo>
                    <a:pt x="156" y="576"/>
                  </a:lnTo>
                  <a:lnTo>
                    <a:pt x="162" y="576"/>
                  </a:lnTo>
                  <a:lnTo>
                    <a:pt x="162" y="594"/>
                  </a:lnTo>
                  <a:lnTo>
                    <a:pt x="168" y="606"/>
                  </a:lnTo>
                  <a:lnTo>
                    <a:pt x="174" y="612"/>
                  </a:lnTo>
                  <a:lnTo>
                    <a:pt x="192" y="612"/>
                  </a:lnTo>
                  <a:lnTo>
                    <a:pt x="198" y="618"/>
                  </a:lnTo>
                  <a:lnTo>
                    <a:pt x="204" y="618"/>
                  </a:lnTo>
                  <a:lnTo>
                    <a:pt x="210" y="612"/>
                  </a:lnTo>
                  <a:lnTo>
                    <a:pt x="222" y="606"/>
                  </a:lnTo>
                  <a:lnTo>
                    <a:pt x="240" y="588"/>
                  </a:lnTo>
                  <a:lnTo>
                    <a:pt x="252" y="582"/>
                  </a:lnTo>
                  <a:lnTo>
                    <a:pt x="264" y="582"/>
                  </a:lnTo>
                  <a:lnTo>
                    <a:pt x="294" y="564"/>
                  </a:lnTo>
                  <a:lnTo>
                    <a:pt x="360" y="564"/>
                  </a:lnTo>
                  <a:lnTo>
                    <a:pt x="366" y="558"/>
                  </a:lnTo>
                  <a:lnTo>
                    <a:pt x="378" y="558"/>
                  </a:lnTo>
                  <a:lnTo>
                    <a:pt x="390" y="570"/>
                  </a:lnTo>
                  <a:lnTo>
                    <a:pt x="396" y="570"/>
                  </a:lnTo>
                  <a:lnTo>
                    <a:pt x="408" y="564"/>
                  </a:lnTo>
                  <a:lnTo>
                    <a:pt x="420" y="564"/>
                  </a:lnTo>
                  <a:lnTo>
                    <a:pt x="426" y="558"/>
                  </a:lnTo>
                  <a:lnTo>
                    <a:pt x="432" y="558"/>
                  </a:lnTo>
                  <a:lnTo>
                    <a:pt x="432" y="570"/>
                  </a:lnTo>
                  <a:lnTo>
                    <a:pt x="438" y="570"/>
                  </a:lnTo>
                  <a:lnTo>
                    <a:pt x="450" y="558"/>
                  </a:lnTo>
                  <a:lnTo>
                    <a:pt x="462" y="534"/>
                  </a:lnTo>
                  <a:lnTo>
                    <a:pt x="462" y="522"/>
                  </a:lnTo>
                  <a:lnTo>
                    <a:pt x="498" y="492"/>
                  </a:lnTo>
                  <a:lnTo>
                    <a:pt x="528" y="492"/>
                  </a:lnTo>
                  <a:lnTo>
                    <a:pt x="534" y="474"/>
                  </a:lnTo>
                  <a:lnTo>
                    <a:pt x="534" y="468"/>
                  </a:lnTo>
                  <a:lnTo>
                    <a:pt x="540" y="462"/>
                  </a:lnTo>
                  <a:lnTo>
                    <a:pt x="540" y="450"/>
                  </a:lnTo>
                  <a:lnTo>
                    <a:pt x="546" y="444"/>
                  </a:lnTo>
                  <a:lnTo>
                    <a:pt x="552" y="432"/>
                  </a:lnTo>
                  <a:lnTo>
                    <a:pt x="552" y="426"/>
                  </a:lnTo>
                  <a:lnTo>
                    <a:pt x="570" y="426"/>
                  </a:lnTo>
                  <a:lnTo>
                    <a:pt x="594" y="414"/>
                  </a:lnTo>
                  <a:lnTo>
                    <a:pt x="600" y="408"/>
                  </a:lnTo>
                  <a:lnTo>
                    <a:pt x="594" y="396"/>
                  </a:lnTo>
                  <a:lnTo>
                    <a:pt x="588" y="390"/>
                  </a:lnTo>
                  <a:lnTo>
                    <a:pt x="582" y="378"/>
                  </a:lnTo>
                  <a:lnTo>
                    <a:pt x="576" y="372"/>
                  </a:lnTo>
                  <a:lnTo>
                    <a:pt x="570" y="372"/>
                  </a:lnTo>
                  <a:lnTo>
                    <a:pt x="570" y="336"/>
                  </a:lnTo>
                  <a:lnTo>
                    <a:pt x="582" y="312"/>
                  </a:lnTo>
                  <a:lnTo>
                    <a:pt x="594" y="306"/>
                  </a:lnTo>
                  <a:lnTo>
                    <a:pt x="600" y="294"/>
                  </a:lnTo>
                  <a:lnTo>
                    <a:pt x="612" y="282"/>
                  </a:lnTo>
                  <a:lnTo>
                    <a:pt x="618" y="270"/>
                  </a:lnTo>
                  <a:lnTo>
                    <a:pt x="630" y="258"/>
                  </a:lnTo>
                  <a:lnTo>
                    <a:pt x="642" y="258"/>
                  </a:lnTo>
                  <a:lnTo>
                    <a:pt x="654" y="246"/>
                  </a:lnTo>
                  <a:lnTo>
                    <a:pt x="654" y="240"/>
                  </a:lnTo>
                  <a:lnTo>
                    <a:pt x="648" y="240"/>
                  </a:lnTo>
                  <a:lnTo>
                    <a:pt x="648" y="228"/>
                  </a:lnTo>
                  <a:lnTo>
                    <a:pt x="654" y="222"/>
                  </a:lnTo>
                  <a:lnTo>
                    <a:pt x="726" y="198"/>
                  </a:lnTo>
                  <a:lnTo>
                    <a:pt x="750" y="186"/>
                  </a:lnTo>
                  <a:lnTo>
                    <a:pt x="756" y="174"/>
                  </a:lnTo>
                  <a:lnTo>
                    <a:pt x="768" y="168"/>
                  </a:lnTo>
                  <a:lnTo>
                    <a:pt x="774" y="168"/>
                  </a:lnTo>
                  <a:lnTo>
                    <a:pt x="786" y="156"/>
                  </a:lnTo>
                  <a:lnTo>
                    <a:pt x="798" y="156"/>
                  </a:lnTo>
                  <a:lnTo>
                    <a:pt x="804" y="150"/>
                  </a:lnTo>
                  <a:close/>
                </a:path>
              </a:pathLst>
            </a:custGeom>
            <a:solidFill>
              <a:srgbClr val="005995"/>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73" name="Somalia" descr="© INSCALE GmbH, 05.05.2010&#10;http://www.presentationload.com/"/>
            <p:cNvSpPr>
              <a:spLocks/>
            </p:cNvSpPr>
            <p:nvPr/>
          </p:nvSpPr>
          <p:spPr bwMode="gray">
            <a:xfrm>
              <a:off x="5389567" y="3687762"/>
              <a:ext cx="287337" cy="446088"/>
            </a:xfrm>
            <a:custGeom>
              <a:avLst/>
              <a:gdLst>
                <a:gd name="T0" fmla="*/ 2147483647 w 714"/>
                <a:gd name="T1" fmla="*/ 2147483647 h 1104"/>
                <a:gd name="T2" fmla="*/ 2147483647 w 714"/>
                <a:gd name="T3" fmla="*/ 2147483647 h 1104"/>
                <a:gd name="T4" fmla="*/ 2147483647 w 714"/>
                <a:gd name="T5" fmla="*/ 2147483647 h 1104"/>
                <a:gd name="T6" fmla="*/ 2147483647 w 714"/>
                <a:gd name="T7" fmla="*/ 2147483647 h 1104"/>
                <a:gd name="T8" fmla="*/ 2147483647 w 714"/>
                <a:gd name="T9" fmla="*/ 2147483647 h 1104"/>
                <a:gd name="T10" fmla="*/ 2147483647 w 714"/>
                <a:gd name="T11" fmla="*/ 2147483647 h 1104"/>
                <a:gd name="T12" fmla="*/ 2147483647 w 714"/>
                <a:gd name="T13" fmla="*/ 2147483647 h 1104"/>
                <a:gd name="T14" fmla="*/ 2147483647 w 714"/>
                <a:gd name="T15" fmla="*/ 2147483647 h 1104"/>
                <a:gd name="T16" fmla="*/ 2147483647 w 714"/>
                <a:gd name="T17" fmla="*/ 2147483647 h 1104"/>
                <a:gd name="T18" fmla="*/ 2147483647 w 714"/>
                <a:gd name="T19" fmla="*/ 2147483647 h 1104"/>
                <a:gd name="T20" fmla="*/ 2147483647 w 714"/>
                <a:gd name="T21" fmla="*/ 2147483647 h 1104"/>
                <a:gd name="T22" fmla="*/ 2147483647 w 714"/>
                <a:gd name="T23" fmla="*/ 2147483647 h 1104"/>
                <a:gd name="T24" fmla="*/ 0 w 714"/>
                <a:gd name="T25" fmla="*/ 2147483647 h 1104"/>
                <a:gd name="T26" fmla="*/ 2147483647 w 714"/>
                <a:gd name="T27" fmla="*/ 2147483647 h 1104"/>
                <a:gd name="T28" fmla="*/ 2147483647 w 714"/>
                <a:gd name="T29" fmla="*/ 2147483647 h 1104"/>
                <a:gd name="T30" fmla="*/ 2147483647 w 714"/>
                <a:gd name="T31" fmla="*/ 2147483647 h 1104"/>
                <a:gd name="T32" fmla="*/ 2147483647 w 714"/>
                <a:gd name="T33" fmla="*/ 2147483647 h 1104"/>
                <a:gd name="T34" fmla="*/ 2147483647 w 714"/>
                <a:gd name="T35" fmla="*/ 2147483647 h 1104"/>
                <a:gd name="T36" fmla="*/ 2147483647 w 714"/>
                <a:gd name="T37" fmla="*/ 2147483647 h 1104"/>
                <a:gd name="T38" fmla="*/ 2147483647 w 714"/>
                <a:gd name="T39" fmla="*/ 2147483647 h 1104"/>
                <a:gd name="T40" fmla="*/ 2147483647 w 714"/>
                <a:gd name="T41" fmla="*/ 2147483647 h 1104"/>
                <a:gd name="T42" fmla="*/ 2147483647 w 714"/>
                <a:gd name="T43" fmla="*/ 2147483647 h 1104"/>
                <a:gd name="T44" fmla="*/ 2147483647 w 714"/>
                <a:gd name="T45" fmla="*/ 2147483647 h 1104"/>
                <a:gd name="T46" fmla="*/ 2147483647 w 714"/>
                <a:gd name="T47" fmla="*/ 2147483647 h 1104"/>
                <a:gd name="T48" fmla="*/ 2147483647 w 714"/>
                <a:gd name="T49" fmla="*/ 2147483647 h 1104"/>
                <a:gd name="T50" fmla="*/ 2147483647 w 714"/>
                <a:gd name="T51" fmla="*/ 2147483647 h 1104"/>
                <a:gd name="T52" fmla="*/ 2147483647 w 714"/>
                <a:gd name="T53" fmla="*/ 2147483647 h 1104"/>
                <a:gd name="T54" fmla="*/ 2147483647 w 714"/>
                <a:gd name="T55" fmla="*/ 2147483647 h 1104"/>
                <a:gd name="T56" fmla="*/ 2147483647 w 714"/>
                <a:gd name="T57" fmla="*/ 2147483647 h 1104"/>
                <a:gd name="T58" fmla="*/ 2147483647 w 714"/>
                <a:gd name="T59" fmla="*/ 2147483647 h 1104"/>
                <a:gd name="T60" fmla="*/ 2147483647 w 714"/>
                <a:gd name="T61" fmla="*/ 2147483647 h 1104"/>
                <a:gd name="T62" fmla="*/ 2147483647 w 714"/>
                <a:gd name="T63" fmla="*/ 2147483647 h 1104"/>
                <a:gd name="T64" fmla="*/ 2147483647 w 714"/>
                <a:gd name="T65" fmla="*/ 2147483647 h 1104"/>
                <a:gd name="T66" fmla="*/ 2147483647 w 714"/>
                <a:gd name="T67" fmla="*/ 2147483647 h 1104"/>
                <a:gd name="T68" fmla="*/ 2147483647 w 714"/>
                <a:gd name="T69" fmla="*/ 2147483647 h 1104"/>
                <a:gd name="T70" fmla="*/ 2147483647 w 714"/>
                <a:gd name="T71" fmla="*/ 2147483647 h 1104"/>
                <a:gd name="T72" fmla="*/ 2147483647 w 714"/>
                <a:gd name="T73" fmla="*/ 2147483647 h 1104"/>
                <a:gd name="T74" fmla="*/ 2147483647 w 714"/>
                <a:gd name="T75" fmla="*/ 2147483647 h 1104"/>
                <a:gd name="T76" fmla="*/ 2147483647 w 714"/>
                <a:gd name="T77" fmla="*/ 2147483647 h 1104"/>
                <a:gd name="T78" fmla="*/ 2147483647 w 714"/>
                <a:gd name="T79" fmla="*/ 2147483647 h 1104"/>
                <a:gd name="T80" fmla="*/ 2147483647 w 714"/>
                <a:gd name="T81" fmla="*/ 2147483647 h 1104"/>
                <a:gd name="T82" fmla="*/ 2147483647 w 714"/>
                <a:gd name="T83" fmla="*/ 2147483647 h 1104"/>
                <a:gd name="T84" fmla="*/ 2147483647 w 714"/>
                <a:gd name="T85" fmla="*/ 2147483647 h 1104"/>
                <a:gd name="T86" fmla="*/ 2147483647 w 714"/>
                <a:gd name="T87" fmla="*/ 2147483647 h 110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14"/>
                <a:gd name="T133" fmla="*/ 0 h 1104"/>
                <a:gd name="T134" fmla="*/ 714 w 714"/>
                <a:gd name="T135" fmla="*/ 1104 h 110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14" h="1104">
                  <a:moveTo>
                    <a:pt x="108" y="114"/>
                  </a:moveTo>
                  <a:lnTo>
                    <a:pt x="120" y="126"/>
                  </a:lnTo>
                  <a:lnTo>
                    <a:pt x="120" y="138"/>
                  </a:lnTo>
                  <a:lnTo>
                    <a:pt x="126" y="150"/>
                  </a:lnTo>
                  <a:lnTo>
                    <a:pt x="132" y="156"/>
                  </a:lnTo>
                  <a:lnTo>
                    <a:pt x="138" y="168"/>
                  </a:lnTo>
                  <a:lnTo>
                    <a:pt x="144" y="174"/>
                  </a:lnTo>
                  <a:lnTo>
                    <a:pt x="156" y="198"/>
                  </a:lnTo>
                  <a:lnTo>
                    <a:pt x="162" y="204"/>
                  </a:lnTo>
                  <a:lnTo>
                    <a:pt x="162" y="210"/>
                  </a:lnTo>
                  <a:lnTo>
                    <a:pt x="186" y="210"/>
                  </a:lnTo>
                  <a:lnTo>
                    <a:pt x="192" y="222"/>
                  </a:lnTo>
                  <a:lnTo>
                    <a:pt x="198" y="228"/>
                  </a:lnTo>
                  <a:lnTo>
                    <a:pt x="204" y="240"/>
                  </a:lnTo>
                  <a:lnTo>
                    <a:pt x="240" y="258"/>
                  </a:lnTo>
                  <a:lnTo>
                    <a:pt x="312" y="282"/>
                  </a:lnTo>
                  <a:lnTo>
                    <a:pt x="336" y="288"/>
                  </a:lnTo>
                  <a:lnTo>
                    <a:pt x="348" y="294"/>
                  </a:lnTo>
                  <a:lnTo>
                    <a:pt x="366" y="300"/>
                  </a:lnTo>
                  <a:lnTo>
                    <a:pt x="378" y="312"/>
                  </a:lnTo>
                  <a:lnTo>
                    <a:pt x="414" y="330"/>
                  </a:lnTo>
                  <a:lnTo>
                    <a:pt x="486" y="324"/>
                  </a:lnTo>
                  <a:lnTo>
                    <a:pt x="276" y="570"/>
                  </a:lnTo>
                  <a:lnTo>
                    <a:pt x="192" y="570"/>
                  </a:lnTo>
                  <a:lnTo>
                    <a:pt x="186" y="576"/>
                  </a:lnTo>
                  <a:lnTo>
                    <a:pt x="174" y="576"/>
                  </a:lnTo>
                  <a:lnTo>
                    <a:pt x="162" y="582"/>
                  </a:lnTo>
                  <a:lnTo>
                    <a:pt x="156" y="588"/>
                  </a:lnTo>
                  <a:lnTo>
                    <a:pt x="144" y="594"/>
                  </a:lnTo>
                  <a:lnTo>
                    <a:pt x="144" y="606"/>
                  </a:lnTo>
                  <a:lnTo>
                    <a:pt x="126" y="624"/>
                  </a:lnTo>
                  <a:lnTo>
                    <a:pt x="102" y="624"/>
                  </a:lnTo>
                  <a:lnTo>
                    <a:pt x="90" y="630"/>
                  </a:lnTo>
                  <a:lnTo>
                    <a:pt x="78" y="630"/>
                  </a:lnTo>
                  <a:lnTo>
                    <a:pt x="66" y="642"/>
                  </a:lnTo>
                  <a:lnTo>
                    <a:pt x="66" y="654"/>
                  </a:lnTo>
                  <a:lnTo>
                    <a:pt x="60" y="660"/>
                  </a:lnTo>
                  <a:lnTo>
                    <a:pt x="42" y="696"/>
                  </a:lnTo>
                  <a:lnTo>
                    <a:pt x="0" y="738"/>
                  </a:lnTo>
                  <a:lnTo>
                    <a:pt x="0" y="1038"/>
                  </a:lnTo>
                  <a:lnTo>
                    <a:pt x="42" y="1104"/>
                  </a:lnTo>
                  <a:lnTo>
                    <a:pt x="48" y="1086"/>
                  </a:lnTo>
                  <a:lnTo>
                    <a:pt x="84" y="1032"/>
                  </a:lnTo>
                  <a:lnTo>
                    <a:pt x="96" y="1008"/>
                  </a:lnTo>
                  <a:lnTo>
                    <a:pt x="114" y="996"/>
                  </a:lnTo>
                  <a:lnTo>
                    <a:pt x="144" y="966"/>
                  </a:lnTo>
                  <a:lnTo>
                    <a:pt x="150" y="954"/>
                  </a:lnTo>
                  <a:lnTo>
                    <a:pt x="162" y="936"/>
                  </a:lnTo>
                  <a:lnTo>
                    <a:pt x="192" y="906"/>
                  </a:lnTo>
                  <a:lnTo>
                    <a:pt x="216" y="876"/>
                  </a:lnTo>
                  <a:lnTo>
                    <a:pt x="246" y="846"/>
                  </a:lnTo>
                  <a:lnTo>
                    <a:pt x="264" y="840"/>
                  </a:lnTo>
                  <a:lnTo>
                    <a:pt x="276" y="828"/>
                  </a:lnTo>
                  <a:lnTo>
                    <a:pt x="294" y="816"/>
                  </a:lnTo>
                  <a:lnTo>
                    <a:pt x="318" y="804"/>
                  </a:lnTo>
                  <a:lnTo>
                    <a:pt x="336" y="786"/>
                  </a:lnTo>
                  <a:lnTo>
                    <a:pt x="372" y="756"/>
                  </a:lnTo>
                  <a:lnTo>
                    <a:pt x="420" y="708"/>
                  </a:lnTo>
                  <a:lnTo>
                    <a:pt x="438" y="684"/>
                  </a:lnTo>
                  <a:lnTo>
                    <a:pt x="462" y="654"/>
                  </a:lnTo>
                  <a:lnTo>
                    <a:pt x="492" y="618"/>
                  </a:lnTo>
                  <a:lnTo>
                    <a:pt x="516" y="570"/>
                  </a:lnTo>
                  <a:lnTo>
                    <a:pt x="528" y="540"/>
                  </a:lnTo>
                  <a:lnTo>
                    <a:pt x="546" y="516"/>
                  </a:lnTo>
                  <a:lnTo>
                    <a:pt x="558" y="498"/>
                  </a:lnTo>
                  <a:lnTo>
                    <a:pt x="564" y="492"/>
                  </a:lnTo>
                  <a:lnTo>
                    <a:pt x="570" y="480"/>
                  </a:lnTo>
                  <a:lnTo>
                    <a:pt x="576" y="474"/>
                  </a:lnTo>
                  <a:lnTo>
                    <a:pt x="576" y="450"/>
                  </a:lnTo>
                  <a:lnTo>
                    <a:pt x="582" y="432"/>
                  </a:lnTo>
                  <a:lnTo>
                    <a:pt x="588" y="420"/>
                  </a:lnTo>
                  <a:lnTo>
                    <a:pt x="588" y="402"/>
                  </a:lnTo>
                  <a:lnTo>
                    <a:pt x="594" y="390"/>
                  </a:lnTo>
                  <a:lnTo>
                    <a:pt x="606" y="378"/>
                  </a:lnTo>
                  <a:lnTo>
                    <a:pt x="612" y="366"/>
                  </a:lnTo>
                  <a:lnTo>
                    <a:pt x="624" y="354"/>
                  </a:lnTo>
                  <a:lnTo>
                    <a:pt x="624" y="324"/>
                  </a:lnTo>
                  <a:lnTo>
                    <a:pt x="636" y="318"/>
                  </a:lnTo>
                  <a:lnTo>
                    <a:pt x="642" y="306"/>
                  </a:lnTo>
                  <a:lnTo>
                    <a:pt x="660" y="252"/>
                  </a:lnTo>
                  <a:lnTo>
                    <a:pt x="672" y="252"/>
                  </a:lnTo>
                  <a:lnTo>
                    <a:pt x="672" y="246"/>
                  </a:lnTo>
                  <a:lnTo>
                    <a:pt x="684" y="234"/>
                  </a:lnTo>
                  <a:lnTo>
                    <a:pt x="684" y="138"/>
                  </a:lnTo>
                  <a:lnTo>
                    <a:pt x="708" y="126"/>
                  </a:lnTo>
                  <a:lnTo>
                    <a:pt x="702" y="54"/>
                  </a:lnTo>
                  <a:lnTo>
                    <a:pt x="708" y="42"/>
                  </a:lnTo>
                  <a:lnTo>
                    <a:pt x="708" y="36"/>
                  </a:lnTo>
                  <a:lnTo>
                    <a:pt x="714" y="24"/>
                  </a:lnTo>
                  <a:lnTo>
                    <a:pt x="714" y="12"/>
                  </a:lnTo>
                  <a:lnTo>
                    <a:pt x="690" y="0"/>
                  </a:lnTo>
                  <a:lnTo>
                    <a:pt x="672" y="0"/>
                  </a:lnTo>
                  <a:lnTo>
                    <a:pt x="666" y="12"/>
                  </a:lnTo>
                  <a:lnTo>
                    <a:pt x="654" y="18"/>
                  </a:lnTo>
                  <a:lnTo>
                    <a:pt x="648" y="30"/>
                  </a:lnTo>
                  <a:lnTo>
                    <a:pt x="624" y="42"/>
                  </a:lnTo>
                  <a:lnTo>
                    <a:pt x="612" y="42"/>
                  </a:lnTo>
                  <a:lnTo>
                    <a:pt x="594" y="48"/>
                  </a:lnTo>
                  <a:lnTo>
                    <a:pt x="582" y="54"/>
                  </a:lnTo>
                  <a:lnTo>
                    <a:pt x="564" y="54"/>
                  </a:lnTo>
                  <a:lnTo>
                    <a:pt x="546" y="48"/>
                  </a:lnTo>
                  <a:lnTo>
                    <a:pt x="534" y="42"/>
                  </a:lnTo>
                  <a:lnTo>
                    <a:pt x="516" y="48"/>
                  </a:lnTo>
                  <a:lnTo>
                    <a:pt x="510" y="54"/>
                  </a:lnTo>
                  <a:lnTo>
                    <a:pt x="498" y="60"/>
                  </a:lnTo>
                  <a:lnTo>
                    <a:pt x="492" y="72"/>
                  </a:lnTo>
                  <a:lnTo>
                    <a:pt x="486" y="78"/>
                  </a:lnTo>
                  <a:lnTo>
                    <a:pt x="474" y="78"/>
                  </a:lnTo>
                  <a:lnTo>
                    <a:pt x="462" y="72"/>
                  </a:lnTo>
                  <a:lnTo>
                    <a:pt x="456" y="60"/>
                  </a:lnTo>
                  <a:lnTo>
                    <a:pt x="444" y="60"/>
                  </a:lnTo>
                  <a:lnTo>
                    <a:pt x="438" y="66"/>
                  </a:lnTo>
                  <a:lnTo>
                    <a:pt x="426" y="72"/>
                  </a:lnTo>
                  <a:lnTo>
                    <a:pt x="396" y="102"/>
                  </a:lnTo>
                  <a:lnTo>
                    <a:pt x="384" y="108"/>
                  </a:lnTo>
                  <a:lnTo>
                    <a:pt x="372" y="108"/>
                  </a:lnTo>
                  <a:lnTo>
                    <a:pt x="360" y="102"/>
                  </a:lnTo>
                  <a:lnTo>
                    <a:pt x="354" y="96"/>
                  </a:lnTo>
                  <a:lnTo>
                    <a:pt x="342" y="90"/>
                  </a:lnTo>
                  <a:lnTo>
                    <a:pt x="330" y="90"/>
                  </a:lnTo>
                  <a:lnTo>
                    <a:pt x="306" y="102"/>
                  </a:lnTo>
                  <a:lnTo>
                    <a:pt x="294" y="114"/>
                  </a:lnTo>
                  <a:lnTo>
                    <a:pt x="270" y="126"/>
                  </a:lnTo>
                  <a:lnTo>
                    <a:pt x="210" y="126"/>
                  </a:lnTo>
                  <a:lnTo>
                    <a:pt x="192" y="108"/>
                  </a:lnTo>
                  <a:lnTo>
                    <a:pt x="186" y="96"/>
                  </a:lnTo>
                  <a:lnTo>
                    <a:pt x="174" y="90"/>
                  </a:lnTo>
                  <a:lnTo>
                    <a:pt x="168" y="78"/>
                  </a:lnTo>
                  <a:lnTo>
                    <a:pt x="168" y="66"/>
                  </a:lnTo>
                  <a:lnTo>
                    <a:pt x="156" y="54"/>
                  </a:lnTo>
                  <a:lnTo>
                    <a:pt x="150" y="54"/>
                  </a:lnTo>
                  <a:lnTo>
                    <a:pt x="126" y="78"/>
                  </a:lnTo>
                  <a:lnTo>
                    <a:pt x="108" y="114"/>
                  </a:lnTo>
                  <a:close/>
                </a:path>
              </a:pathLst>
            </a:custGeom>
            <a:solidFill>
              <a:srgbClr val="692864"/>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74" name="Solomon Islands" descr="© INSCALE GmbH, 05.05.2010&#10;http://www.presentationload.com/"/>
            <p:cNvSpPr>
              <a:spLocks noEditPoints="1"/>
            </p:cNvSpPr>
            <p:nvPr/>
          </p:nvSpPr>
          <p:spPr bwMode="gray">
            <a:xfrm>
              <a:off x="8693158" y="4295774"/>
              <a:ext cx="149225" cy="139700"/>
            </a:xfrm>
            <a:custGeom>
              <a:avLst/>
              <a:gdLst>
                <a:gd name="T0" fmla="*/ 2147483647 w 372"/>
                <a:gd name="T1" fmla="*/ 0 h 348"/>
                <a:gd name="T2" fmla="*/ 2147483647 w 372"/>
                <a:gd name="T3" fmla="*/ 2147483647 h 348"/>
                <a:gd name="T4" fmla="*/ 0 w 372"/>
                <a:gd name="T5" fmla="*/ 2147483647 h 348"/>
                <a:gd name="T6" fmla="*/ 2147483647 w 372"/>
                <a:gd name="T7" fmla="*/ 2147483647 h 348"/>
                <a:gd name="T8" fmla="*/ 0 w 372"/>
                <a:gd name="T9" fmla="*/ 2147483647 h 348"/>
                <a:gd name="T10" fmla="*/ 2147483647 w 372"/>
                <a:gd name="T11" fmla="*/ 2147483647 h 348"/>
                <a:gd name="T12" fmla="*/ 2147483647 w 372"/>
                <a:gd name="T13" fmla="*/ 2147483647 h 348"/>
                <a:gd name="T14" fmla="*/ 2147483647 w 372"/>
                <a:gd name="T15" fmla="*/ 2147483647 h 348"/>
                <a:gd name="T16" fmla="*/ 2147483647 w 372"/>
                <a:gd name="T17" fmla="*/ 2147483647 h 348"/>
                <a:gd name="T18" fmla="*/ 2147483647 w 372"/>
                <a:gd name="T19" fmla="*/ 2147483647 h 348"/>
                <a:gd name="T20" fmla="*/ 2147483647 w 372"/>
                <a:gd name="T21" fmla="*/ 2147483647 h 348"/>
                <a:gd name="T22" fmla="*/ 2147483647 w 372"/>
                <a:gd name="T23" fmla="*/ 2147483647 h 348"/>
                <a:gd name="T24" fmla="*/ 2147483647 w 372"/>
                <a:gd name="T25" fmla="*/ 2147483647 h 348"/>
                <a:gd name="T26" fmla="*/ 2147483647 w 372"/>
                <a:gd name="T27" fmla="*/ 2147483647 h 348"/>
                <a:gd name="T28" fmla="*/ 2147483647 w 372"/>
                <a:gd name="T29" fmla="*/ 2147483647 h 348"/>
                <a:gd name="T30" fmla="*/ 2147483647 w 372"/>
                <a:gd name="T31" fmla="*/ 2147483647 h 348"/>
                <a:gd name="T32" fmla="*/ 2147483647 w 372"/>
                <a:gd name="T33" fmla="*/ 2147483647 h 348"/>
                <a:gd name="T34" fmla="*/ 2147483647 w 372"/>
                <a:gd name="T35" fmla="*/ 2147483647 h 348"/>
                <a:gd name="T36" fmla="*/ 2147483647 w 372"/>
                <a:gd name="T37" fmla="*/ 2147483647 h 348"/>
                <a:gd name="T38" fmla="*/ 2147483647 w 372"/>
                <a:gd name="T39" fmla="*/ 2147483647 h 348"/>
                <a:gd name="T40" fmla="*/ 2147483647 w 372"/>
                <a:gd name="T41" fmla="*/ 2147483647 h 348"/>
                <a:gd name="T42" fmla="*/ 2147483647 w 372"/>
                <a:gd name="T43" fmla="*/ 2147483647 h 348"/>
                <a:gd name="T44" fmla="*/ 2147483647 w 372"/>
                <a:gd name="T45" fmla="*/ 2147483647 h 348"/>
                <a:gd name="T46" fmla="*/ 2147483647 w 372"/>
                <a:gd name="T47" fmla="*/ 2147483647 h 348"/>
                <a:gd name="T48" fmla="*/ 2147483647 w 372"/>
                <a:gd name="T49" fmla="*/ 2147483647 h 348"/>
                <a:gd name="T50" fmla="*/ 2147483647 w 372"/>
                <a:gd name="T51" fmla="*/ 2147483647 h 348"/>
                <a:gd name="T52" fmla="*/ 2147483647 w 372"/>
                <a:gd name="T53" fmla="*/ 2147483647 h 348"/>
                <a:gd name="T54" fmla="*/ 2147483647 w 372"/>
                <a:gd name="T55" fmla="*/ 2147483647 h 348"/>
                <a:gd name="T56" fmla="*/ 2147483647 w 372"/>
                <a:gd name="T57" fmla="*/ 2147483647 h 348"/>
                <a:gd name="T58" fmla="*/ 2147483647 w 372"/>
                <a:gd name="T59" fmla="*/ 2147483647 h 348"/>
                <a:gd name="T60" fmla="*/ 2147483647 w 372"/>
                <a:gd name="T61" fmla="*/ 2147483647 h 348"/>
                <a:gd name="T62" fmla="*/ 2147483647 w 372"/>
                <a:gd name="T63" fmla="*/ 2147483647 h 34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2"/>
                <a:gd name="T97" fmla="*/ 0 h 348"/>
                <a:gd name="T98" fmla="*/ 372 w 372"/>
                <a:gd name="T99" fmla="*/ 348 h 34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2" h="348">
                  <a:moveTo>
                    <a:pt x="30" y="18"/>
                  </a:moveTo>
                  <a:lnTo>
                    <a:pt x="12" y="0"/>
                  </a:lnTo>
                  <a:lnTo>
                    <a:pt x="6" y="24"/>
                  </a:lnTo>
                  <a:lnTo>
                    <a:pt x="24" y="48"/>
                  </a:lnTo>
                  <a:lnTo>
                    <a:pt x="30" y="18"/>
                  </a:lnTo>
                  <a:close/>
                  <a:moveTo>
                    <a:pt x="0" y="126"/>
                  </a:moveTo>
                  <a:lnTo>
                    <a:pt x="18" y="132"/>
                  </a:lnTo>
                  <a:lnTo>
                    <a:pt x="36" y="102"/>
                  </a:lnTo>
                  <a:lnTo>
                    <a:pt x="0" y="102"/>
                  </a:lnTo>
                  <a:lnTo>
                    <a:pt x="0" y="126"/>
                  </a:lnTo>
                  <a:close/>
                  <a:moveTo>
                    <a:pt x="78" y="120"/>
                  </a:moveTo>
                  <a:lnTo>
                    <a:pt x="36" y="120"/>
                  </a:lnTo>
                  <a:lnTo>
                    <a:pt x="42" y="144"/>
                  </a:lnTo>
                  <a:lnTo>
                    <a:pt x="78" y="132"/>
                  </a:lnTo>
                  <a:lnTo>
                    <a:pt x="78" y="120"/>
                  </a:lnTo>
                  <a:close/>
                  <a:moveTo>
                    <a:pt x="60" y="186"/>
                  </a:moveTo>
                  <a:lnTo>
                    <a:pt x="96" y="186"/>
                  </a:lnTo>
                  <a:lnTo>
                    <a:pt x="48" y="150"/>
                  </a:lnTo>
                  <a:lnTo>
                    <a:pt x="60" y="186"/>
                  </a:lnTo>
                  <a:close/>
                  <a:moveTo>
                    <a:pt x="246" y="222"/>
                  </a:moveTo>
                  <a:lnTo>
                    <a:pt x="222" y="210"/>
                  </a:lnTo>
                  <a:lnTo>
                    <a:pt x="192" y="210"/>
                  </a:lnTo>
                  <a:lnTo>
                    <a:pt x="192" y="228"/>
                  </a:lnTo>
                  <a:lnTo>
                    <a:pt x="198" y="234"/>
                  </a:lnTo>
                  <a:lnTo>
                    <a:pt x="204" y="246"/>
                  </a:lnTo>
                  <a:lnTo>
                    <a:pt x="216" y="252"/>
                  </a:lnTo>
                  <a:lnTo>
                    <a:pt x="252" y="264"/>
                  </a:lnTo>
                  <a:lnTo>
                    <a:pt x="264" y="264"/>
                  </a:lnTo>
                  <a:lnTo>
                    <a:pt x="276" y="258"/>
                  </a:lnTo>
                  <a:lnTo>
                    <a:pt x="276" y="252"/>
                  </a:lnTo>
                  <a:lnTo>
                    <a:pt x="270" y="246"/>
                  </a:lnTo>
                  <a:lnTo>
                    <a:pt x="264" y="234"/>
                  </a:lnTo>
                  <a:lnTo>
                    <a:pt x="246" y="222"/>
                  </a:lnTo>
                  <a:close/>
                  <a:moveTo>
                    <a:pt x="312" y="288"/>
                  </a:moveTo>
                  <a:lnTo>
                    <a:pt x="360" y="348"/>
                  </a:lnTo>
                  <a:lnTo>
                    <a:pt x="372" y="318"/>
                  </a:lnTo>
                  <a:lnTo>
                    <a:pt x="312" y="288"/>
                  </a:lnTo>
                  <a:close/>
                  <a:moveTo>
                    <a:pt x="288" y="126"/>
                  </a:moveTo>
                  <a:lnTo>
                    <a:pt x="288" y="132"/>
                  </a:lnTo>
                  <a:lnTo>
                    <a:pt x="282" y="138"/>
                  </a:lnTo>
                  <a:lnTo>
                    <a:pt x="282" y="150"/>
                  </a:lnTo>
                  <a:lnTo>
                    <a:pt x="276" y="162"/>
                  </a:lnTo>
                  <a:lnTo>
                    <a:pt x="276" y="192"/>
                  </a:lnTo>
                  <a:lnTo>
                    <a:pt x="312" y="228"/>
                  </a:lnTo>
                  <a:lnTo>
                    <a:pt x="324" y="234"/>
                  </a:lnTo>
                  <a:lnTo>
                    <a:pt x="330" y="240"/>
                  </a:lnTo>
                  <a:lnTo>
                    <a:pt x="288" y="126"/>
                  </a:lnTo>
                  <a:close/>
                  <a:moveTo>
                    <a:pt x="120" y="60"/>
                  </a:moveTo>
                  <a:lnTo>
                    <a:pt x="120" y="66"/>
                  </a:lnTo>
                  <a:lnTo>
                    <a:pt x="126" y="78"/>
                  </a:lnTo>
                  <a:lnTo>
                    <a:pt x="138" y="90"/>
                  </a:lnTo>
                  <a:lnTo>
                    <a:pt x="150" y="108"/>
                  </a:lnTo>
                  <a:lnTo>
                    <a:pt x="168" y="120"/>
                  </a:lnTo>
                  <a:lnTo>
                    <a:pt x="192" y="144"/>
                  </a:lnTo>
                  <a:lnTo>
                    <a:pt x="204" y="150"/>
                  </a:lnTo>
                  <a:lnTo>
                    <a:pt x="216" y="150"/>
                  </a:lnTo>
                  <a:lnTo>
                    <a:pt x="210" y="138"/>
                  </a:lnTo>
                  <a:lnTo>
                    <a:pt x="204" y="132"/>
                  </a:lnTo>
                  <a:lnTo>
                    <a:pt x="198" y="120"/>
                  </a:lnTo>
                  <a:lnTo>
                    <a:pt x="186" y="108"/>
                  </a:lnTo>
                  <a:lnTo>
                    <a:pt x="174" y="90"/>
                  </a:lnTo>
                  <a:lnTo>
                    <a:pt x="156" y="78"/>
                  </a:lnTo>
                  <a:lnTo>
                    <a:pt x="144" y="66"/>
                  </a:lnTo>
                  <a:lnTo>
                    <a:pt x="132" y="60"/>
                  </a:lnTo>
                  <a:lnTo>
                    <a:pt x="120" y="60"/>
                  </a:lnTo>
                  <a:close/>
                </a:path>
              </a:pathLst>
            </a:custGeom>
            <a:gradFill flip="none" rotWithShape="1">
              <a:gsLst>
                <a:gs pos="0">
                  <a:srgbClr val="7030A0">
                    <a:shade val="30000"/>
                    <a:satMod val="115000"/>
                  </a:srgbClr>
                </a:gs>
                <a:gs pos="50000">
                  <a:srgbClr val="7030A0">
                    <a:shade val="67500"/>
                    <a:satMod val="115000"/>
                  </a:srgbClr>
                </a:gs>
                <a:gs pos="100000">
                  <a:srgbClr val="7030A0">
                    <a:shade val="100000"/>
                    <a:satMod val="115000"/>
                  </a:srgbClr>
                </a:gs>
              </a:gsLst>
              <a:lin ang="0" scaled="1"/>
              <a:tileRect/>
            </a:gra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75" name="Slovenia" descr="© INSCALE GmbH, 05.05.2010&#10;http://www.presentationload.com/"/>
            <p:cNvSpPr>
              <a:spLocks/>
            </p:cNvSpPr>
            <p:nvPr/>
          </p:nvSpPr>
          <p:spPr bwMode="gray">
            <a:xfrm>
              <a:off x="4584703" y="2557463"/>
              <a:ext cx="84138" cy="49213"/>
            </a:xfrm>
            <a:custGeom>
              <a:avLst/>
              <a:gdLst>
                <a:gd name="T0" fmla="*/ 2147483647 w 210"/>
                <a:gd name="T1" fmla="*/ 2147483647 h 120"/>
                <a:gd name="T2" fmla="*/ 2147483647 w 210"/>
                <a:gd name="T3" fmla="*/ 2147483647 h 120"/>
                <a:gd name="T4" fmla="*/ 2147483647 w 210"/>
                <a:gd name="T5" fmla="*/ 2147483647 h 120"/>
                <a:gd name="T6" fmla="*/ 2147483647 w 210"/>
                <a:gd name="T7" fmla="*/ 2147483647 h 120"/>
                <a:gd name="T8" fmla="*/ 2147483647 w 210"/>
                <a:gd name="T9" fmla="*/ 2147483647 h 120"/>
                <a:gd name="T10" fmla="*/ 2147483647 w 210"/>
                <a:gd name="T11" fmla="*/ 2147483647 h 120"/>
                <a:gd name="T12" fmla="*/ 2147483647 w 210"/>
                <a:gd name="T13" fmla="*/ 2147483647 h 120"/>
                <a:gd name="T14" fmla="*/ 2147483647 w 210"/>
                <a:gd name="T15" fmla="*/ 2147483647 h 120"/>
                <a:gd name="T16" fmla="*/ 2147483647 w 210"/>
                <a:gd name="T17" fmla="*/ 2147483647 h 120"/>
                <a:gd name="T18" fmla="*/ 2147483647 w 210"/>
                <a:gd name="T19" fmla="*/ 2147483647 h 120"/>
                <a:gd name="T20" fmla="*/ 2147483647 w 210"/>
                <a:gd name="T21" fmla="*/ 2147483647 h 120"/>
                <a:gd name="T22" fmla="*/ 2147483647 w 210"/>
                <a:gd name="T23" fmla="*/ 2147483647 h 120"/>
                <a:gd name="T24" fmla="*/ 2147483647 w 210"/>
                <a:gd name="T25" fmla="*/ 2147483647 h 120"/>
                <a:gd name="T26" fmla="*/ 2147483647 w 210"/>
                <a:gd name="T27" fmla="*/ 2147483647 h 120"/>
                <a:gd name="T28" fmla="*/ 2147483647 w 210"/>
                <a:gd name="T29" fmla="*/ 2147483647 h 120"/>
                <a:gd name="T30" fmla="*/ 2147483647 w 210"/>
                <a:gd name="T31" fmla="*/ 2147483647 h 120"/>
                <a:gd name="T32" fmla="*/ 2147483647 w 210"/>
                <a:gd name="T33" fmla="*/ 2147483647 h 120"/>
                <a:gd name="T34" fmla="*/ 2147483647 w 210"/>
                <a:gd name="T35" fmla="*/ 2147483647 h 120"/>
                <a:gd name="T36" fmla="*/ 2147483647 w 210"/>
                <a:gd name="T37" fmla="*/ 2147483647 h 120"/>
                <a:gd name="T38" fmla="*/ 2147483647 w 210"/>
                <a:gd name="T39" fmla="*/ 2147483647 h 120"/>
                <a:gd name="T40" fmla="*/ 2147483647 w 210"/>
                <a:gd name="T41" fmla="*/ 2147483647 h 120"/>
                <a:gd name="T42" fmla="*/ 2147483647 w 210"/>
                <a:gd name="T43" fmla="*/ 0 h 120"/>
                <a:gd name="T44" fmla="*/ 2147483647 w 210"/>
                <a:gd name="T45" fmla="*/ 2147483647 h 120"/>
                <a:gd name="T46" fmla="*/ 2147483647 w 210"/>
                <a:gd name="T47" fmla="*/ 2147483647 h 120"/>
                <a:gd name="T48" fmla="*/ 2147483647 w 210"/>
                <a:gd name="T49" fmla="*/ 2147483647 h 120"/>
                <a:gd name="T50" fmla="*/ 2147483647 w 210"/>
                <a:gd name="T51" fmla="*/ 2147483647 h 120"/>
                <a:gd name="T52" fmla="*/ 2147483647 w 210"/>
                <a:gd name="T53" fmla="*/ 2147483647 h 120"/>
                <a:gd name="T54" fmla="*/ 2147483647 w 210"/>
                <a:gd name="T55" fmla="*/ 2147483647 h 120"/>
                <a:gd name="T56" fmla="*/ 2147483647 w 210"/>
                <a:gd name="T57" fmla="*/ 2147483647 h 120"/>
                <a:gd name="T58" fmla="*/ 2147483647 w 210"/>
                <a:gd name="T59" fmla="*/ 2147483647 h 120"/>
                <a:gd name="T60" fmla="*/ 2147483647 w 210"/>
                <a:gd name="T61" fmla="*/ 2147483647 h 120"/>
                <a:gd name="T62" fmla="*/ 2147483647 w 210"/>
                <a:gd name="T63" fmla="*/ 2147483647 h 120"/>
                <a:gd name="T64" fmla="*/ 2147483647 w 210"/>
                <a:gd name="T65" fmla="*/ 2147483647 h 120"/>
                <a:gd name="T66" fmla="*/ 2147483647 w 210"/>
                <a:gd name="T67" fmla="*/ 2147483647 h 120"/>
                <a:gd name="T68" fmla="*/ 0 w 210"/>
                <a:gd name="T69" fmla="*/ 2147483647 h 120"/>
                <a:gd name="T70" fmla="*/ 2147483647 w 210"/>
                <a:gd name="T71" fmla="*/ 2147483647 h 120"/>
                <a:gd name="T72" fmla="*/ 2147483647 w 210"/>
                <a:gd name="T73" fmla="*/ 2147483647 h 120"/>
                <a:gd name="T74" fmla="*/ 2147483647 w 210"/>
                <a:gd name="T75" fmla="*/ 2147483647 h 120"/>
                <a:gd name="T76" fmla="*/ 2147483647 w 210"/>
                <a:gd name="T77" fmla="*/ 2147483647 h 120"/>
                <a:gd name="T78" fmla="*/ 2147483647 w 210"/>
                <a:gd name="T79" fmla="*/ 2147483647 h 120"/>
                <a:gd name="T80" fmla="*/ 2147483647 w 210"/>
                <a:gd name="T81" fmla="*/ 2147483647 h 120"/>
                <a:gd name="T82" fmla="*/ 2147483647 w 210"/>
                <a:gd name="T83" fmla="*/ 2147483647 h 120"/>
                <a:gd name="T84" fmla="*/ 2147483647 w 210"/>
                <a:gd name="T85" fmla="*/ 2147483647 h 120"/>
                <a:gd name="T86" fmla="*/ 2147483647 w 210"/>
                <a:gd name="T87" fmla="*/ 2147483647 h 12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0"/>
                <a:gd name="T133" fmla="*/ 0 h 120"/>
                <a:gd name="T134" fmla="*/ 210 w 210"/>
                <a:gd name="T135" fmla="*/ 120 h 12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0" h="120">
                  <a:moveTo>
                    <a:pt x="24" y="120"/>
                  </a:moveTo>
                  <a:lnTo>
                    <a:pt x="42" y="120"/>
                  </a:lnTo>
                  <a:lnTo>
                    <a:pt x="42" y="108"/>
                  </a:lnTo>
                  <a:lnTo>
                    <a:pt x="54" y="114"/>
                  </a:lnTo>
                  <a:lnTo>
                    <a:pt x="72" y="114"/>
                  </a:lnTo>
                  <a:lnTo>
                    <a:pt x="78" y="102"/>
                  </a:lnTo>
                  <a:lnTo>
                    <a:pt x="78" y="108"/>
                  </a:lnTo>
                  <a:lnTo>
                    <a:pt x="84" y="114"/>
                  </a:lnTo>
                  <a:lnTo>
                    <a:pt x="126" y="114"/>
                  </a:lnTo>
                  <a:lnTo>
                    <a:pt x="126" y="96"/>
                  </a:lnTo>
                  <a:lnTo>
                    <a:pt x="138" y="90"/>
                  </a:lnTo>
                  <a:lnTo>
                    <a:pt x="150" y="78"/>
                  </a:lnTo>
                  <a:lnTo>
                    <a:pt x="150" y="72"/>
                  </a:lnTo>
                  <a:lnTo>
                    <a:pt x="144" y="66"/>
                  </a:lnTo>
                  <a:lnTo>
                    <a:pt x="144" y="54"/>
                  </a:lnTo>
                  <a:lnTo>
                    <a:pt x="174" y="54"/>
                  </a:lnTo>
                  <a:lnTo>
                    <a:pt x="186" y="48"/>
                  </a:lnTo>
                  <a:lnTo>
                    <a:pt x="186" y="36"/>
                  </a:lnTo>
                  <a:lnTo>
                    <a:pt x="210" y="36"/>
                  </a:lnTo>
                  <a:lnTo>
                    <a:pt x="192" y="24"/>
                  </a:lnTo>
                  <a:lnTo>
                    <a:pt x="186" y="6"/>
                  </a:lnTo>
                  <a:lnTo>
                    <a:pt x="180" y="0"/>
                  </a:lnTo>
                  <a:lnTo>
                    <a:pt x="174" y="12"/>
                  </a:lnTo>
                  <a:lnTo>
                    <a:pt x="168" y="30"/>
                  </a:lnTo>
                  <a:lnTo>
                    <a:pt x="144" y="24"/>
                  </a:lnTo>
                  <a:lnTo>
                    <a:pt x="132" y="30"/>
                  </a:lnTo>
                  <a:lnTo>
                    <a:pt x="84" y="30"/>
                  </a:lnTo>
                  <a:lnTo>
                    <a:pt x="84" y="42"/>
                  </a:lnTo>
                  <a:lnTo>
                    <a:pt x="54" y="42"/>
                  </a:lnTo>
                  <a:lnTo>
                    <a:pt x="48" y="36"/>
                  </a:lnTo>
                  <a:lnTo>
                    <a:pt x="30" y="36"/>
                  </a:lnTo>
                  <a:lnTo>
                    <a:pt x="24" y="42"/>
                  </a:lnTo>
                  <a:lnTo>
                    <a:pt x="6" y="42"/>
                  </a:lnTo>
                  <a:lnTo>
                    <a:pt x="6" y="48"/>
                  </a:lnTo>
                  <a:lnTo>
                    <a:pt x="0" y="54"/>
                  </a:lnTo>
                  <a:lnTo>
                    <a:pt x="12" y="60"/>
                  </a:lnTo>
                  <a:lnTo>
                    <a:pt x="6" y="96"/>
                  </a:lnTo>
                  <a:lnTo>
                    <a:pt x="18" y="96"/>
                  </a:lnTo>
                  <a:lnTo>
                    <a:pt x="30" y="102"/>
                  </a:lnTo>
                  <a:lnTo>
                    <a:pt x="36" y="102"/>
                  </a:lnTo>
                  <a:lnTo>
                    <a:pt x="36" y="108"/>
                  </a:lnTo>
                  <a:lnTo>
                    <a:pt x="30" y="108"/>
                  </a:lnTo>
                  <a:lnTo>
                    <a:pt x="30" y="114"/>
                  </a:lnTo>
                  <a:lnTo>
                    <a:pt x="24" y="120"/>
                  </a:lnTo>
                  <a:close/>
                </a:path>
              </a:pathLst>
            </a:custGeom>
            <a:solidFill>
              <a:srgbClr val="00508C"/>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76" name="Slovakia" descr="© INSCALE GmbH, 05.05.2010&#10;http://www.presentationload.com/"/>
            <p:cNvSpPr>
              <a:spLocks/>
            </p:cNvSpPr>
            <p:nvPr/>
          </p:nvSpPr>
          <p:spPr bwMode="gray">
            <a:xfrm>
              <a:off x="4670429" y="2476500"/>
              <a:ext cx="144462" cy="58738"/>
            </a:xfrm>
            <a:custGeom>
              <a:avLst/>
              <a:gdLst>
                <a:gd name="T0" fmla="*/ 2147483647 w 354"/>
                <a:gd name="T1" fmla="*/ 2147483647 h 144"/>
                <a:gd name="T2" fmla="*/ 2147483647 w 354"/>
                <a:gd name="T3" fmla="*/ 2147483647 h 144"/>
                <a:gd name="T4" fmla="*/ 2147483647 w 354"/>
                <a:gd name="T5" fmla="*/ 2147483647 h 144"/>
                <a:gd name="T6" fmla="*/ 2147483647 w 354"/>
                <a:gd name="T7" fmla="*/ 2147483647 h 144"/>
                <a:gd name="T8" fmla="*/ 2147483647 w 354"/>
                <a:gd name="T9" fmla="*/ 2147483647 h 144"/>
                <a:gd name="T10" fmla="*/ 2147483647 w 354"/>
                <a:gd name="T11" fmla="*/ 2147483647 h 144"/>
                <a:gd name="T12" fmla="*/ 2147483647 w 354"/>
                <a:gd name="T13" fmla="*/ 2147483647 h 144"/>
                <a:gd name="T14" fmla="*/ 2147483647 w 354"/>
                <a:gd name="T15" fmla="*/ 0 h 144"/>
                <a:gd name="T16" fmla="*/ 2147483647 w 354"/>
                <a:gd name="T17" fmla="*/ 2147483647 h 144"/>
                <a:gd name="T18" fmla="*/ 2147483647 w 354"/>
                <a:gd name="T19" fmla="*/ 0 h 144"/>
                <a:gd name="T20" fmla="*/ 2147483647 w 354"/>
                <a:gd name="T21" fmla="*/ 2147483647 h 144"/>
                <a:gd name="T22" fmla="*/ 2147483647 w 354"/>
                <a:gd name="T23" fmla="*/ 2147483647 h 144"/>
                <a:gd name="T24" fmla="*/ 2147483647 w 354"/>
                <a:gd name="T25" fmla="*/ 2147483647 h 144"/>
                <a:gd name="T26" fmla="*/ 2147483647 w 354"/>
                <a:gd name="T27" fmla="*/ 2147483647 h 144"/>
                <a:gd name="T28" fmla="*/ 2147483647 w 354"/>
                <a:gd name="T29" fmla="*/ 2147483647 h 144"/>
                <a:gd name="T30" fmla="*/ 0 w 354"/>
                <a:gd name="T31" fmla="*/ 2147483647 h 144"/>
                <a:gd name="T32" fmla="*/ 2147483647 w 354"/>
                <a:gd name="T33" fmla="*/ 2147483647 h 144"/>
                <a:gd name="T34" fmla="*/ 2147483647 w 354"/>
                <a:gd name="T35" fmla="*/ 2147483647 h 144"/>
                <a:gd name="T36" fmla="*/ 2147483647 w 354"/>
                <a:gd name="T37" fmla="*/ 2147483647 h 144"/>
                <a:gd name="T38" fmla="*/ 2147483647 w 354"/>
                <a:gd name="T39" fmla="*/ 2147483647 h 144"/>
                <a:gd name="T40" fmla="*/ 2147483647 w 354"/>
                <a:gd name="T41" fmla="*/ 2147483647 h 144"/>
                <a:gd name="T42" fmla="*/ 2147483647 w 354"/>
                <a:gd name="T43" fmla="*/ 2147483647 h 144"/>
                <a:gd name="T44" fmla="*/ 2147483647 w 354"/>
                <a:gd name="T45" fmla="*/ 2147483647 h 144"/>
                <a:gd name="T46" fmla="*/ 2147483647 w 354"/>
                <a:gd name="T47" fmla="*/ 2147483647 h 144"/>
                <a:gd name="T48" fmla="*/ 2147483647 w 354"/>
                <a:gd name="T49" fmla="*/ 2147483647 h 144"/>
                <a:gd name="T50" fmla="*/ 2147483647 w 354"/>
                <a:gd name="T51" fmla="*/ 2147483647 h 144"/>
                <a:gd name="T52" fmla="*/ 2147483647 w 354"/>
                <a:gd name="T53" fmla="*/ 2147483647 h 144"/>
                <a:gd name="T54" fmla="*/ 2147483647 w 354"/>
                <a:gd name="T55" fmla="*/ 2147483647 h 144"/>
                <a:gd name="T56" fmla="*/ 2147483647 w 354"/>
                <a:gd name="T57" fmla="*/ 2147483647 h 144"/>
                <a:gd name="T58" fmla="*/ 2147483647 w 354"/>
                <a:gd name="T59" fmla="*/ 2147483647 h 144"/>
                <a:gd name="T60" fmla="*/ 2147483647 w 354"/>
                <a:gd name="T61" fmla="*/ 2147483647 h 144"/>
                <a:gd name="T62" fmla="*/ 2147483647 w 354"/>
                <a:gd name="T63" fmla="*/ 2147483647 h 144"/>
                <a:gd name="T64" fmla="*/ 2147483647 w 354"/>
                <a:gd name="T65" fmla="*/ 2147483647 h 144"/>
                <a:gd name="T66" fmla="*/ 2147483647 w 354"/>
                <a:gd name="T67" fmla="*/ 2147483647 h 144"/>
                <a:gd name="T68" fmla="*/ 2147483647 w 354"/>
                <a:gd name="T69" fmla="*/ 2147483647 h 14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4"/>
                <a:gd name="T106" fmla="*/ 0 h 144"/>
                <a:gd name="T107" fmla="*/ 354 w 354"/>
                <a:gd name="T108" fmla="*/ 144 h 14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4" h="144">
                  <a:moveTo>
                    <a:pt x="348" y="30"/>
                  </a:moveTo>
                  <a:lnTo>
                    <a:pt x="324" y="30"/>
                  </a:lnTo>
                  <a:lnTo>
                    <a:pt x="300" y="6"/>
                  </a:lnTo>
                  <a:lnTo>
                    <a:pt x="276" y="6"/>
                  </a:lnTo>
                  <a:lnTo>
                    <a:pt x="270" y="12"/>
                  </a:lnTo>
                  <a:lnTo>
                    <a:pt x="258" y="18"/>
                  </a:lnTo>
                  <a:lnTo>
                    <a:pt x="246" y="18"/>
                  </a:lnTo>
                  <a:lnTo>
                    <a:pt x="240" y="12"/>
                  </a:lnTo>
                  <a:lnTo>
                    <a:pt x="210" y="12"/>
                  </a:lnTo>
                  <a:lnTo>
                    <a:pt x="210" y="18"/>
                  </a:lnTo>
                  <a:lnTo>
                    <a:pt x="204" y="24"/>
                  </a:lnTo>
                  <a:lnTo>
                    <a:pt x="192" y="24"/>
                  </a:lnTo>
                  <a:lnTo>
                    <a:pt x="186" y="18"/>
                  </a:lnTo>
                  <a:lnTo>
                    <a:pt x="186" y="12"/>
                  </a:lnTo>
                  <a:lnTo>
                    <a:pt x="180" y="12"/>
                  </a:lnTo>
                  <a:lnTo>
                    <a:pt x="168" y="0"/>
                  </a:lnTo>
                  <a:lnTo>
                    <a:pt x="156" y="0"/>
                  </a:lnTo>
                  <a:lnTo>
                    <a:pt x="144" y="12"/>
                  </a:lnTo>
                  <a:lnTo>
                    <a:pt x="138" y="12"/>
                  </a:lnTo>
                  <a:lnTo>
                    <a:pt x="126" y="0"/>
                  </a:lnTo>
                  <a:lnTo>
                    <a:pt x="108" y="12"/>
                  </a:lnTo>
                  <a:lnTo>
                    <a:pt x="84" y="18"/>
                  </a:lnTo>
                  <a:lnTo>
                    <a:pt x="84" y="42"/>
                  </a:lnTo>
                  <a:lnTo>
                    <a:pt x="72" y="48"/>
                  </a:lnTo>
                  <a:lnTo>
                    <a:pt x="66" y="54"/>
                  </a:lnTo>
                  <a:lnTo>
                    <a:pt x="54" y="60"/>
                  </a:lnTo>
                  <a:lnTo>
                    <a:pt x="36" y="60"/>
                  </a:lnTo>
                  <a:lnTo>
                    <a:pt x="36" y="54"/>
                  </a:lnTo>
                  <a:lnTo>
                    <a:pt x="30" y="60"/>
                  </a:lnTo>
                  <a:lnTo>
                    <a:pt x="12" y="60"/>
                  </a:lnTo>
                  <a:lnTo>
                    <a:pt x="6" y="66"/>
                  </a:lnTo>
                  <a:lnTo>
                    <a:pt x="0" y="90"/>
                  </a:lnTo>
                  <a:lnTo>
                    <a:pt x="0" y="102"/>
                  </a:lnTo>
                  <a:lnTo>
                    <a:pt x="6" y="102"/>
                  </a:lnTo>
                  <a:lnTo>
                    <a:pt x="6" y="114"/>
                  </a:lnTo>
                  <a:lnTo>
                    <a:pt x="12" y="114"/>
                  </a:lnTo>
                  <a:lnTo>
                    <a:pt x="12" y="126"/>
                  </a:lnTo>
                  <a:lnTo>
                    <a:pt x="6" y="132"/>
                  </a:lnTo>
                  <a:lnTo>
                    <a:pt x="18" y="138"/>
                  </a:lnTo>
                  <a:lnTo>
                    <a:pt x="30" y="120"/>
                  </a:lnTo>
                  <a:lnTo>
                    <a:pt x="36" y="126"/>
                  </a:lnTo>
                  <a:lnTo>
                    <a:pt x="42" y="138"/>
                  </a:lnTo>
                  <a:lnTo>
                    <a:pt x="48" y="144"/>
                  </a:lnTo>
                  <a:lnTo>
                    <a:pt x="90" y="144"/>
                  </a:lnTo>
                  <a:lnTo>
                    <a:pt x="108" y="138"/>
                  </a:lnTo>
                  <a:lnTo>
                    <a:pt x="120" y="138"/>
                  </a:lnTo>
                  <a:lnTo>
                    <a:pt x="132" y="114"/>
                  </a:lnTo>
                  <a:lnTo>
                    <a:pt x="168" y="120"/>
                  </a:lnTo>
                  <a:lnTo>
                    <a:pt x="174" y="108"/>
                  </a:lnTo>
                  <a:lnTo>
                    <a:pt x="198" y="108"/>
                  </a:lnTo>
                  <a:lnTo>
                    <a:pt x="210" y="102"/>
                  </a:lnTo>
                  <a:lnTo>
                    <a:pt x="216" y="102"/>
                  </a:lnTo>
                  <a:lnTo>
                    <a:pt x="228" y="90"/>
                  </a:lnTo>
                  <a:lnTo>
                    <a:pt x="234" y="78"/>
                  </a:lnTo>
                  <a:lnTo>
                    <a:pt x="258" y="78"/>
                  </a:lnTo>
                  <a:lnTo>
                    <a:pt x="258" y="90"/>
                  </a:lnTo>
                  <a:lnTo>
                    <a:pt x="276" y="96"/>
                  </a:lnTo>
                  <a:lnTo>
                    <a:pt x="276" y="78"/>
                  </a:lnTo>
                  <a:lnTo>
                    <a:pt x="288" y="78"/>
                  </a:lnTo>
                  <a:lnTo>
                    <a:pt x="288" y="90"/>
                  </a:lnTo>
                  <a:lnTo>
                    <a:pt x="300" y="90"/>
                  </a:lnTo>
                  <a:lnTo>
                    <a:pt x="312" y="84"/>
                  </a:lnTo>
                  <a:lnTo>
                    <a:pt x="336" y="84"/>
                  </a:lnTo>
                  <a:lnTo>
                    <a:pt x="336" y="90"/>
                  </a:lnTo>
                  <a:lnTo>
                    <a:pt x="336" y="72"/>
                  </a:lnTo>
                  <a:lnTo>
                    <a:pt x="342" y="72"/>
                  </a:lnTo>
                  <a:lnTo>
                    <a:pt x="348" y="66"/>
                  </a:lnTo>
                  <a:lnTo>
                    <a:pt x="348" y="60"/>
                  </a:lnTo>
                  <a:lnTo>
                    <a:pt x="354" y="54"/>
                  </a:lnTo>
                  <a:lnTo>
                    <a:pt x="354" y="30"/>
                  </a:lnTo>
                  <a:lnTo>
                    <a:pt x="348" y="30"/>
                  </a:lnTo>
                  <a:close/>
                </a:path>
              </a:pathLst>
            </a:custGeom>
            <a:solidFill>
              <a:srgbClr val="00508C"/>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77" name="Sierra Leone" descr="© INSCALE GmbH, 05.05.2010&#10;http://www.presentationload.com/"/>
            <p:cNvSpPr>
              <a:spLocks/>
            </p:cNvSpPr>
            <p:nvPr/>
          </p:nvSpPr>
          <p:spPr bwMode="gray">
            <a:xfrm>
              <a:off x="3836991" y="3751262"/>
              <a:ext cx="84138" cy="107950"/>
            </a:xfrm>
            <a:custGeom>
              <a:avLst/>
              <a:gdLst>
                <a:gd name="T0" fmla="*/ 2147483647 w 210"/>
                <a:gd name="T1" fmla="*/ 2147483647 h 270"/>
                <a:gd name="T2" fmla="*/ 2147483647 w 210"/>
                <a:gd name="T3" fmla="*/ 2147483647 h 270"/>
                <a:gd name="T4" fmla="*/ 2147483647 w 210"/>
                <a:gd name="T5" fmla="*/ 2147483647 h 270"/>
                <a:gd name="T6" fmla="*/ 2147483647 w 210"/>
                <a:gd name="T7" fmla="*/ 2147483647 h 270"/>
                <a:gd name="T8" fmla="*/ 2147483647 w 210"/>
                <a:gd name="T9" fmla="*/ 2147483647 h 270"/>
                <a:gd name="T10" fmla="*/ 2147483647 w 210"/>
                <a:gd name="T11" fmla="*/ 2147483647 h 270"/>
                <a:gd name="T12" fmla="*/ 2147483647 w 210"/>
                <a:gd name="T13" fmla="*/ 2147483647 h 270"/>
                <a:gd name="T14" fmla="*/ 2147483647 w 210"/>
                <a:gd name="T15" fmla="*/ 2147483647 h 270"/>
                <a:gd name="T16" fmla="*/ 2147483647 w 210"/>
                <a:gd name="T17" fmla="*/ 2147483647 h 270"/>
                <a:gd name="T18" fmla="*/ 2147483647 w 210"/>
                <a:gd name="T19" fmla="*/ 2147483647 h 270"/>
                <a:gd name="T20" fmla="*/ 2147483647 w 210"/>
                <a:gd name="T21" fmla="*/ 2147483647 h 270"/>
                <a:gd name="T22" fmla="*/ 2147483647 w 210"/>
                <a:gd name="T23" fmla="*/ 0 h 270"/>
                <a:gd name="T24" fmla="*/ 2147483647 w 210"/>
                <a:gd name="T25" fmla="*/ 0 h 270"/>
                <a:gd name="T26" fmla="*/ 2147483647 w 210"/>
                <a:gd name="T27" fmla="*/ 2147483647 h 270"/>
                <a:gd name="T28" fmla="*/ 2147483647 w 210"/>
                <a:gd name="T29" fmla="*/ 2147483647 h 270"/>
                <a:gd name="T30" fmla="*/ 2147483647 w 210"/>
                <a:gd name="T31" fmla="*/ 2147483647 h 270"/>
                <a:gd name="T32" fmla="*/ 2147483647 w 210"/>
                <a:gd name="T33" fmla="*/ 2147483647 h 270"/>
                <a:gd name="T34" fmla="*/ 2147483647 w 210"/>
                <a:gd name="T35" fmla="*/ 2147483647 h 270"/>
                <a:gd name="T36" fmla="*/ 2147483647 w 210"/>
                <a:gd name="T37" fmla="*/ 2147483647 h 270"/>
                <a:gd name="T38" fmla="*/ 2147483647 w 210"/>
                <a:gd name="T39" fmla="*/ 2147483647 h 270"/>
                <a:gd name="T40" fmla="*/ 2147483647 w 210"/>
                <a:gd name="T41" fmla="*/ 2147483647 h 270"/>
                <a:gd name="T42" fmla="*/ 2147483647 w 210"/>
                <a:gd name="T43" fmla="*/ 2147483647 h 270"/>
                <a:gd name="T44" fmla="*/ 0 w 210"/>
                <a:gd name="T45" fmla="*/ 2147483647 h 270"/>
                <a:gd name="T46" fmla="*/ 2147483647 w 210"/>
                <a:gd name="T47" fmla="*/ 2147483647 h 270"/>
                <a:gd name="T48" fmla="*/ 2147483647 w 210"/>
                <a:gd name="T49" fmla="*/ 2147483647 h 270"/>
                <a:gd name="T50" fmla="*/ 0 w 210"/>
                <a:gd name="T51" fmla="*/ 2147483647 h 270"/>
                <a:gd name="T52" fmla="*/ 0 w 210"/>
                <a:gd name="T53" fmla="*/ 2147483647 h 270"/>
                <a:gd name="T54" fmla="*/ 2147483647 w 210"/>
                <a:gd name="T55" fmla="*/ 2147483647 h 270"/>
                <a:gd name="T56" fmla="*/ 2147483647 w 210"/>
                <a:gd name="T57" fmla="*/ 2147483647 h 270"/>
                <a:gd name="T58" fmla="*/ 2147483647 w 210"/>
                <a:gd name="T59" fmla="*/ 2147483647 h 270"/>
                <a:gd name="T60" fmla="*/ 2147483647 w 210"/>
                <a:gd name="T61" fmla="*/ 2147483647 h 270"/>
                <a:gd name="T62" fmla="*/ 2147483647 w 210"/>
                <a:gd name="T63" fmla="*/ 2147483647 h 270"/>
                <a:gd name="T64" fmla="*/ 2147483647 w 210"/>
                <a:gd name="T65" fmla="*/ 2147483647 h 270"/>
                <a:gd name="T66" fmla="*/ 2147483647 w 210"/>
                <a:gd name="T67" fmla="*/ 2147483647 h 270"/>
                <a:gd name="T68" fmla="*/ 2147483647 w 210"/>
                <a:gd name="T69" fmla="*/ 2147483647 h 270"/>
                <a:gd name="T70" fmla="*/ 2147483647 w 210"/>
                <a:gd name="T71" fmla="*/ 2147483647 h 270"/>
                <a:gd name="T72" fmla="*/ 2147483647 w 210"/>
                <a:gd name="T73" fmla="*/ 2147483647 h 270"/>
                <a:gd name="T74" fmla="*/ 2147483647 w 210"/>
                <a:gd name="T75" fmla="*/ 2147483647 h 270"/>
                <a:gd name="T76" fmla="*/ 2147483647 w 210"/>
                <a:gd name="T77" fmla="*/ 2147483647 h 270"/>
                <a:gd name="T78" fmla="*/ 2147483647 w 210"/>
                <a:gd name="T79" fmla="*/ 2147483647 h 270"/>
                <a:gd name="T80" fmla="*/ 2147483647 w 210"/>
                <a:gd name="T81" fmla="*/ 2147483647 h 270"/>
                <a:gd name="T82" fmla="*/ 2147483647 w 210"/>
                <a:gd name="T83" fmla="*/ 2147483647 h 270"/>
                <a:gd name="T84" fmla="*/ 2147483647 w 210"/>
                <a:gd name="T85" fmla="*/ 2147483647 h 270"/>
                <a:gd name="T86" fmla="*/ 2147483647 w 210"/>
                <a:gd name="T87" fmla="*/ 2147483647 h 27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0"/>
                <a:gd name="T133" fmla="*/ 0 h 270"/>
                <a:gd name="T134" fmla="*/ 210 w 210"/>
                <a:gd name="T135" fmla="*/ 270 h 27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0" h="270">
                  <a:moveTo>
                    <a:pt x="186" y="180"/>
                  </a:moveTo>
                  <a:lnTo>
                    <a:pt x="186" y="162"/>
                  </a:lnTo>
                  <a:lnTo>
                    <a:pt x="210" y="156"/>
                  </a:lnTo>
                  <a:lnTo>
                    <a:pt x="204" y="132"/>
                  </a:lnTo>
                  <a:lnTo>
                    <a:pt x="174" y="144"/>
                  </a:lnTo>
                  <a:lnTo>
                    <a:pt x="180" y="126"/>
                  </a:lnTo>
                  <a:lnTo>
                    <a:pt x="186" y="120"/>
                  </a:lnTo>
                  <a:lnTo>
                    <a:pt x="192" y="108"/>
                  </a:lnTo>
                  <a:lnTo>
                    <a:pt x="192" y="90"/>
                  </a:lnTo>
                  <a:lnTo>
                    <a:pt x="180" y="78"/>
                  </a:lnTo>
                  <a:lnTo>
                    <a:pt x="180" y="60"/>
                  </a:lnTo>
                  <a:lnTo>
                    <a:pt x="138" y="0"/>
                  </a:lnTo>
                  <a:lnTo>
                    <a:pt x="102" y="0"/>
                  </a:lnTo>
                  <a:lnTo>
                    <a:pt x="96" y="18"/>
                  </a:lnTo>
                  <a:lnTo>
                    <a:pt x="60" y="18"/>
                  </a:lnTo>
                  <a:lnTo>
                    <a:pt x="60" y="24"/>
                  </a:lnTo>
                  <a:lnTo>
                    <a:pt x="54" y="30"/>
                  </a:lnTo>
                  <a:lnTo>
                    <a:pt x="48" y="42"/>
                  </a:lnTo>
                  <a:lnTo>
                    <a:pt x="36" y="54"/>
                  </a:lnTo>
                  <a:lnTo>
                    <a:pt x="30" y="66"/>
                  </a:lnTo>
                  <a:lnTo>
                    <a:pt x="18" y="72"/>
                  </a:lnTo>
                  <a:lnTo>
                    <a:pt x="12" y="78"/>
                  </a:lnTo>
                  <a:lnTo>
                    <a:pt x="0" y="84"/>
                  </a:lnTo>
                  <a:lnTo>
                    <a:pt x="12" y="96"/>
                  </a:lnTo>
                  <a:lnTo>
                    <a:pt x="6" y="102"/>
                  </a:lnTo>
                  <a:lnTo>
                    <a:pt x="0" y="114"/>
                  </a:lnTo>
                  <a:lnTo>
                    <a:pt x="0" y="132"/>
                  </a:lnTo>
                  <a:lnTo>
                    <a:pt x="6" y="138"/>
                  </a:lnTo>
                  <a:lnTo>
                    <a:pt x="18" y="144"/>
                  </a:lnTo>
                  <a:lnTo>
                    <a:pt x="24" y="150"/>
                  </a:lnTo>
                  <a:lnTo>
                    <a:pt x="18" y="180"/>
                  </a:lnTo>
                  <a:lnTo>
                    <a:pt x="42" y="198"/>
                  </a:lnTo>
                  <a:lnTo>
                    <a:pt x="42" y="204"/>
                  </a:lnTo>
                  <a:lnTo>
                    <a:pt x="48" y="210"/>
                  </a:lnTo>
                  <a:lnTo>
                    <a:pt x="54" y="222"/>
                  </a:lnTo>
                  <a:lnTo>
                    <a:pt x="78" y="234"/>
                  </a:lnTo>
                  <a:lnTo>
                    <a:pt x="96" y="234"/>
                  </a:lnTo>
                  <a:lnTo>
                    <a:pt x="126" y="270"/>
                  </a:lnTo>
                  <a:lnTo>
                    <a:pt x="126" y="234"/>
                  </a:lnTo>
                  <a:lnTo>
                    <a:pt x="144" y="216"/>
                  </a:lnTo>
                  <a:lnTo>
                    <a:pt x="156" y="210"/>
                  </a:lnTo>
                  <a:lnTo>
                    <a:pt x="168" y="198"/>
                  </a:lnTo>
                  <a:lnTo>
                    <a:pt x="180" y="192"/>
                  </a:lnTo>
                  <a:lnTo>
                    <a:pt x="186" y="180"/>
                  </a:lnTo>
                  <a:close/>
                </a:path>
              </a:pathLst>
            </a:custGeom>
            <a:solidFill>
              <a:srgbClr val="692864"/>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78" name="Senegal" descr="© INSCALE GmbH, 05.05.2010&#10;http://www.presentationload.com/"/>
            <p:cNvSpPr>
              <a:spLocks/>
            </p:cNvSpPr>
            <p:nvPr/>
          </p:nvSpPr>
          <p:spPr bwMode="gray">
            <a:xfrm>
              <a:off x="3752853" y="3532187"/>
              <a:ext cx="168275" cy="147639"/>
            </a:xfrm>
            <a:custGeom>
              <a:avLst/>
              <a:gdLst>
                <a:gd name="T0" fmla="*/ 2147483647 w 414"/>
                <a:gd name="T1" fmla="*/ 2147483647 h 366"/>
                <a:gd name="T2" fmla="*/ 2147483647 w 414"/>
                <a:gd name="T3" fmla="*/ 2147483647 h 366"/>
                <a:gd name="T4" fmla="*/ 2147483647 w 414"/>
                <a:gd name="T5" fmla="*/ 2147483647 h 366"/>
                <a:gd name="T6" fmla="*/ 2147483647 w 414"/>
                <a:gd name="T7" fmla="*/ 2147483647 h 366"/>
                <a:gd name="T8" fmla="*/ 2147483647 w 414"/>
                <a:gd name="T9" fmla="*/ 2147483647 h 366"/>
                <a:gd name="T10" fmla="*/ 2147483647 w 414"/>
                <a:gd name="T11" fmla="*/ 2147483647 h 366"/>
                <a:gd name="T12" fmla="*/ 2147483647 w 414"/>
                <a:gd name="T13" fmla="*/ 2147483647 h 366"/>
                <a:gd name="T14" fmla="*/ 2147483647 w 414"/>
                <a:gd name="T15" fmla="*/ 2147483647 h 366"/>
                <a:gd name="T16" fmla="*/ 2147483647 w 414"/>
                <a:gd name="T17" fmla="*/ 2147483647 h 366"/>
                <a:gd name="T18" fmla="*/ 2147483647 w 414"/>
                <a:gd name="T19" fmla="*/ 2147483647 h 366"/>
                <a:gd name="T20" fmla="*/ 2147483647 w 414"/>
                <a:gd name="T21" fmla="*/ 2147483647 h 366"/>
                <a:gd name="T22" fmla="*/ 2147483647 w 414"/>
                <a:gd name="T23" fmla="*/ 2147483647 h 366"/>
                <a:gd name="T24" fmla="*/ 2147483647 w 414"/>
                <a:gd name="T25" fmla="*/ 2147483647 h 366"/>
                <a:gd name="T26" fmla="*/ 2147483647 w 414"/>
                <a:gd name="T27" fmla="*/ 2147483647 h 366"/>
                <a:gd name="T28" fmla="*/ 2147483647 w 414"/>
                <a:gd name="T29" fmla="*/ 0 h 366"/>
                <a:gd name="T30" fmla="*/ 2147483647 w 414"/>
                <a:gd name="T31" fmla="*/ 2147483647 h 366"/>
                <a:gd name="T32" fmla="*/ 2147483647 w 414"/>
                <a:gd name="T33" fmla="*/ 2147483647 h 366"/>
                <a:gd name="T34" fmla="*/ 2147483647 w 414"/>
                <a:gd name="T35" fmla="*/ 2147483647 h 366"/>
                <a:gd name="T36" fmla="*/ 2147483647 w 414"/>
                <a:gd name="T37" fmla="*/ 2147483647 h 366"/>
                <a:gd name="T38" fmla="*/ 2147483647 w 414"/>
                <a:gd name="T39" fmla="*/ 2147483647 h 366"/>
                <a:gd name="T40" fmla="*/ 2147483647 w 414"/>
                <a:gd name="T41" fmla="*/ 2147483647 h 366"/>
                <a:gd name="T42" fmla="*/ 0 w 414"/>
                <a:gd name="T43" fmla="*/ 2147483647 h 366"/>
                <a:gd name="T44" fmla="*/ 2147483647 w 414"/>
                <a:gd name="T45" fmla="*/ 2147483647 h 366"/>
                <a:gd name="T46" fmla="*/ 2147483647 w 414"/>
                <a:gd name="T47" fmla="*/ 2147483647 h 366"/>
                <a:gd name="T48" fmla="*/ 2147483647 w 414"/>
                <a:gd name="T49" fmla="*/ 2147483647 h 366"/>
                <a:gd name="T50" fmla="*/ 2147483647 w 414"/>
                <a:gd name="T51" fmla="*/ 2147483647 h 366"/>
                <a:gd name="T52" fmla="*/ 2147483647 w 414"/>
                <a:gd name="T53" fmla="*/ 2147483647 h 366"/>
                <a:gd name="T54" fmla="*/ 2147483647 w 414"/>
                <a:gd name="T55" fmla="*/ 2147483647 h 366"/>
                <a:gd name="T56" fmla="*/ 2147483647 w 414"/>
                <a:gd name="T57" fmla="*/ 2147483647 h 366"/>
                <a:gd name="T58" fmla="*/ 2147483647 w 414"/>
                <a:gd name="T59" fmla="*/ 2147483647 h 366"/>
                <a:gd name="T60" fmla="*/ 2147483647 w 414"/>
                <a:gd name="T61" fmla="*/ 2147483647 h 366"/>
                <a:gd name="T62" fmla="*/ 2147483647 w 414"/>
                <a:gd name="T63" fmla="*/ 2147483647 h 366"/>
                <a:gd name="T64" fmla="*/ 2147483647 w 414"/>
                <a:gd name="T65" fmla="*/ 2147483647 h 366"/>
                <a:gd name="T66" fmla="*/ 2147483647 w 414"/>
                <a:gd name="T67" fmla="*/ 2147483647 h 366"/>
                <a:gd name="T68" fmla="*/ 2147483647 w 414"/>
                <a:gd name="T69" fmla="*/ 2147483647 h 366"/>
                <a:gd name="T70" fmla="*/ 2147483647 w 414"/>
                <a:gd name="T71" fmla="*/ 2147483647 h 366"/>
                <a:gd name="T72" fmla="*/ 2147483647 w 414"/>
                <a:gd name="T73" fmla="*/ 2147483647 h 366"/>
                <a:gd name="T74" fmla="*/ 2147483647 w 414"/>
                <a:gd name="T75" fmla="*/ 2147483647 h 366"/>
                <a:gd name="T76" fmla="*/ 2147483647 w 414"/>
                <a:gd name="T77" fmla="*/ 2147483647 h 366"/>
                <a:gd name="T78" fmla="*/ 2147483647 w 414"/>
                <a:gd name="T79" fmla="*/ 2147483647 h 366"/>
                <a:gd name="T80" fmla="*/ 2147483647 w 414"/>
                <a:gd name="T81" fmla="*/ 2147483647 h 366"/>
                <a:gd name="T82" fmla="*/ 2147483647 w 414"/>
                <a:gd name="T83" fmla="*/ 2147483647 h 366"/>
                <a:gd name="T84" fmla="*/ 2147483647 w 414"/>
                <a:gd name="T85" fmla="*/ 2147483647 h 366"/>
                <a:gd name="T86" fmla="*/ 2147483647 w 414"/>
                <a:gd name="T87" fmla="*/ 2147483647 h 366"/>
                <a:gd name="T88" fmla="*/ 2147483647 w 414"/>
                <a:gd name="T89" fmla="*/ 2147483647 h 366"/>
                <a:gd name="T90" fmla="*/ 2147483647 w 414"/>
                <a:gd name="T91" fmla="*/ 2147483647 h 366"/>
                <a:gd name="T92" fmla="*/ 2147483647 w 414"/>
                <a:gd name="T93" fmla="*/ 2147483647 h 366"/>
                <a:gd name="T94" fmla="*/ 2147483647 w 414"/>
                <a:gd name="T95" fmla="*/ 2147483647 h 366"/>
                <a:gd name="T96" fmla="*/ 2147483647 w 414"/>
                <a:gd name="T97" fmla="*/ 2147483647 h 366"/>
                <a:gd name="T98" fmla="*/ 2147483647 w 414"/>
                <a:gd name="T99" fmla="*/ 2147483647 h 366"/>
                <a:gd name="T100" fmla="*/ 2147483647 w 414"/>
                <a:gd name="T101" fmla="*/ 2147483647 h 366"/>
                <a:gd name="T102" fmla="*/ 2147483647 w 414"/>
                <a:gd name="T103" fmla="*/ 2147483647 h 366"/>
                <a:gd name="T104" fmla="*/ 2147483647 w 414"/>
                <a:gd name="T105" fmla="*/ 2147483647 h 36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14"/>
                <a:gd name="T160" fmla="*/ 0 h 366"/>
                <a:gd name="T161" fmla="*/ 414 w 414"/>
                <a:gd name="T162" fmla="*/ 366 h 36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14" h="366">
                  <a:moveTo>
                    <a:pt x="402" y="270"/>
                  </a:moveTo>
                  <a:lnTo>
                    <a:pt x="396" y="270"/>
                  </a:lnTo>
                  <a:lnTo>
                    <a:pt x="396" y="276"/>
                  </a:lnTo>
                  <a:lnTo>
                    <a:pt x="384" y="276"/>
                  </a:lnTo>
                  <a:lnTo>
                    <a:pt x="378" y="270"/>
                  </a:lnTo>
                  <a:lnTo>
                    <a:pt x="378" y="246"/>
                  </a:lnTo>
                  <a:lnTo>
                    <a:pt x="384" y="240"/>
                  </a:lnTo>
                  <a:lnTo>
                    <a:pt x="384" y="222"/>
                  </a:lnTo>
                  <a:lnTo>
                    <a:pt x="372" y="210"/>
                  </a:lnTo>
                  <a:lnTo>
                    <a:pt x="372" y="204"/>
                  </a:lnTo>
                  <a:lnTo>
                    <a:pt x="360" y="186"/>
                  </a:lnTo>
                  <a:lnTo>
                    <a:pt x="360" y="162"/>
                  </a:lnTo>
                  <a:lnTo>
                    <a:pt x="348" y="138"/>
                  </a:lnTo>
                  <a:lnTo>
                    <a:pt x="318" y="132"/>
                  </a:lnTo>
                  <a:lnTo>
                    <a:pt x="318" y="108"/>
                  </a:lnTo>
                  <a:lnTo>
                    <a:pt x="312" y="102"/>
                  </a:lnTo>
                  <a:lnTo>
                    <a:pt x="294" y="102"/>
                  </a:lnTo>
                  <a:lnTo>
                    <a:pt x="294" y="72"/>
                  </a:lnTo>
                  <a:lnTo>
                    <a:pt x="288" y="60"/>
                  </a:lnTo>
                  <a:lnTo>
                    <a:pt x="288" y="54"/>
                  </a:lnTo>
                  <a:lnTo>
                    <a:pt x="282" y="48"/>
                  </a:lnTo>
                  <a:lnTo>
                    <a:pt x="264" y="48"/>
                  </a:lnTo>
                  <a:lnTo>
                    <a:pt x="252" y="54"/>
                  </a:lnTo>
                  <a:lnTo>
                    <a:pt x="246" y="42"/>
                  </a:lnTo>
                  <a:lnTo>
                    <a:pt x="234" y="30"/>
                  </a:lnTo>
                  <a:lnTo>
                    <a:pt x="228" y="18"/>
                  </a:lnTo>
                  <a:lnTo>
                    <a:pt x="222" y="18"/>
                  </a:lnTo>
                  <a:lnTo>
                    <a:pt x="210" y="12"/>
                  </a:lnTo>
                  <a:lnTo>
                    <a:pt x="186" y="12"/>
                  </a:lnTo>
                  <a:lnTo>
                    <a:pt x="162" y="0"/>
                  </a:lnTo>
                  <a:lnTo>
                    <a:pt x="162" y="18"/>
                  </a:lnTo>
                  <a:lnTo>
                    <a:pt x="132" y="12"/>
                  </a:lnTo>
                  <a:lnTo>
                    <a:pt x="120" y="18"/>
                  </a:lnTo>
                  <a:lnTo>
                    <a:pt x="114" y="18"/>
                  </a:lnTo>
                  <a:lnTo>
                    <a:pt x="108" y="12"/>
                  </a:lnTo>
                  <a:lnTo>
                    <a:pt x="102" y="12"/>
                  </a:lnTo>
                  <a:lnTo>
                    <a:pt x="90" y="18"/>
                  </a:lnTo>
                  <a:lnTo>
                    <a:pt x="84" y="24"/>
                  </a:lnTo>
                  <a:lnTo>
                    <a:pt x="66" y="60"/>
                  </a:lnTo>
                  <a:lnTo>
                    <a:pt x="60" y="66"/>
                  </a:lnTo>
                  <a:lnTo>
                    <a:pt x="60" y="90"/>
                  </a:lnTo>
                  <a:lnTo>
                    <a:pt x="48" y="96"/>
                  </a:lnTo>
                  <a:lnTo>
                    <a:pt x="30" y="132"/>
                  </a:lnTo>
                  <a:lnTo>
                    <a:pt x="0" y="162"/>
                  </a:lnTo>
                  <a:lnTo>
                    <a:pt x="6" y="168"/>
                  </a:lnTo>
                  <a:lnTo>
                    <a:pt x="12" y="168"/>
                  </a:lnTo>
                  <a:lnTo>
                    <a:pt x="18" y="174"/>
                  </a:lnTo>
                  <a:lnTo>
                    <a:pt x="24" y="186"/>
                  </a:lnTo>
                  <a:lnTo>
                    <a:pt x="24" y="204"/>
                  </a:lnTo>
                  <a:lnTo>
                    <a:pt x="42" y="222"/>
                  </a:lnTo>
                  <a:lnTo>
                    <a:pt x="42" y="246"/>
                  </a:lnTo>
                  <a:lnTo>
                    <a:pt x="48" y="252"/>
                  </a:lnTo>
                  <a:lnTo>
                    <a:pt x="126" y="252"/>
                  </a:lnTo>
                  <a:lnTo>
                    <a:pt x="126" y="240"/>
                  </a:lnTo>
                  <a:lnTo>
                    <a:pt x="180" y="240"/>
                  </a:lnTo>
                  <a:lnTo>
                    <a:pt x="180" y="252"/>
                  </a:lnTo>
                  <a:lnTo>
                    <a:pt x="192" y="246"/>
                  </a:lnTo>
                  <a:lnTo>
                    <a:pt x="198" y="252"/>
                  </a:lnTo>
                  <a:lnTo>
                    <a:pt x="204" y="264"/>
                  </a:lnTo>
                  <a:lnTo>
                    <a:pt x="216" y="264"/>
                  </a:lnTo>
                  <a:lnTo>
                    <a:pt x="222" y="258"/>
                  </a:lnTo>
                  <a:lnTo>
                    <a:pt x="246" y="258"/>
                  </a:lnTo>
                  <a:lnTo>
                    <a:pt x="252" y="264"/>
                  </a:lnTo>
                  <a:lnTo>
                    <a:pt x="252" y="270"/>
                  </a:lnTo>
                  <a:lnTo>
                    <a:pt x="246" y="276"/>
                  </a:lnTo>
                  <a:lnTo>
                    <a:pt x="234" y="282"/>
                  </a:lnTo>
                  <a:lnTo>
                    <a:pt x="228" y="288"/>
                  </a:lnTo>
                  <a:lnTo>
                    <a:pt x="204" y="288"/>
                  </a:lnTo>
                  <a:lnTo>
                    <a:pt x="186" y="282"/>
                  </a:lnTo>
                  <a:lnTo>
                    <a:pt x="180" y="270"/>
                  </a:lnTo>
                  <a:lnTo>
                    <a:pt x="168" y="264"/>
                  </a:lnTo>
                  <a:lnTo>
                    <a:pt x="162" y="258"/>
                  </a:lnTo>
                  <a:lnTo>
                    <a:pt x="156" y="264"/>
                  </a:lnTo>
                  <a:lnTo>
                    <a:pt x="150" y="276"/>
                  </a:lnTo>
                  <a:lnTo>
                    <a:pt x="126" y="276"/>
                  </a:lnTo>
                  <a:lnTo>
                    <a:pt x="120" y="282"/>
                  </a:lnTo>
                  <a:lnTo>
                    <a:pt x="108" y="282"/>
                  </a:lnTo>
                  <a:lnTo>
                    <a:pt x="108" y="294"/>
                  </a:lnTo>
                  <a:lnTo>
                    <a:pt x="36" y="294"/>
                  </a:lnTo>
                  <a:lnTo>
                    <a:pt x="36" y="318"/>
                  </a:lnTo>
                  <a:lnTo>
                    <a:pt x="30" y="324"/>
                  </a:lnTo>
                  <a:lnTo>
                    <a:pt x="30" y="336"/>
                  </a:lnTo>
                  <a:lnTo>
                    <a:pt x="36" y="342"/>
                  </a:lnTo>
                  <a:lnTo>
                    <a:pt x="42" y="354"/>
                  </a:lnTo>
                  <a:lnTo>
                    <a:pt x="48" y="360"/>
                  </a:lnTo>
                  <a:lnTo>
                    <a:pt x="60" y="366"/>
                  </a:lnTo>
                  <a:lnTo>
                    <a:pt x="66" y="366"/>
                  </a:lnTo>
                  <a:lnTo>
                    <a:pt x="72" y="360"/>
                  </a:lnTo>
                  <a:lnTo>
                    <a:pt x="78" y="360"/>
                  </a:lnTo>
                  <a:lnTo>
                    <a:pt x="90" y="348"/>
                  </a:lnTo>
                  <a:lnTo>
                    <a:pt x="126" y="348"/>
                  </a:lnTo>
                  <a:lnTo>
                    <a:pt x="156" y="324"/>
                  </a:lnTo>
                  <a:lnTo>
                    <a:pt x="294" y="330"/>
                  </a:lnTo>
                  <a:lnTo>
                    <a:pt x="294" y="336"/>
                  </a:lnTo>
                  <a:lnTo>
                    <a:pt x="300" y="348"/>
                  </a:lnTo>
                  <a:lnTo>
                    <a:pt x="318" y="348"/>
                  </a:lnTo>
                  <a:lnTo>
                    <a:pt x="324" y="342"/>
                  </a:lnTo>
                  <a:lnTo>
                    <a:pt x="330" y="348"/>
                  </a:lnTo>
                  <a:lnTo>
                    <a:pt x="336" y="360"/>
                  </a:lnTo>
                  <a:lnTo>
                    <a:pt x="342" y="366"/>
                  </a:lnTo>
                  <a:lnTo>
                    <a:pt x="354" y="366"/>
                  </a:lnTo>
                  <a:lnTo>
                    <a:pt x="366" y="360"/>
                  </a:lnTo>
                  <a:lnTo>
                    <a:pt x="372" y="354"/>
                  </a:lnTo>
                  <a:lnTo>
                    <a:pt x="414" y="354"/>
                  </a:lnTo>
                  <a:lnTo>
                    <a:pt x="414" y="288"/>
                  </a:lnTo>
                  <a:lnTo>
                    <a:pt x="408" y="276"/>
                  </a:lnTo>
                  <a:lnTo>
                    <a:pt x="402" y="270"/>
                  </a:lnTo>
                  <a:close/>
                </a:path>
              </a:pathLst>
            </a:custGeom>
            <a:solidFill>
              <a:srgbClr val="692864"/>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79" name="Saudi Arabia" descr="© INSCALE GmbH, 05.05.2010&#10;http://www.presentationload.com/"/>
            <p:cNvSpPr>
              <a:spLocks/>
            </p:cNvSpPr>
            <p:nvPr/>
          </p:nvSpPr>
          <p:spPr bwMode="gray">
            <a:xfrm>
              <a:off x="5184779" y="3035300"/>
              <a:ext cx="596900" cy="512762"/>
            </a:xfrm>
            <a:custGeom>
              <a:avLst/>
              <a:gdLst>
                <a:gd name="T0" fmla="*/ 2147483647 w 1488"/>
                <a:gd name="T1" fmla="*/ 2147483647 h 1278"/>
                <a:gd name="T2" fmla="*/ 2147483647 w 1488"/>
                <a:gd name="T3" fmla="*/ 2147483647 h 1278"/>
                <a:gd name="T4" fmla="*/ 2147483647 w 1488"/>
                <a:gd name="T5" fmla="*/ 2147483647 h 1278"/>
                <a:gd name="T6" fmla="*/ 2147483647 w 1488"/>
                <a:gd name="T7" fmla="*/ 2147483647 h 1278"/>
                <a:gd name="T8" fmla="*/ 2147483647 w 1488"/>
                <a:gd name="T9" fmla="*/ 2147483647 h 1278"/>
                <a:gd name="T10" fmla="*/ 2147483647 w 1488"/>
                <a:gd name="T11" fmla="*/ 2147483647 h 1278"/>
                <a:gd name="T12" fmla="*/ 2147483647 w 1488"/>
                <a:gd name="T13" fmla="*/ 2147483647 h 1278"/>
                <a:gd name="T14" fmla="*/ 2147483647 w 1488"/>
                <a:gd name="T15" fmla="*/ 2147483647 h 1278"/>
                <a:gd name="T16" fmla="*/ 2147483647 w 1488"/>
                <a:gd name="T17" fmla="*/ 2147483647 h 1278"/>
                <a:gd name="T18" fmla="*/ 2147483647 w 1488"/>
                <a:gd name="T19" fmla="*/ 2147483647 h 1278"/>
                <a:gd name="T20" fmla="*/ 2147483647 w 1488"/>
                <a:gd name="T21" fmla="*/ 2147483647 h 1278"/>
                <a:gd name="T22" fmla="*/ 2147483647 w 1488"/>
                <a:gd name="T23" fmla="*/ 2147483647 h 1278"/>
                <a:gd name="T24" fmla="*/ 2147483647 w 1488"/>
                <a:gd name="T25" fmla="*/ 2147483647 h 1278"/>
                <a:gd name="T26" fmla="*/ 2147483647 w 1488"/>
                <a:gd name="T27" fmla="*/ 2147483647 h 1278"/>
                <a:gd name="T28" fmla="*/ 2147483647 w 1488"/>
                <a:gd name="T29" fmla="*/ 2147483647 h 1278"/>
                <a:gd name="T30" fmla="*/ 2147483647 w 1488"/>
                <a:gd name="T31" fmla="*/ 2147483647 h 1278"/>
                <a:gd name="T32" fmla="*/ 2147483647 w 1488"/>
                <a:gd name="T33" fmla="*/ 2147483647 h 1278"/>
                <a:gd name="T34" fmla="*/ 2147483647 w 1488"/>
                <a:gd name="T35" fmla="*/ 2147483647 h 1278"/>
                <a:gd name="T36" fmla="*/ 2147483647 w 1488"/>
                <a:gd name="T37" fmla="*/ 2147483647 h 1278"/>
                <a:gd name="T38" fmla="*/ 2147483647 w 1488"/>
                <a:gd name="T39" fmla="*/ 0 h 1278"/>
                <a:gd name="T40" fmla="*/ 2147483647 w 1488"/>
                <a:gd name="T41" fmla="*/ 2147483647 h 1278"/>
                <a:gd name="T42" fmla="*/ 2147483647 w 1488"/>
                <a:gd name="T43" fmla="*/ 2147483647 h 1278"/>
                <a:gd name="T44" fmla="*/ 2147483647 w 1488"/>
                <a:gd name="T45" fmla="*/ 2147483647 h 1278"/>
                <a:gd name="T46" fmla="*/ 2147483647 w 1488"/>
                <a:gd name="T47" fmla="*/ 2147483647 h 1278"/>
                <a:gd name="T48" fmla="*/ 2147483647 w 1488"/>
                <a:gd name="T49" fmla="*/ 2147483647 h 1278"/>
                <a:gd name="T50" fmla="*/ 2147483647 w 1488"/>
                <a:gd name="T51" fmla="*/ 2147483647 h 1278"/>
                <a:gd name="T52" fmla="*/ 2147483647 w 1488"/>
                <a:gd name="T53" fmla="*/ 2147483647 h 1278"/>
                <a:gd name="T54" fmla="*/ 2147483647 w 1488"/>
                <a:gd name="T55" fmla="*/ 2147483647 h 1278"/>
                <a:gd name="T56" fmla="*/ 2147483647 w 1488"/>
                <a:gd name="T57" fmla="*/ 2147483647 h 1278"/>
                <a:gd name="T58" fmla="*/ 2147483647 w 1488"/>
                <a:gd name="T59" fmla="*/ 2147483647 h 1278"/>
                <a:gd name="T60" fmla="*/ 2147483647 w 1488"/>
                <a:gd name="T61" fmla="*/ 2147483647 h 1278"/>
                <a:gd name="T62" fmla="*/ 0 w 1488"/>
                <a:gd name="T63" fmla="*/ 2147483647 h 1278"/>
                <a:gd name="T64" fmla="*/ 2147483647 w 1488"/>
                <a:gd name="T65" fmla="*/ 2147483647 h 1278"/>
                <a:gd name="T66" fmla="*/ 2147483647 w 1488"/>
                <a:gd name="T67" fmla="*/ 2147483647 h 1278"/>
                <a:gd name="T68" fmla="*/ 2147483647 w 1488"/>
                <a:gd name="T69" fmla="*/ 2147483647 h 1278"/>
                <a:gd name="T70" fmla="*/ 2147483647 w 1488"/>
                <a:gd name="T71" fmla="*/ 2147483647 h 1278"/>
                <a:gd name="T72" fmla="*/ 2147483647 w 1488"/>
                <a:gd name="T73" fmla="*/ 2147483647 h 1278"/>
                <a:gd name="T74" fmla="*/ 2147483647 w 1488"/>
                <a:gd name="T75" fmla="*/ 2147483647 h 1278"/>
                <a:gd name="T76" fmla="*/ 2147483647 w 1488"/>
                <a:gd name="T77" fmla="*/ 2147483647 h 1278"/>
                <a:gd name="T78" fmla="*/ 2147483647 w 1488"/>
                <a:gd name="T79" fmla="*/ 2147483647 h 1278"/>
                <a:gd name="T80" fmla="*/ 2147483647 w 1488"/>
                <a:gd name="T81" fmla="*/ 2147483647 h 1278"/>
                <a:gd name="T82" fmla="*/ 2147483647 w 1488"/>
                <a:gd name="T83" fmla="*/ 2147483647 h 1278"/>
                <a:gd name="T84" fmla="*/ 2147483647 w 1488"/>
                <a:gd name="T85" fmla="*/ 2147483647 h 1278"/>
                <a:gd name="T86" fmla="*/ 2147483647 w 1488"/>
                <a:gd name="T87" fmla="*/ 2147483647 h 1278"/>
                <a:gd name="T88" fmla="*/ 2147483647 w 1488"/>
                <a:gd name="T89" fmla="*/ 2147483647 h 1278"/>
                <a:gd name="T90" fmla="*/ 2147483647 w 1488"/>
                <a:gd name="T91" fmla="*/ 2147483647 h 1278"/>
                <a:gd name="T92" fmla="*/ 2147483647 w 1488"/>
                <a:gd name="T93" fmla="*/ 2147483647 h 1278"/>
                <a:gd name="T94" fmla="*/ 2147483647 w 1488"/>
                <a:gd name="T95" fmla="*/ 2147483647 h 1278"/>
                <a:gd name="T96" fmla="*/ 2147483647 w 1488"/>
                <a:gd name="T97" fmla="*/ 2147483647 h 1278"/>
                <a:gd name="T98" fmla="*/ 2147483647 w 1488"/>
                <a:gd name="T99" fmla="*/ 2147483647 h 1278"/>
                <a:gd name="T100" fmla="*/ 2147483647 w 1488"/>
                <a:gd name="T101" fmla="*/ 2147483647 h 1278"/>
                <a:gd name="T102" fmla="*/ 2147483647 w 1488"/>
                <a:gd name="T103" fmla="*/ 2147483647 h 1278"/>
                <a:gd name="T104" fmla="*/ 2147483647 w 1488"/>
                <a:gd name="T105" fmla="*/ 2147483647 h 1278"/>
                <a:gd name="T106" fmla="*/ 2147483647 w 1488"/>
                <a:gd name="T107" fmla="*/ 2147483647 h 1278"/>
                <a:gd name="T108" fmla="*/ 2147483647 w 1488"/>
                <a:gd name="T109" fmla="*/ 2147483647 h 1278"/>
                <a:gd name="T110" fmla="*/ 2147483647 w 1488"/>
                <a:gd name="T111" fmla="*/ 2147483647 h 1278"/>
                <a:gd name="T112" fmla="*/ 2147483647 w 1488"/>
                <a:gd name="T113" fmla="*/ 2147483647 h 1278"/>
                <a:gd name="T114" fmla="*/ 2147483647 w 1488"/>
                <a:gd name="T115" fmla="*/ 2147483647 h 1278"/>
                <a:gd name="T116" fmla="*/ 2147483647 w 1488"/>
                <a:gd name="T117" fmla="*/ 2147483647 h 127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488"/>
                <a:gd name="T178" fmla="*/ 0 h 1278"/>
                <a:gd name="T179" fmla="*/ 1488 w 1488"/>
                <a:gd name="T180" fmla="*/ 1278 h 127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488" h="1278">
                  <a:moveTo>
                    <a:pt x="1464" y="792"/>
                  </a:moveTo>
                  <a:lnTo>
                    <a:pt x="1464" y="780"/>
                  </a:lnTo>
                  <a:lnTo>
                    <a:pt x="1458" y="774"/>
                  </a:lnTo>
                  <a:lnTo>
                    <a:pt x="1416" y="768"/>
                  </a:lnTo>
                  <a:lnTo>
                    <a:pt x="1320" y="756"/>
                  </a:lnTo>
                  <a:lnTo>
                    <a:pt x="1284" y="750"/>
                  </a:lnTo>
                  <a:lnTo>
                    <a:pt x="1266" y="750"/>
                  </a:lnTo>
                  <a:lnTo>
                    <a:pt x="1260" y="738"/>
                  </a:lnTo>
                  <a:lnTo>
                    <a:pt x="1248" y="732"/>
                  </a:lnTo>
                  <a:lnTo>
                    <a:pt x="1242" y="720"/>
                  </a:lnTo>
                  <a:lnTo>
                    <a:pt x="1218" y="696"/>
                  </a:lnTo>
                  <a:lnTo>
                    <a:pt x="1206" y="672"/>
                  </a:lnTo>
                  <a:lnTo>
                    <a:pt x="1188" y="654"/>
                  </a:lnTo>
                  <a:lnTo>
                    <a:pt x="1188" y="642"/>
                  </a:lnTo>
                  <a:lnTo>
                    <a:pt x="1182" y="636"/>
                  </a:lnTo>
                  <a:lnTo>
                    <a:pt x="1182" y="618"/>
                  </a:lnTo>
                  <a:lnTo>
                    <a:pt x="1176" y="624"/>
                  </a:lnTo>
                  <a:lnTo>
                    <a:pt x="1164" y="612"/>
                  </a:lnTo>
                  <a:lnTo>
                    <a:pt x="1146" y="612"/>
                  </a:lnTo>
                  <a:lnTo>
                    <a:pt x="1140" y="600"/>
                  </a:lnTo>
                  <a:lnTo>
                    <a:pt x="1134" y="594"/>
                  </a:lnTo>
                  <a:lnTo>
                    <a:pt x="1128" y="582"/>
                  </a:lnTo>
                  <a:lnTo>
                    <a:pt x="1122" y="564"/>
                  </a:lnTo>
                  <a:lnTo>
                    <a:pt x="1116" y="552"/>
                  </a:lnTo>
                  <a:lnTo>
                    <a:pt x="1116" y="540"/>
                  </a:lnTo>
                  <a:lnTo>
                    <a:pt x="1110" y="534"/>
                  </a:lnTo>
                  <a:lnTo>
                    <a:pt x="1098" y="528"/>
                  </a:lnTo>
                  <a:lnTo>
                    <a:pt x="1086" y="516"/>
                  </a:lnTo>
                  <a:lnTo>
                    <a:pt x="1074" y="510"/>
                  </a:lnTo>
                  <a:lnTo>
                    <a:pt x="1068" y="498"/>
                  </a:lnTo>
                  <a:lnTo>
                    <a:pt x="1068" y="462"/>
                  </a:lnTo>
                  <a:lnTo>
                    <a:pt x="1062" y="450"/>
                  </a:lnTo>
                  <a:lnTo>
                    <a:pt x="1062" y="438"/>
                  </a:lnTo>
                  <a:lnTo>
                    <a:pt x="1050" y="426"/>
                  </a:lnTo>
                  <a:lnTo>
                    <a:pt x="1002" y="402"/>
                  </a:lnTo>
                  <a:lnTo>
                    <a:pt x="996" y="396"/>
                  </a:lnTo>
                  <a:lnTo>
                    <a:pt x="990" y="384"/>
                  </a:lnTo>
                  <a:lnTo>
                    <a:pt x="990" y="360"/>
                  </a:lnTo>
                  <a:lnTo>
                    <a:pt x="972" y="342"/>
                  </a:lnTo>
                  <a:lnTo>
                    <a:pt x="966" y="330"/>
                  </a:lnTo>
                  <a:lnTo>
                    <a:pt x="960" y="324"/>
                  </a:lnTo>
                  <a:lnTo>
                    <a:pt x="960" y="300"/>
                  </a:lnTo>
                  <a:lnTo>
                    <a:pt x="954" y="300"/>
                  </a:lnTo>
                  <a:lnTo>
                    <a:pt x="948" y="294"/>
                  </a:lnTo>
                  <a:lnTo>
                    <a:pt x="882" y="294"/>
                  </a:lnTo>
                  <a:lnTo>
                    <a:pt x="876" y="288"/>
                  </a:lnTo>
                  <a:lnTo>
                    <a:pt x="876" y="252"/>
                  </a:lnTo>
                  <a:lnTo>
                    <a:pt x="852" y="246"/>
                  </a:lnTo>
                  <a:lnTo>
                    <a:pt x="804" y="246"/>
                  </a:lnTo>
                  <a:lnTo>
                    <a:pt x="750" y="240"/>
                  </a:lnTo>
                  <a:lnTo>
                    <a:pt x="684" y="240"/>
                  </a:lnTo>
                  <a:lnTo>
                    <a:pt x="492" y="96"/>
                  </a:lnTo>
                  <a:lnTo>
                    <a:pt x="480" y="90"/>
                  </a:lnTo>
                  <a:lnTo>
                    <a:pt x="474" y="84"/>
                  </a:lnTo>
                  <a:lnTo>
                    <a:pt x="426" y="60"/>
                  </a:lnTo>
                  <a:lnTo>
                    <a:pt x="414" y="48"/>
                  </a:lnTo>
                  <a:lnTo>
                    <a:pt x="402" y="42"/>
                  </a:lnTo>
                  <a:lnTo>
                    <a:pt x="372" y="12"/>
                  </a:lnTo>
                  <a:lnTo>
                    <a:pt x="306" y="12"/>
                  </a:lnTo>
                  <a:lnTo>
                    <a:pt x="294" y="0"/>
                  </a:lnTo>
                  <a:lnTo>
                    <a:pt x="288" y="6"/>
                  </a:lnTo>
                  <a:lnTo>
                    <a:pt x="276" y="12"/>
                  </a:lnTo>
                  <a:lnTo>
                    <a:pt x="270" y="12"/>
                  </a:lnTo>
                  <a:lnTo>
                    <a:pt x="264" y="18"/>
                  </a:lnTo>
                  <a:lnTo>
                    <a:pt x="252" y="24"/>
                  </a:lnTo>
                  <a:lnTo>
                    <a:pt x="210" y="24"/>
                  </a:lnTo>
                  <a:lnTo>
                    <a:pt x="198" y="48"/>
                  </a:lnTo>
                  <a:lnTo>
                    <a:pt x="132" y="48"/>
                  </a:lnTo>
                  <a:lnTo>
                    <a:pt x="120" y="54"/>
                  </a:lnTo>
                  <a:lnTo>
                    <a:pt x="108" y="54"/>
                  </a:lnTo>
                  <a:lnTo>
                    <a:pt x="108" y="60"/>
                  </a:lnTo>
                  <a:lnTo>
                    <a:pt x="132" y="60"/>
                  </a:lnTo>
                  <a:lnTo>
                    <a:pt x="144" y="66"/>
                  </a:lnTo>
                  <a:lnTo>
                    <a:pt x="156" y="66"/>
                  </a:lnTo>
                  <a:lnTo>
                    <a:pt x="180" y="90"/>
                  </a:lnTo>
                  <a:lnTo>
                    <a:pt x="192" y="114"/>
                  </a:lnTo>
                  <a:lnTo>
                    <a:pt x="198" y="120"/>
                  </a:lnTo>
                  <a:lnTo>
                    <a:pt x="198" y="132"/>
                  </a:lnTo>
                  <a:lnTo>
                    <a:pt x="192" y="138"/>
                  </a:lnTo>
                  <a:lnTo>
                    <a:pt x="192" y="150"/>
                  </a:lnTo>
                  <a:lnTo>
                    <a:pt x="186" y="156"/>
                  </a:lnTo>
                  <a:lnTo>
                    <a:pt x="180" y="168"/>
                  </a:lnTo>
                  <a:lnTo>
                    <a:pt x="174" y="174"/>
                  </a:lnTo>
                  <a:lnTo>
                    <a:pt x="162" y="180"/>
                  </a:lnTo>
                  <a:lnTo>
                    <a:pt x="150" y="180"/>
                  </a:lnTo>
                  <a:lnTo>
                    <a:pt x="138" y="186"/>
                  </a:lnTo>
                  <a:lnTo>
                    <a:pt x="132" y="186"/>
                  </a:lnTo>
                  <a:lnTo>
                    <a:pt x="120" y="198"/>
                  </a:lnTo>
                  <a:lnTo>
                    <a:pt x="120" y="210"/>
                  </a:lnTo>
                  <a:lnTo>
                    <a:pt x="108" y="234"/>
                  </a:lnTo>
                  <a:lnTo>
                    <a:pt x="96" y="246"/>
                  </a:lnTo>
                  <a:lnTo>
                    <a:pt x="60" y="246"/>
                  </a:lnTo>
                  <a:lnTo>
                    <a:pt x="36" y="234"/>
                  </a:lnTo>
                  <a:lnTo>
                    <a:pt x="6" y="234"/>
                  </a:lnTo>
                  <a:lnTo>
                    <a:pt x="6" y="264"/>
                  </a:lnTo>
                  <a:lnTo>
                    <a:pt x="0" y="306"/>
                  </a:lnTo>
                  <a:lnTo>
                    <a:pt x="0" y="348"/>
                  </a:lnTo>
                  <a:lnTo>
                    <a:pt x="6" y="372"/>
                  </a:lnTo>
                  <a:lnTo>
                    <a:pt x="24" y="378"/>
                  </a:lnTo>
                  <a:lnTo>
                    <a:pt x="36" y="390"/>
                  </a:lnTo>
                  <a:lnTo>
                    <a:pt x="54" y="390"/>
                  </a:lnTo>
                  <a:lnTo>
                    <a:pt x="72" y="408"/>
                  </a:lnTo>
                  <a:lnTo>
                    <a:pt x="90" y="438"/>
                  </a:lnTo>
                  <a:lnTo>
                    <a:pt x="102" y="474"/>
                  </a:lnTo>
                  <a:lnTo>
                    <a:pt x="120" y="504"/>
                  </a:lnTo>
                  <a:lnTo>
                    <a:pt x="132" y="516"/>
                  </a:lnTo>
                  <a:lnTo>
                    <a:pt x="150" y="528"/>
                  </a:lnTo>
                  <a:lnTo>
                    <a:pt x="162" y="540"/>
                  </a:lnTo>
                  <a:lnTo>
                    <a:pt x="174" y="558"/>
                  </a:lnTo>
                  <a:lnTo>
                    <a:pt x="180" y="570"/>
                  </a:lnTo>
                  <a:lnTo>
                    <a:pt x="186" y="594"/>
                  </a:lnTo>
                  <a:lnTo>
                    <a:pt x="192" y="612"/>
                  </a:lnTo>
                  <a:lnTo>
                    <a:pt x="198" y="636"/>
                  </a:lnTo>
                  <a:lnTo>
                    <a:pt x="210" y="648"/>
                  </a:lnTo>
                  <a:lnTo>
                    <a:pt x="234" y="660"/>
                  </a:lnTo>
                  <a:lnTo>
                    <a:pt x="264" y="660"/>
                  </a:lnTo>
                  <a:lnTo>
                    <a:pt x="282" y="666"/>
                  </a:lnTo>
                  <a:lnTo>
                    <a:pt x="294" y="678"/>
                  </a:lnTo>
                  <a:lnTo>
                    <a:pt x="312" y="708"/>
                  </a:lnTo>
                  <a:lnTo>
                    <a:pt x="330" y="756"/>
                  </a:lnTo>
                  <a:lnTo>
                    <a:pt x="336" y="804"/>
                  </a:lnTo>
                  <a:lnTo>
                    <a:pt x="342" y="840"/>
                  </a:lnTo>
                  <a:lnTo>
                    <a:pt x="348" y="870"/>
                  </a:lnTo>
                  <a:lnTo>
                    <a:pt x="366" y="906"/>
                  </a:lnTo>
                  <a:lnTo>
                    <a:pt x="384" y="924"/>
                  </a:lnTo>
                  <a:lnTo>
                    <a:pt x="390" y="936"/>
                  </a:lnTo>
                  <a:lnTo>
                    <a:pt x="414" y="936"/>
                  </a:lnTo>
                  <a:lnTo>
                    <a:pt x="438" y="948"/>
                  </a:lnTo>
                  <a:lnTo>
                    <a:pt x="456" y="972"/>
                  </a:lnTo>
                  <a:lnTo>
                    <a:pt x="480" y="1008"/>
                  </a:lnTo>
                  <a:lnTo>
                    <a:pt x="504" y="1056"/>
                  </a:lnTo>
                  <a:lnTo>
                    <a:pt x="552" y="1128"/>
                  </a:lnTo>
                  <a:lnTo>
                    <a:pt x="582" y="1170"/>
                  </a:lnTo>
                  <a:lnTo>
                    <a:pt x="606" y="1206"/>
                  </a:lnTo>
                  <a:lnTo>
                    <a:pt x="618" y="1236"/>
                  </a:lnTo>
                  <a:lnTo>
                    <a:pt x="618" y="1266"/>
                  </a:lnTo>
                  <a:lnTo>
                    <a:pt x="612" y="1278"/>
                  </a:lnTo>
                  <a:lnTo>
                    <a:pt x="624" y="1266"/>
                  </a:lnTo>
                  <a:lnTo>
                    <a:pt x="630" y="1254"/>
                  </a:lnTo>
                  <a:lnTo>
                    <a:pt x="636" y="1248"/>
                  </a:lnTo>
                  <a:lnTo>
                    <a:pt x="636" y="1200"/>
                  </a:lnTo>
                  <a:lnTo>
                    <a:pt x="642" y="1188"/>
                  </a:lnTo>
                  <a:lnTo>
                    <a:pt x="648" y="1182"/>
                  </a:lnTo>
                  <a:lnTo>
                    <a:pt x="654" y="1182"/>
                  </a:lnTo>
                  <a:lnTo>
                    <a:pt x="672" y="1200"/>
                  </a:lnTo>
                  <a:lnTo>
                    <a:pt x="696" y="1194"/>
                  </a:lnTo>
                  <a:lnTo>
                    <a:pt x="702" y="1188"/>
                  </a:lnTo>
                  <a:lnTo>
                    <a:pt x="792" y="1188"/>
                  </a:lnTo>
                  <a:lnTo>
                    <a:pt x="804" y="1194"/>
                  </a:lnTo>
                  <a:lnTo>
                    <a:pt x="810" y="1200"/>
                  </a:lnTo>
                  <a:lnTo>
                    <a:pt x="888" y="1200"/>
                  </a:lnTo>
                  <a:lnTo>
                    <a:pt x="894" y="1206"/>
                  </a:lnTo>
                  <a:lnTo>
                    <a:pt x="900" y="1218"/>
                  </a:lnTo>
                  <a:lnTo>
                    <a:pt x="912" y="1224"/>
                  </a:lnTo>
                  <a:lnTo>
                    <a:pt x="924" y="1224"/>
                  </a:lnTo>
                  <a:lnTo>
                    <a:pt x="930" y="1212"/>
                  </a:lnTo>
                  <a:lnTo>
                    <a:pt x="936" y="1206"/>
                  </a:lnTo>
                  <a:lnTo>
                    <a:pt x="936" y="1188"/>
                  </a:lnTo>
                  <a:lnTo>
                    <a:pt x="942" y="1176"/>
                  </a:lnTo>
                  <a:lnTo>
                    <a:pt x="948" y="1170"/>
                  </a:lnTo>
                  <a:lnTo>
                    <a:pt x="954" y="1158"/>
                  </a:lnTo>
                  <a:lnTo>
                    <a:pt x="966" y="1146"/>
                  </a:lnTo>
                  <a:lnTo>
                    <a:pt x="972" y="1134"/>
                  </a:lnTo>
                  <a:lnTo>
                    <a:pt x="990" y="1116"/>
                  </a:lnTo>
                  <a:lnTo>
                    <a:pt x="1020" y="1098"/>
                  </a:lnTo>
                  <a:lnTo>
                    <a:pt x="1050" y="1092"/>
                  </a:lnTo>
                  <a:lnTo>
                    <a:pt x="1068" y="1086"/>
                  </a:lnTo>
                  <a:lnTo>
                    <a:pt x="1092" y="1086"/>
                  </a:lnTo>
                  <a:lnTo>
                    <a:pt x="1140" y="1080"/>
                  </a:lnTo>
                  <a:lnTo>
                    <a:pt x="1188" y="1068"/>
                  </a:lnTo>
                  <a:lnTo>
                    <a:pt x="1230" y="1062"/>
                  </a:lnTo>
                  <a:lnTo>
                    <a:pt x="1248" y="1062"/>
                  </a:lnTo>
                  <a:lnTo>
                    <a:pt x="1452" y="990"/>
                  </a:lnTo>
                  <a:lnTo>
                    <a:pt x="1488" y="816"/>
                  </a:lnTo>
                  <a:lnTo>
                    <a:pt x="1482" y="810"/>
                  </a:lnTo>
                  <a:lnTo>
                    <a:pt x="1470" y="804"/>
                  </a:lnTo>
                  <a:lnTo>
                    <a:pt x="1464" y="798"/>
                  </a:lnTo>
                  <a:lnTo>
                    <a:pt x="1464" y="792"/>
                  </a:lnTo>
                  <a:close/>
                </a:path>
              </a:pathLst>
            </a:custGeom>
            <a:solidFill>
              <a:srgbClr val="FFC000"/>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80" name="Rwanda" descr="© INSCALE GmbH, 05.05.2010&#10;http://www.presentationload.com/"/>
            <p:cNvSpPr>
              <a:spLocks/>
            </p:cNvSpPr>
            <p:nvPr/>
          </p:nvSpPr>
          <p:spPr bwMode="gray">
            <a:xfrm>
              <a:off x="5038729" y="4111625"/>
              <a:ext cx="60325" cy="58738"/>
            </a:xfrm>
            <a:custGeom>
              <a:avLst/>
              <a:gdLst>
                <a:gd name="T0" fmla="*/ 2147483647 w 150"/>
                <a:gd name="T1" fmla="*/ 2147483647 h 150"/>
                <a:gd name="T2" fmla="*/ 2147483647 w 150"/>
                <a:gd name="T3" fmla="*/ 2147483647 h 150"/>
                <a:gd name="T4" fmla="*/ 2147483647 w 150"/>
                <a:gd name="T5" fmla="*/ 2147483647 h 150"/>
                <a:gd name="T6" fmla="*/ 2147483647 w 150"/>
                <a:gd name="T7" fmla="*/ 2147483647 h 150"/>
                <a:gd name="T8" fmla="*/ 2147483647 w 150"/>
                <a:gd name="T9" fmla="*/ 2147483647 h 150"/>
                <a:gd name="T10" fmla="*/ 2147483647 w 150"/>
                <a:gd name="T11" fmla="*/ 2147483647 h 150"/>
                <a:gd name="T12" fmla="*/ 2147483647 w 150"/>
                <a:gd name="T13" fmla="*/ 2147483647 h 150"/>
                <a:gd name="T14" fmla="*/ 2147483647 w 150"/>
                <a:gd name="T15" fmla="*/ 2147483647 h 150"/>
                <a:gd name="T16" fmla="*/ 2147483647 w 150"/>
                <a:gd name="T17" fmla="*/ 2147483647 h 150"/>
                <a:gd name="T18" fmla="*/ 2147483647 w 150"/>
                <a:gd name="T19" fmla="*/ 2147483647 h 150"/>
                <a:gd name="T20" fmla="*/ 2147483647 w 150"/>
                <a:gd name="T21" fmla="*/ 2147483647 h 150"/>
                <a:gd name="T22" fmla="*/ 2147483647 w 150"/>
                <a:gd name="T23" fmla="*/ 2147483647 h 150"/>
                <a:gd name="T24" fmla="*/ 2147483647 w 150"/>
                <a:gd name="T25" fmla="*/ 2147483647 h 150"/>
                <a:gd name="T26" fmla="*/ 2147483647 w 150"/>
                <a:gd name="T27" fmla="*/ 0 h 150"/>
                <a:gd name="T28" fmla="*/ 2147483647 w 150"/>
                <a:gd name="T29" fmla="*/ 2147483647 h 150"/>
                <a:gd name="T30" fmla="*/ 2147483647 w 150"/>
                <a:gd name="T31" fmla="*/ 2147483647 h 150"/>
                <a:gd name="T32" fmla="*/ 2147483647 w 150"/>
                <a:gd name="T33" fmla="*/ 2147483647 h 150"/>
                <a:gd name="T34" fmla="*/ 2147483647 w 150"/>
                <a:gd name="T35" fmla="*/ 2147483647 h 150"/>
                <a:gd name="T36" fmla="*/ 2147483647 w 150"/>
                <a:gd name="T37" fmla="*/ 2147483647 h 150"/>
                <a:gd name="T38" fmla="*/ 2147483647 w 150"/>
                <a:gd name="T39" fmla="*/ 2147483647 h 150"/>
                <a:gd name="T40" fmla="*/ 2147483647 w 150"/>
                <a:gd name="T41" fmla="*/ 2147483647 h 150"/>
                <a:gd name="T42" fmla="*/ 2147483647 w 150"/>
                <a:gd name="T43" fmla="*/ 2147483647 h 150"/>
                <a:gd name="T44" fmla="*/ 2147483647 w 150"/>
                <a:gd name="T45" fmla="*/ 2147483647 h 150"/>
                <a:gd name="T46" fmla="*/ 2147483647 w 150"/>
                <a:gd name="T47" fmla="*/ 2147483647 h 150"/>
                <a:gd name="T48" fmla="*/ 2147483647 w 150"/>
                <a:gd name="T49" fmla="*/ 2147483647 h 150"/>
                <a:gd name="T50" fmla="*/ 2147483647 w 150"/>
                <a:gd name="T51" fmla="*/ 2147483647 h 150"/>
                <a:gd name="T52" fmla="*/ 2147483647 w 150"/>
                <a:gd name="T53" fmla="*/ 2147483647 h 150"/>
                <a:gd name="T54" fmla="*/ 2147483647 w 150"/>
                <a:gd name="T55" fmla="*/ 2147483647 h 150"/>
                <a:gd name="T56" fmla="*/ 2147483647 w 150"/>
                <a:gd name="T57" fmla="*/ 2147483647 h 150"/>
                <a:gd name="T58" fmla="*/ 2147483647 w 150"/>
                <a:gd name="T59" fmla="*/ 2147483647 h 150"/>
                <a:gd name="T60" fmla="*/ 0 w 150"/>
                <a:gd name="T61" fmla="*/ 2147483647 h 150"/>
                <a:gd name="T62" fmla="*/ 0 w 150"/>
                <a:gd name="T63" fmla="*/ 2147483647 h 150"/>
                <a:gd name="T64" fmla="*/ 2147483647 w 150"/>
                <a:gd name="T65" fmla="*/ 2147483647 h 150"/>
                <a:gd name="T66" fmla="*/ 2147483647 w 150"/>
                <a:gd name="T67" fmla="*/ 2147483647 h 150"/>
                <a:gd name="T68" fmla="*/ 2147483647 w 150"/>
                <a:gd name="T69" fmla="*/ 2147483647 h 150"/>
                <a:gd name="T70" fmla="*/ 2147483647 w 150"/>
                <a:gd name="T71" fmla="*/ 2147483647 h 150"/>
                <a:gd name="T72" fmla="*/ 2147483647 w 150"/>
                <a:gd name="T73" fmla="*/ 2147483647 h 15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0"/>
                <a:gd name="T112" fmla="*/ 0 h 150"/>
                <a:gd name="T113" fmla="*/ 150 w 150"/>
                <a:gd name="T114" fmla="*/ 150 h 15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0" h="150">
                  <a:moveTo>
                    <a:pt x="48" y="150"/>
                  </a:moveTo>
                  <a:lnTo>
                    <a:pt x="54" y="150"/>
                  </a:lnTo>
                  <a:lnTo>
                    <a:pt x="60" y="144"/>
                  </a:lnTo>
                  <a:lnTo>
                    <a:pt x="72" y="138"/>
                  </a:lnTo>
                  <a:lnTo>
                    <a:pt x="78" y="114"/>
                  </a:lnTo>
                  <a:lnTo>
                    <a:pt x="138" y="114"/>
                  </a:lnTo>
                  <a:lnTo>
                    <a:pt x="150" y="102"/>
                  </a:lnTo>
                  <a:lnTo>
                    <a:pt x="150" y="72"/>
                  </a:lnTo>
                  <a:lnTo>
                    <a:pt x="144" y="66"/>
                  </a:lnTo>
                  <a:lnTo>
                    <a:pt x="144" y="48"/>
                  </a:lnTo>
                  <a:lnTo>
                    <a:pt x="138" y="42"/>
                  </a:lnTo>
                  <a:lnTo>
                    <a:pt x="132" y="30"/>
                  </a:lnTo>
                  <a:lnTo>
                    <a:pt x="126" y="24"/>
                  </a:lnTo>
                  <a:lnTo>
                    <a:pt x="132" y="0"/>
                  </a:lnTo>
                  <a:lnTo>
                    <a:pt x="108" y="6"/>
                  </a:lnTo>
                  <a:lnTo>
                    <a:pt x="108" y="12"/>
                  </a:lnTo>
                  <a:lnTo>
                    <a:pt x="102" y="18"/>
                  </a:lnTo>
                  <a:lnTo>
                    <a:pt x="90" y="42"/>
                  </a:lnTo>
                  <a:lnTo>
                    <a:pt x="84" y="42"/>
                  </a:lnTo>
                  <a:lnTo>
                    <a:pt x="72" y="30"/>
                  </a:lnTo>
                  <a:lnTo>
                    <a:pt x="54" y="30"/>
                  </a:lnTo>
                  <a:lnTo>
                    <a:pt x="48" y="36"/>
                  </a:lnTo>
                  <a:lnTo>
                    <a:pt x="24" y="48"/>
                  </a:lnTo>
                  <a:lnTo>
                    <a:pt x="18" y="54"/>
                  </a:lnTo>
                  <a:lnTo>
                    <a:pt x="18" y="60"/>
                  </a:lnTo>
                  <a:lnTo>
                    <a:pt x="24" y="72"/>
                  </a:lnTo>
                  <a:lnTo>
                    <a:pt x="30" y="78"/>
                  </a:lnTo>
                  <a:lnTo>
                    <a:pt x="30" y="90"/>
                  </a:lnTo>
                  <a:lnTo>
                    <a:pt x="18" y="102"/>
                  </a:lnTo>
                  <a:lnTo>
                    <a:pt x="6" y="108"/>
                  </a:lnTo>
                  <a:lnTo>
                    <a:pt x="0" y="120"/>
                  </a:lnTo>
                  <a:lnTo>
                    <a:pt x="0" y="126"/>
                  </a:lnTo>
                  <a:lnTo>
                    <a:pt x="6" y="132"/>
                  </a:lnTo>
                  <a:lnTo>
                    <a:pt x="30" y="132"/>
                  </a:lnTo>
                  <a:lnTo>
                    <a:pt x="36" y="144"/>
                  </a:lnTo>
                  <a:lnTo>
                    <a:pt x="42" y="150"/>
                  </a:lnTo>
                  <a:lnTo>
                    <a:pt x="48" y="150"/>
                  </a:lnTo>
                  <a:close/>
                </a:path>
              </a:pathLst>
            </a:custGeom>
            <a:solidFill>
              <a:srgbClr val="692864"/>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81" name="Russia (Urup,Simushir)" descr="© INSCALE GmbH, 05.05.2010&#10;http://www.presentationload.com/"/>
            <p:cNvSpPr>
              <a:spLocks noEditPoints="1"/>
            </p:cNvSpPr>
            <p:nvPr/>
          </p:nvSpPr>
          <p:spPr bwMode="gray">
            <a:xfrm>
              <a:off x="8004182" y="2178050"/>
              <a:ext cx="122237" cy="482599"/>
            </a:xfrm>
            <a:custGeom>
              <a:avLst/>
              <a:gdLst>
                <a:gd name="T0" fmla="*/ 0 w 300"/>
                <a:gd name="T1" fmla="*/ 2147483647 h 1194"/>
                <a:gd name="T2" fmla="*/ 2147483647 w 300"/>
                <a:gd name="T3" fmla="*/ 2147483647 h 1194"/>
                <a:gd name="T4" fmla="*/ 2147483647 w 300"/>
                <a:gd name="T5" fmla="*/ 2147483647 h 1194"/>
                <a:gd name="T6" fmla="*/ 2147483647 w 300"/>
                <a:gd name="T7" fmla="*/ 2147483647 h 1194"/>
                <a:gd name="T8" fmla="*/ 0 w 300"/>
                <a:gd name="T9" fmla="*/ 2147483647 h 1194"/>
                <a:gd name="T10" fmla="*/ 2147483647 w 300"/>
                <a:gd name="T11" fmla="*/ 2147483647 h 1194"/>
                <a:gd name="T12" fmla="*/ 2147483647 w 300"/>
                <a:gd name="T13" fmla="*/ 2147483647 h 1194"/>
                <a:gd name="T14" fmla="*/ 2147483647 w 300"/>
                <a:gd name="T15" fmla="*/ 2147483647 h 1194"/>
                <a:gd name="T16" fmla="*/ 2147483647 w 300"/>
                <a:gd name="T17" fmla="*/ 2147483647 h 1194"/>
                <a:gd name="T18" fmla="*/ 2147483647 w 300"/>
                <a:gd name="T19" fmla="*/ 2147483647 h 1194"/>
                <a:gd name="T20" fmla="*/ 2147483647 w 300"/>
                <a:gd name="T21" fmla="*/ 2147483647 h 1194"/>
                <a:gd name="T22" fmla="*/ 2147483647 w 300"/>
                <a:gd name="T23" fmla="*/ 2147483647 h 1194"/>
                <a:gd name="T24" fmla="*/ 2147483647 w 300"/>
                <a:gd name="T25" fmla="*/ 2147483647 h 1194"/>
                <a:gd name="T26" fmla="*/ 2147483647 w 300"/>
                <a:gd name="T27" fmla="*/ 2147483647 h 1194"/>
                <a:gd name="T28" fmla="*/ 2147483647 w 300"/>
                <a:gd name="T29" fmla="*/ 2147483647 h 1194"/>
                <a:gd name="T30" fmla="*/ 2147483647 w 300"/>
                <a:gd name="T31" fmla="*/ 2147483647 h 1194"/>
                <a:gd name="T32" fmla="*/ 2147483647 w 300"/>
                <a:gd name="T33" fmla="*/ 2147483647 h 1194"/>
                <a:gd name="T34" fmla="*/ 2147483647 w 300"/>
                <a:gd name="T35" fmla="*/ 2147483647 h 1194"/>
                <a:gd name="T36" fmla="*/ 2147483647 w 300"/>
                <a:gd name="T37" fmla="*/ 2147483647 h 1194"/>
                <a:gd name="T38" fmla="*/ 2147483647 w 300"/>
                <a:gd name="T39" fmla="*/ 2147483647 h 1194"/>
                <a:gd name="T40" fmla="*/ 2147483647 w 300"/>
                <a:gd name="T41" fmla="*/ 2147483647 h 1194"/>
                <a:gd name="T42" fmla="*/ 2147483647 w 300"/>
                <a:gd name="T43" fmla="*/ 2147483647 h 1194"/>
                <a:gd name="T44" fmla="*/ 2147483647 w 300"/>
                <a:gd name="T45" fmla="*/ 2147483647 h 1194"/>
                <a:gd name="T46" fmla="*/ 2147483647 w 300"/>
                <a:gd name="T47" fmla="*/ 2147483647 h 1194"/>
                <a:gd name="T48" fmla="*/ 2147483647 w 300"/>
                <a:gd name="T49" fmla="*/ 2147483647 h 1194"/>
                <a:gd name="T50" fmla="*/ 2147483647 w 300"/>
                <a:gd name="T51" fmla="*/ 2147483647 h 1194"/>
                <a:gd name="T52" fmla="*/ 2147483647 w 300"/>
                <a:gd name="T53" fmla="*/ 2147483647 h 1194"/>
                <a:gd name="T54" fmla="*/ 2147483647 w 300"/>
                <a:gd name="T55" fmla="*/ 2147483647 h 1194"/>
                <a:gd name="T56" fmla="*/ 2147483647 w 300"/>
                <a:gd name="T57" fmla="*/ 2147483647 h 1194"/>
                <a:gd name="T58" fmla="*/ 2147483647 w 300"/>
                <a:gd name="T59" fmla="*/ 2147483647 h 1194"/>
                <a:gd name="T60" fmla="*/ 2147483647 w 300"/>
                <a:gd name="T61" fmla="*/ 2147483647 h 1194"/>
                <a:gd name="T62" fmla="*/ 2147483647 w 300"/>
                <a:gd name="T63" fmla="*/ 2147483647 h 1194"/>
                <a:gd name="T64" fmla="*/ 2147483647 w 300"/>
                <a:gd name="T65" fmla="*/ 2147483647 h 1194"/>
                <a:gd name="T66" fmla="*/ 2147483647 w 300"/>
                <a:gd name="T67" fmla="*/ 2147483647 h 1194"/>
                <a:gd name="T68" fmla="*/ 2147483647 w 300"/>
                <a:gd name="T69" fmla="*/ 2147483647 h 1194"/>
                <a:gd name="T70" fmla="*/ 2147483647 w 300"/>
                <a:gd name="T71" fmla="*/ 2147483647 h 1194"/>
                <a:gd name="T72" fmla="*/ 2147483647 w 300"/>
                <a:gd name="T73" fmla="*/ 2147483647 h 1194"/>
                <a:gd name="T74" fmla="*/ 2147483647 w 300"/>
                <a:gd name="T75" fmla="*/ 2147483647 h 1194"/>
                <a:gd name="T76" fmla="*/ 2147483647 w 300"/>
                <a:gd name="T77" fmla="*/ 2147483647 h 1194"/>
                <a:gd name="T78" fmla="*/ 2147483647 w 300"/>
                <a:gd name="T79" fmla="*/ 2147483647 h 1194"/>
                <a:gd name="T80" fmla="*/ 2147483647 w 300"/>
                <a:gd name="T81" fmla="*/ 2147483647 h 1194"/>
                <a:gd name="T82" fmla="*/ 2147483647 w 300"/>
                <a:gd name="T83" fmla="*/ 2147483647 h 1194"/>
                <a:gd name="T84" fmla="*/ 2147483647 w 300"/>
                <a:gd name="T85" fmla="*/ 2147483647 h 1194"/>
                <a:gd name="T86" fmla="*/ 2147483647 w 300"/>
                <a:gd name="T87" fmla="*/ 2147483647 h 1194"/>
                <a:gd name="T88" fmla="*/ 2147483647 w 300"/>
                <a:gd name="T89" fmla="*/ 2147483647 h 1194"/>
                <a:gd name="T90" fmla="*/ 2147483647 w 300"/>
                <a:gd name="T91" fmla="*/ 2147483647 h 1194"/>
                <a:gd name="T92" fmla="*/ 2147483647 w 300"/>
                <a:gd name="T93" fmla="*/ 2147483647 h 1194"/>
                <a:gd name="T94" fmla="*/ 2147483647 w 300"/>
                <a:gd name="T95" fmla="*/ 2147483647 h 1194"/>
                <a:gd name="T96" fmla="*/ 2147483647 w 300"/>
                <a:gd name="T97" fmla="*/ 2147483647 h 1194"/>
                <a:gd name="T98" fmla="*/ 2147483647 w 300"/>
                <a:gd name="T99" fmla="*/ 0 h 1194"/>
                <a:gd name="T100" fmla="*/ 2147483647 w 300"/>
                <a:gd name="T101" fmla="*/ 2147483647 h 11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00"/>
                <a:gd name="T154" fmla="*/ 0 h 1194"/>
                <a:gd name="T155" fmla="*/ 300 w 300"/>
                <a:gd name="T156" fmla="*/ 1194 h 11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00" h="1194">
                  <a:moveTo>
                    <a:pt x="0" y="1194"/>
                  </a:moveTo>
                  <a:lnTo>
                    <a:pt x="12" y="1188"/>
                  </a:lnTo>
                  <a:lnTo>
                    <a:pt x="36" y="1146"/>
                  </a:lnTo>
                  <a:lnTo>
                    <a:pt x="18" y="1134"/>
                  </a:lnTo>
                  <a:lnTo>
                    <a:pt x="0" y="1194"/>
                  </a:lnTo>
                  <a:close/>
                  <a:moveTo>
                    <a:pt x="114" y="1068"/>
                  </a:moveTo>
                  <a:lnTo>
                    <a:pt x="72" y="1062"/>
                  </a:lnTo>
                  <a:lnTo>
                    <a:pt x="54" y="1134"/>
                  </a:lnTo>
                  <a:lnTo>
                    <a:pt x="66" y="1134"/>
                  </a:lnTo>
                  <a:lnTo>
                    <a:pt x="84" y="1104"/>
                  </a:lnTo>
                  <a:lnTo>
                    <a:pt x="132" y="1074"/>
                  </a:lnTo>
                  <a:lnTo>
                    <a:pt x="120" y="1050"/>
                  </a:lnTo>
                  <a:lnTo>
                    <a:pt x="114" y="1068"/>
                  </a:lnTo>
                  <a:close/>
                  <a:moveTo>
                    <a:pt x="192" y="1008"/>
                  </a:moveTo>
                  <a:lnTo>
                    <a:pt x="186" y="1008"/>
                  </a:lnTo>
                  <a:lnTo>
                    <a:pt x="180" y="1020"/>
                  </a:lnTo>
                  <a:lnTo>
                    <a:pt x="174" y="1026"/>
                  </a:lnTo>
                  <a:lnTo>
                    <a:pt x="168" y="1038"/>
                  </a:lnTo>
                  <a:lnTo>
                    <a:pt x="168" y="1044"/>
                  </a:lnTo>
                  <a:lnTo>
                    <a:pt x="174" y="1050"/>
                  </a:lnTo>
                  <a:lnTo>
                    <a:pt x="180" y="1050"/>
                  </a:lnTo>
                  <a:lnTo>
                    <a:pt x="198" y="1032"/>
                  </a:lnTo>
                  <a:lnTo>
                    <a:pt x="198" y="1014"/>
                  </a:lnTo>
                  <a:lnTo>
                    <a:pt x="192" y="1008"/>
                  </a:lnTo>
                  <a:close/>
                  <a:moveTo>
                    <a:pt x="282" y="636"/>
                  </a:moveTo>
                  <a:lnTo>
                    <a:pt x="264" y="654"/>
                  </a:lnTo>
                  <a:lnTo>
                    <a:pt x="276" y="678"/>
                  </a:lnTo>
                  <a:lnTo>
                    <a:pt x="258" y="678"/>
                  </a:lnTo>
                  <a:lnTo>
                    <a:pt x="258" y="702"/>
                  </a:lnTo>
                  <a:lnTo>
                    <a:pt x="282" y="702"/>
                  </a:lnTo>
                  <a:lnTo>
                    <a:pt x="294" y="684"/>
                  </a:lnTo>
                  <a:lnTo>
                    <a:pt x="282" y="654"/>
                  </a:lnTo>
                  <a:lnTo>
                    <a:pt x="300" y="654"/>
                  </a:lnTo>
                  <a:lnTo>
                    <a:pt x="282" y="636"/>
                  </a:lnTo>
                  <a:close/>
                  <a:moveTo>
                    <a:pt x="276" y="768"/>
                  </a:moveTo>
                  <a:lnTo>
                    <a:pt x="294" y="750"/>
                  </a:lnTo>
                  <a:lnTo>
                    <a:pt x="270" y="732"/>
                  </a:lnTo>
                  <a:lnTo>
                    <a:pt x="276" y="768"/>
                  </a:lnTo>
                  <a:close/>
                  <a:moveTo>
                    <a:pt x="258" y="954"/>
                  </a:moveTo>
                  <a:lnTo>
                    <a:pt x="258" y="924"/>
                  </a:lnTo>
                  <a:lnTo>
                    <a:pt x="240" y="948"/>
                  </a:lnTo>
                  <a:lnTo>
                    <a:pt x="258" y="954"/>
                  </a:lnTo>
                  <a:close/>
                  <a:moveTo>
                    <a:pt x="252" y="858"/>
                  </a:moveTo>
                  <a:lnTo>
                    <a:pt x="270" y="858"/>
                  </a:lnTo>
                  <a:lnTo>
                    <a:pt x="252" y="840"/>
                  </a:lnTo>
                  <a:lnTo>
                    <a:pt x="252" y="858"/>
                  </a:lnTo>
                  <a:close/>
                  <a:moveTo>
                    <a:pt x="126" y="24"/>
                  </a:moveTo>
                  <a:lnTo>
                    <a:pt x="144" y="60"/>
                  </a:lnTo>
                  <a:lnTo>
                    <a:pt x="174" y="24"/>
                  </a:lnTo>
                  <a:lnTo>
                    <a:pt x="162" y="0"/>
                  </a:lnTo>
                  <a:lnTo>
                    <a:pt x="126" y="24"/>
                  </a:lnTo>
                  <a:close/>
                </a:path>
              </a:pathLst>
            </a:cu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2700000" scaled="1"/>
              <a:tileRect/>
            </a:gra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82" name="Russia" descr="© INSCALE GmbH, 05.05.2010&#10;http://www.presentationload.com/"/>
            <p:cNvSpPr>
              <a:spLocks noEditPoints="1"/>
            </p:cNvSpPr>
            <p:nvPr/>
          </p:nvSpPr>
          <p:spPr bwMode="gray">
            <a:xfrm>
              <a:off x="4737104" y="1582738"/>
              <a:ext cx="3641728" cy="1158874"/>
            </a:xfrm>
            <a:custGeom>
              <a:avLst/>
              <a:gdLst>
                <a:gd name="T0" fmla="*/ 2147483647 w 9048"/>
                <a:gd name="T1" fmla="*/ 2147483647 h 2880"/>
                <a:gd name="T2" fmla="*/ 2147483647 w 9048"/>
                <a:gd name="T3" fmla="*/ 2147483647 h 2880"/>
                <a:gd name="T4" fmla="*/ 2147483647 w 9048"/>
                <a:gd name="T5" fmla="*/ 2147483647 h 2880"/>
                <a:gd name="T6" fmla="*/ 2147483647 w 9048"/>
                <a:gd name="T7" fmla="*/ 2147483647 h 2880"/>
                <a:gd name="T8" fmla="*/ 2147483647 w 9048"/>
                <a:gd name="T9" fmla="*/ 2147483647 h 2880"/>
                <a:gd name="T10" fmla="*/ 2147483647 w 9048"/>
                <a:gd name="T11" fmla="*/ 2147483647 h 2880"/>
                <a:gd name="T12" fmla="*/ 2147483647 w 9048"/>
                <a:gd name="T13" fmla="*/ 2147483647 h 2880"/>
                <a:gd name="T14" fmla="*/ 2147483647 w 9048"/>
                <a:gd name="T15" fmla="*/ 2147483647 h 2880"/>
                <a:gd name="T16" fmla="*/ 2147483647 w 9048"/>
                <a:gd name="T17" fmla="*/ 2147483647 h 2880"/>
                <a:gd name="T18" fmla="*/ 2147483647 w 9048"/>
                <a:gd name="T19" fmla="*/ 2147483647 h 2880"/>
                <a:gd name="T20" fmla="*/ 2147483647 w 9048"/>
                <a:gd name="T21" fmla="*/ 2147483647 h 2880"/>
                <a:gd name="T22" fmla="*/ 2147483647 w 9048"/>
                <a:gd name="T23" fmla="*/ 2147483647 h 2880"/>
                <a:gd name="T24" fmla="*/ 2147483647 w 9048"/>
                <a:gd name="T25" fmla="*/ 2147483647 h 2880"/>
                <a:gd name="T26" fmla="*/ 2147483647 w 9048"/>
                <a:gd name="T27" fmla="*/ 2147483647 h 2880"/>
                <a:gd name="T28" fmla="*/ 2147483647 w 9048"/>
                <a:gd name="T29" fmla="*/ 2147483647 h 2880"/>
                <a:gd name="T30" fmla="*/ 2147483647 w 9048"/>
                <a:gd name="T31" fmla="*/ 2147483647 h 2880"/>
                <a:gd name="T32" fmla="*/ 2147483647 w 9048"/>
                <a:gd name="T33" fmla="*/ 2147483647 h 2880"/>
                <a:gd name="T34" fmla="*/ 2147483647 w 9048"/>
                <a:gd name="T35" fmla="*/ 2147483647 h 2880"/>
                <a:gd name="T36" fmla="*/ 2147483647 w 9048"/>
                <a:gd name="T37" fmla="*/ 2147483647 h 2880"/>
                <a:gd name="T38" fmla="*/ 2147483647 w 9048"/>
                <a:gd name="T39" fmla="*/ 2147483647 h 2880"/>
                <a:gd name="T40" fmla="*/ 2147483647 w 9048"/>
                <a:gd name="T41" fmla="*/ 2147483647 h 2880"/>
                <a:gd name="T42" fmla="*/ 2147483647 w 9048"/>
                <a:gd name="T43" fmla="*/ 2147483647 h 2880"/>
                <a:gd name="T44" fmla="*/ 2147483647 w 9048"/>
                <a:gd name="T45" fmla="*/ 2147483647 h 2880"/>
                <a:gd name="T46" fmla="*/ 2147483647 w 9048"/>
                <a:gd name="T47" fmla="*/ 2147483647 h 2880"/>
                <a:gd name="T48" fmla="*/ 2147483647 w 9048"/>
                <a:gd name="T49" fmla="*/ 2147483647 h 2880"/>
                <a:gd name="T50" fmla="*/ 2147483647 w 9048"/>
                <a:gd name="T51" fmla="*/ 2147483647 h 2880"/>
                <a:gd name="T52" fmla="*/ 2147483647 w 9048"/>
                <a:gd name="T53" fmla="*/ 2147483647 h 2880"/>
                <a:gd name="T54" fmla="*/ 2147483647 w 9048"/>
                <a:gd name="T55" fmla="*/ 2147483647 h 2880"/>
                <a:gd name="T56" fmla="*/ 2147483647 w 9048"/>
                <a:gd name="T57" fmla="*/ 2147483647 h 2880"/>
                <a:gd name="T58" fmla="*/ 2147483647 w 9048"/>
                <a:gd name="T59" fmla="*/ 2147483647 h 2880"/>
                <a:gd name="T60" fmla="*/ 2147483647 w 9048"/>
                <a:gd name="T61" fmla="*/ 2147483647 h 2880"/>
                <a:gd name="T62" fmla="*/ 2147483647 w 9048"/>
                <a:gd name="T63" fmla="*/ 2147483647 h 2880"/>
                <a:gd name="T64" fmla="*/ 2147483647 w 9048"/>
                <a:gd name="T65" fmla="*/ 2147483647 h 2880"/>
                <a:gd name="T66" fmla="*/ 2147483647 w 9048"/>
                <a:gd name="T67" fmla="*/ 2147483647 h 2880"/>
                <a:gd name="T68" fmla="*/ 2147483647 w 9048"/>
                <a:gd name="T69" fmla="*/ 2147483647 h 2880"/>
                <a:gd name="T70" fmla="*/ 2147483647 w 9048"/>
                <a:gd name="T71" fmla="*/ 2147483647 h 2880"/>
                <a:gd name="T72" fmla="*/ 2147483647 w 9048"/>
                <a:gd name="T73" fmla="*/ 2147483647 h 2880"/>
                <a:gd name="T74" fmla="*/ 2147483647 w 9048"/>
                <a:gd name="T75" fmla="*/ 2147483647 h 2880"/>
                <a:gd name="T76" fmla="*/ 2147483647 w 9048"/>
                <a:gd name="T77" fmla="*/ 2147483647 h 2880"/>
                <a:gd name="T78" fmla="*/ 2147483647 w 9048"/>
                <a:gd name="T79" fmla="*/ 2147483647 h 2880"/>
                <a:gd name="T80" fmla="*/ 2147483647 w 9048"/>
                <a:gd name="T81" fmla="*/ 2147483647 h 2880"/>
                <a:gd name="T82" fmla="*/ 2147483647 w 9048"/>
                <a:gd name="T83" fmla="*/ 2147483647 h 2880"/>
                <a:gd name="T84" fmla="*/ 2147483647 w 9048"/>
                <a:gd name="T85" fmla="*/ 2147483647 h 2880"/>
                <a:gd name="T86" fmla="*/ 2147483647 w 9048"/>
                <a:gd name="T87" fmla="*/ 2147483647 h 2880"/>
                <a:gd name="T88" fmla="*/ 2147483647 w 9048"/>
                <a:gd name="T89" fmla="*/ 2147483647 h 2880"/>
                <a:gd name="T90" fmla="*/ 2147483647 w 9048"/>
                <a:gd name="T91" fmla="*/ 2147483647 h 2880"/>
                <a:gd name="T92" fmla="*/ 2147483647 w 9048"/>
                <a:gd name="T93" fmla="*/ 2147483647 h 2880"/>
                <a:gd name="T94" fmla="*/ 2147483647 w 9048"/>
                <a:gd name="T95" fmla="*/ 2147483647 h 2880"/>
                <a:gd name="T96" fmla="*/ 2147483647 w 9048"/>
                <a:gd name="T97" fmla="*/ 2147483647 h 2880"/>
                <a:gd name="T98" fmla="*/ 2147483647 w 9048"/>
                <a:gd name="T99" fmla="*/ 2147483647 h 2880"/>
                <a:gd name="T100" fmla="*/ 2147483647 w 9048"/>
                <a:gd name="T101" fmla="*/ 2147483647 h 2880"/>
                <a:gd name="T102" fmla="*/ 2147483647 w 9048"/>
                <a:gd name="T103" fmla="*/ 2147483647 h 2880"/>
                <a:gd name="T104" fmla="*/ 2147483647 w 9048"/>
                <a:gd name="T105" fmla="*/ 2147483647 h 2880"/>
                <a:gd name="T106" fmla="*/ 2147483647 w 9048"/>
                <a:gd name="T107" fmla="*/ 2147483647 h 2880"/>
                <a:gd name="T108" fmla="*/ 2147483647 w 9048"/>
                <a:gd name="T109" fmla="*/ 2147483647 h 2880"/>
                <a:gd name="T110" fmla="*/ 2147483647 w 9048"/>
                <a:gd name="T111" fmla="*/ 2147483647 h 2880"/>
                <a:gd name="T112" fmla="*/ 2147483647 w 9048"/>
                <a:gd name="T113" fmla="*/ 2147483647 h 2880"/>
                <a:gd name="T114" fmla="*/ 2147483647 w 9048"/>
                <a:gd name="T115" fmla="*/ 2147483647 h 2880"/>
                <a:gd name="T116" fmla="*/ 2147483647 w 9048"/>
                <a:gd name="T117" fmla="*/ 2147483647 h 2880"/>
                <a:gd name="T118" fmla="*/ 2147483647 w 9048"/>
                <a:gd name="T119" fmla="*/ 2147483647 h 2880"/>
                <a:gd name="T120" fmla="*/ 2147483647 w 9048"/>
                <a:gd name="T121" fmla="*/ 2147483647 h 2880"/>
                <a:gd name="T122" fmla="*/ 2147483647 w 9048"/>
                <a:gd name="T123" fmla="*/ 2147483647 h 2880"/>
                <a:gd name="T124" fmla="*/ 2147483647 w 9048"/>
                <a:gd name="T125" fmla="*/ 2147483647 h 288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48"/>
                <a:gd name="T190" fmla="*/ 0 h 2880"/>
                <a:gd name="T191" fmla="*/ 9048 w 9048"/>
                <a:gd name="T192" fmla="*/ 2880 h 288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48" h="2880">
                  <a:moveTo>
                    <a:pt x="2790" y="546"/>
                  </a:moveTo>
                  <a:lnTo>
                    <a:pt x="2760" y="540"/>
                  </a:lnTo>
                  <a:lnTo>
                    <a:pt x="2736" y="558"/>
                  </a:lnTo>
                  <a:lnTo>
                    <a:pt x="2778" y="570"/>
                  </a:lnTo>
                  <a:lnTo>
                    <a:pt x="2790" y="546"/>
                  </a:lnTo>
                  <a:close/>
                  <a:moveTo>
                    <a:pt x="2832" y="522"/>
                  </a:moveTo>
                  <a:lnTo>
                    <a:pt x="2820" y="516"/>
                  </a:lnTo>
                  <a:lnTo>
                    <a:pt x="2814" y="510"/>
                  </a:lnTo>
                  <a:lnTo>
                    <a:pt x="2808" y="510"/>
                  </a:lnTo>
                  <a:lnTo>
                    <a:pt x="2808" y="528"/>
                  </a:lnTo>
                  <a:lnTo>
                    <a:pt x="2820" y="534"/>
                  </a:lnTo>
                  <a:lnTo>
                    <a:pt x="2832" y="534"/>
                  </a:lnTo>
                  <a:lnTo>
                    <a:pt x="2844" y="540"/>
                  </a:lnTo>
                  <a:lnTo>
                    <a:pt x="2850" y="540"/>
                  </a:lnTo>
                  <a:lnTo>
                    <a:pt x="2850" y="534"/>
                  </a:lnTo>
                  <a:lnTo>
                    <a:pt x="2844" y="528"/>
                  </a:lnTo>
                  <a:lnTo>
                    <a:pt x="2832" y="522"/>
                  </a:lnTo>
                  <a:close/>
                  <a:moveTo>
                    <a:pt x="1704" y="18"/>
                  </a:moveTo>
                  <a:lnTo>
                    <a:pt x="1710" y="18"/>
                  </a:lnTo>
                  <a:lnTo>
                    <a:pt x="1716" y="12"/>
                  </a:lnTo>
                  <a:lnTo>
                    <a:pt x="1728" y="6"/>
                  </a:lnTo>
                  <a:lnTo>
                    <a:pt x="1734" y="0"/>
                  </a:lnTo>
                  <a:lnTo>
                    <a:pt x="1644" y="0"/>
                  </a:lnTo>
                  <a:lnTo>
                    <a:pt x="1638" y="12"/>
                  </a:lnTo>
                  <a:lnTo>
                    <a:pt x="1680" y="12"/>
                  </a:lnTo>
                  <a:lnTo>
                    <a:pt x="1686" y="18"/>
                  </a:lnTo>
                  <a:lnTo>
                    <a:pt x="1704" y="18"/>
                  </a:lnTo>
                  <a:close/>
                  <a:moveTo>
                    <a:pt x="1740" y="60"/>
                  </a:moveTo>
                  <a:lnTo>
                    <a:pt x="1746" y="60"/>
                  </a:lnTo>
                  <a:lnTo>
                    <a:pt x="1758" y="48"/>
                  </a:lnTo>
                  <a:lnTo>
                    <a:pt x="1764" y="48"/>
                  </a:lnTo>
                  <a:lnTo>
                    <a:pt x="1770" y="54"/>
                  </a:lnTo>
                  <a:lnTo>
                    <a:pt x="1782" y="54"/>
                  </a:lnTo>
                  <a:lnTo>
                    <a:pt x="1788" y="60"/>
                  </a:lnTo>
                  <a:lnTo>
                    <a:pt x="1800" y="60"/>
                  </a:lnTo>
                  <a:lnTo>
                    <a:pt x="1812" y="48"/>
                  </a:lnTo>
                  <a:lnTo>
                    <a:pt x="1812" y="36"/>
                  </a:lnTo>
                  <a:lnTo>
                    <a:pt x="1806" y="30"/>
                  </a:lnTo>
                  <a:lnTo>
                    <a:pt x="1794" y="24"/>
                  </a:lnTo>
                  <a:lnTo>
                    <a:pt x="1758" y="24"/>
                  </a:lnTo>
                  <a:lnTo>
                    <a:pt x="1710" y="48"/>
                  </a:lnTo>
                  <a:lnTo>
                    <a:pt x="1716" y="54"/>
                  </a:lnTo>
                  <a:lnTo>
                    <a:pt x="1728" y="60"/>
                  </a:lnTo>
                  <a:lnTo>
                    <a:pt x="1740" y="60"/>
                  </a:lnTo>
                  <a:close/>
                  <a:moveTo>
                    <a:pt x="2382" y="510"/>
                  </a:moveTo>
                  <a:lnTo>
                    <a:pt x="2400" y="504"/>
                  </a:lnTo>
                  <a:lnTo>
                    <a:pt x="2412" y="498"/>
                  </a:lnTo>
                  <a:lnTo>
                    <a:pt x="2412" y="486"/>
                  </a:lnTo>
                  <a:lnTo>
                    <a:pt x="2406" y="486"/>
                  </a:lnTo>
                  <a:lnTo>
                    <a:pt x="2400" y="480"/>
                  </a:lnTo>
                  <a:lnTo>
                    <a:pt x="2346" y="480"/>
                  </a:lnTo>
                  <a:lnTo>
                    <a:pt x="2346" y="492"/>
                  </a:lnTo>
                  <a:lnTo>
                    <a:pt x="2358" y="504"/>
                  </a:lnTo>
                  <a:lnTo>
                    <a:pt x="2370" y="510"/>
                  </a:lnTo>
                  <a:lnTo>
                    <a:pt x="2382" y="510"/>
                  </a:lnTo>
                  <a:close/>
                  <a:moveTo>
                    <a:pt x="1590" y="30"/>
                  </a:moveTo>
                  <a:lnTo>
                    <a:pt x="1548" y="24"/>
                  </a:lnTo>
                  <a:lnTo>
                    <a:pt x="1554" y="36"/>
                  </a:lnTo>
                  <a:lnTo>
                    <a:pt x="1590" y="30"/>
                  </a:lnTo>
                  <a:close/>
                  <a:moveTo>
                    <a:pt x="1890" y="696"/>
                  </a:moveTo>
                  <a:lnTo>
                    <a:pt x="1896" y="708"/>
                  </a:lnTo>
                  <a:lnTo>
                    <a:pt x="1920" y="720"/>
                  </a:lnTo>
                  <a:lnTo>
                    <a:pt x="1950" y="738"/>
                  </a:lnTo>
                  <a:lnTo>
                    <a:pt x="1974" y="744"/>
                  </a:lnTo>
                  <a:lnTo>
                    <a:pt x="1992" y="738"/>
                  </a:lnTo>
                  <a:lnTo>
                    <a:pt x="1980" y="720"/>
                  </a:lnTo>
                  <a:lnTo>
                    <a:pt x="1950" y="702"/>
                  </a:lnTo>
                  <a:lnTo>
                    <a:pt x="1914" y="696"/>
                  </a:lnTo>
                  <a:lnTo>
                    <a:pt x="1890" y="696"/>
                  </a:lnTo>
                  <a:close/>
                  <a:moveTo>
                    <a:pt x="3108" y="126"/>
                  </a:moveTo>
                  <a:lnTo>
                    <a:pt x="3120" y="108"/>
                  </a:lnTo>
                  <a:lnTo>
                    <a:pt x="3030" y="108"/>
                  </a:lnTo>
                  <a:lnTo>
                    <a:pt x="3108" y="126"/>
                  </a:lnTo>
                  <a:close/>
                  <a:moveTo>
                    <a:pt x="1560" y="102"/>
                  </a:moveTo>
                  <a:lnTo>
                    <a:pt x="1632" y="102"/>
                  </a:lnTo>
                  <a:lnTo>
                    <a:pt x="1608" y="84"/>
                  </a:lnTo>
                  <a:lnTo>
                    <a:pt x="1560" y="102"/>
                  </a:lnTo>
                  <a:close/>
                  <a:moveTo>
                    <a:pt x="1572" y="60"/>
                  </a:moveTo>
                  <a:lnTo>
                    <a:pt x="1584" y="66"/>
                  </a:lnTo>
                  <a:lnTo>
                    <a:pt x="1596" y="78"/>
                  </a:lnTo>
                  <a:lnTo>
                    <a:pt x="1620" y="66"/>
                  </a:lnTo>
                  <a:lnTo>
                    <a:pt x="1620" y="72"/>
                  </a:lnTo>
                  <a:lnTo>
                    <a:pt x="1644" y="72"/>
                  </a:lnTo>
                  <a:lnTo>
                    <a:pt x="1668" y="60"/>
                  </a:lnTo>
                  <a:lnTo>
                    <a:pt x="1674" y="54"/>
                  </a:lnTo>
                  <a:lnTo>
                    <a:pt x="1680" y="54"/>
                  </a:lnTo>
                  <a:lnTo>
                    <a:pt x="1626" y="48"/>
                  </a:lnTo>
                  <a:lnTo>
                    <a:pt x="1614" y="54"/>
                  </a:lnTo>
                  <a:lnTo>
                    <a:pt x="1608" y="54"/>
                  </a:lnTo>
                  <a:lnTo>
                    <a:pt x="1602" y="48"/>
                  </a:lnTo>
                  <a:lnTo>
                    <a:pt x="1584" y="48"/>
                  </a:lnTo>
                  <a:lnTo>
                    <a:pt x="1572" y="60"/>
                  </a:lnTo>
                  <a:close/>
                  <a:moveTo>
                    <a:pt x="1662" y="36"/>
                  </a:moveTo>
                  <a:lnTo>
                    <a:pt x="1602" y="36"/>
                  </a:lnTo>
                  <a:lnTo>
                    <a:pt x="1650" y="48"/>
                  </a:lnTo>
                  <a:lnTo>
                    <a:pt x="1662" y="36"/>
                  </a:lnTo>
                  <a:close/>
                  <a:moveTo>
                    <a:pt x="1542" y="522"/>
                  </a:moveTo>
                  <a:lnTo>
                    <a:pt x="1500" y="528"/>
                  </a:lnTo>
                  <a:lnTo>
                    <a:pt x="1512" y="552"/>
                  </a:lnTo>
                  <a:lnTo>
                    <a:pt x="1542" y="534"/>
                  </a:lnTo>
                  <a:lnTo>
                    <a:pt x="1524" y="558"/>
                  </a:lnTo>
                  <a:lnTo>
                    <a:pt x="1518" y="558"/>
                  </a:lnTo>
                  <a:lnTo>
                    <a:pt x="1512" y="564"/>
                  </a:lnTo>
                  <a:lnTo>
                    <a:pt x="1506" y="564"/>
                  </a:lnTo>
                  <a:lnTo>
                    <a:pt x="1494" y="570"/>
                  </a:lnTo>
                  <a:lnTo>
                    <a:pt x="1488" y="576"/>
                  </a:lnTo>
                  <a:lnTo>
                    <a:pt x="1488" y="582"/>
                  </a:lnTo>
                  <a:lnTo>
                    <a:pt x="1500" y="594"/>
                  </a:lnTo>
                  <a:lnTo>
                    <a:pt x="1524" y="606"/>
                  </a:lnTo>
                  <a:lnTo>
                    <a:pt x="1566" y="606"/>
                  </a:lnTo>
                  <a:lnTo>
                    <a:pt x="1590" y="612"/>
                  </a:lnTo>
                  <a:lnTo>
                    <a:pt x="1608" y="618"/>
                  </a:lnTo>
                  <a:lnTo>
                    <a:pt x="1614" y="624"/>
                  </a:lnTo>
                  <a:lnTo>
                    <a:pt x="1620" y="636"/>
                  </a:lnTo>
                  <a:lnTo>
                    <a:pt x="1620" y="648"/>
                  </a:lnTo>
                  <a:lnTo>
                    <a:pt x="1626" y="654"/>
                  </a:lnTo>
                  <a:lnTo>
                    <a:pt x="1626" y="660"/>
                  </a:lnTo>
                  <a:lnTo>
                    <a:pt x="1644" y="660"/>
                  </a:lnTo>
                  <a:lnTo>
                    <a:pt x="1662" y="666"/>
                  </a:lnTo>
                  <a:lnTo>
                    <a:pt x="1674" y="666"/>
                  </a:lnTo>
                  <a:lnTo>
                    <a:pt x="1692" y="672"/>
                  </a:lnTo>
                  <a:lnTo>
                    <a:pt x="1704" y="672"/>
                  </a:lnTo>
                  <a:lnTo>
                    <a:pt x="1818" y="666"/>
                  </a:lnTo>
                  <a:lnTo>
                    <a:pt x="1806" y="666"/>
                  </a:lnTo>
                  <a:lnTo>
                    <a:pt x="1734" y="642"/>
                  </a:lnTo>
                  <a:lnTo>
                    <a:pt x="1704" y="618"/>
                  </a:lnTo>
                  <a:lnTo>
                    <a:pt x="1692" y="600"/>
                  </a:lnTo>
                  <a:lnTo>
                    <a:pt x="1686" y="588"/>
                  </a:lnTo>
                  <a:lnTo>
                    <a:pt x="1674" y="582"/>
                  </a:lnTo>
                  <a:lnTo>
                    <a:pt x="1674" y="570"/>
                  </a:lnTo>
                  <a:lnTo>
                    <a:pt x="1668" y="564"/>
                  </a:lnTo>
                  <a:lnTo>
                    <a:pt x="1692" y="516"/>
                  </a:lnTo>
                  <a:lnTo>
                    <a:pt x="1686" y="510"/>
                  </a:lnTo>
                  <a:lnTo>
                    <a:pt x="1686" y="504"/>
                  </a:lnTo>
                  <a:lnTo>
                    <a:pt x="1674" y="504"/>
                  </a:lnTo>
                  <a:lnTo>
                    <a:pt x="1710" y="498"/>
                  </a:lnTo>
                  <a:lnTo>
                    <a:pt x="1698" y="480"/>
                  </a:lnTo>
                  <a:lnTo>
                    <a:pt x="1734" y="480"/>
                  </a:lnTo>
                  <a:lnTo>
                    <a:pt x="1710" y="468"/>
                  </a:lnTo>
                  <a:lnTo>
                    <a:pt x="1734" y="474"/>
                  </a:lnTo>
                  <a:lnTo>
                    <a:pt x="1740" y="462"/>
                  </a:lnTo>
                  <a:lnTo>
                    <a:pt x="1722" y="450"/>
                  </a:lnTo>
                  <a:lnTo>
                    <a:pt x="1764" y="450"/>
                  </a:lnTo>
                  <a:lnTo>
                    <a:pt x="1770" y="444"/>
                  </a:lnTo>
                  <a:lnTo>
                    <a:pt x="1752" y="426"/>
                  </a:lnTo>
                  <a:lnTo>
                    <a:pt x="1782" y="432"/>
                  </a:lnTo>
                  <a:lnTo>
                    <a:pt x="1782" y="402"/>
                  </a:lnTo>
                  <a:lnTo>
                    <a:pt x="1788" y="408"/>
                  </a:lnTo>
                  <a:lnTo>
                    <a:pt x="1800" y="414"/>
                  </a:lnTo>
                  <a:lnTo>
                    <a:pt x="1812" y="414"/>
                  </a:lnTo>
                  <a:lnTo>
                    <a:pt x="1830" y="408"/>
                  </a:lnTo>
                  <a:lnTo>
                    <a:pt x="1842" y="402"/>
                  </a:lnTo>
                  <a:lnTo>
                    <a:pt x="1860" y="390"/>
                  </a:lnTo>
                  <a:lnTo>
                    <a:pt x="1878" y="372"/>
                  </a:lnTo>
                  <a:lnTo>
                    <a:pt x="1896" y="372"/>
                  </a:lnTo>
                  <a:lnTo>
                    <a:pt x="1938" y="366"/>
                  </a:lnTo>
                  <a:lnTo>
                    <a:pt x="1992" y="354"/>
                  </a:lnTo>
                  <a:lnTo>
                    <a:pt x="2046" y="348"/>
                  </a:lnTo>
                  <a:lnTo>
                    <a:pt x="2094" y="336"/>
                  </a:lnTo>
                  <a:lnTo>
                    <a:pt x="2124" y="330"/>
                  </a:lnTo>
                  <a:lnTo>
                    <a:pt x="2136" y="324"/>
                  </a:lnTo>
                  <a:lnTo>
                    <a:pt x="2154" y="318"/>
                  </a:lnTo>
                  <a:lnTo>
                    <a:pt x="2160" y="312"/>
                  </a:lnTo>
                  <a:lnTo>
                    <a:pt x="2166" y="300"/>
                  </a:lnTo>
                  <a:lnTo>
                    <a:pt x="2166" y="294"/>
                  </a:lnTo>
                  <a:lnTo>
                    <a:pt x="2154" y="282"/>
                  </a:lnTo>
                  <a:lnTo>
                    <a:pt x="2136" y="276"/>
                  </a:lnTo>
                  <a:lnTo>
                    <a:pt x="2088" y="270"/>
                  </a:lnTo>
                  <a:lnTo>
                    <a:pt x="2046" y="276"/>
                  </a:lnTo>
                  <a:lnTo>
                    <a:pt x="2016" y="288"/>
                  </a:lnTo>
                  <a:lnTo>
                    <a:pt x="1980" y="300"/>
                  </a:lnTo>
                  <a:lnTo>
                    <a:pt x="1938" y="318"/>
                  </a:lnTo>
                  <a:lnTo>
                    <a:pt x="1860" y="318"/>
                  </a:lnTo>
                  <a:lnTo>
                    <a:pt x="1842" y="312"/>
                  </a:lnTo>
                  <a:lnTo>
                    <a:pt x="1824" y="312"/>
                  </a:lnTo>
                  <a:lnTo>
                    <a:pt x="1806" y="336"/>
                  </a:lnTo>
                  <a:lnTo>
                    <a:pt x="1782" y="318"/>
                  </a:lnTo>
                  <a:lnTo>
                    <a:pt x="1728" y="342"/>
                  </a:lnTo>
                  <a:lnTo>
                    <a:pt x="1698" y="342"/>
                  </a:lnTo>
                  <a:lnTo>
                    <a:pt x="1668" y="366"/>
                  </a:lnTo>
                  <a:lnTo>
                    <a:pt x="1692" y="372"/>
                  </a:lnTo>
                  <a:lnTo>
                    <a:pt x="1644" y="372"/>
                  </a:lnTo>
                  <a:lnTo>
                    <a:pt x="1614" y="378"/>
                  </a:lnTo>
                  <a:lnTo>
                    <a:pt x="1614" y="396"/>
                  </a:lnTo>
                  <a:lnTo>
                    <a:pt x="1638" y="378"/>
                  </a:lnTo>
                  <a:lnTo>
                    <a:pt x="1644" y="396"/>
                  </a:lnTo>
                  <a:lnTo>
                    <a:pt x="1668" y="396"/>
                  </a:lnTo>
                  <a:lnTo>
                    <a:pt x="1662" y="408"/>
                  </a:lnTo>
                  <a:lnTo>
                    <a:pt x="1620" y="408"/>
                  </a:lnTo>
                  <a:lnTo>
                    <a:pt x="1614" y="420"/>
                  </a:lnTo>
                  <a:lnTo>
                    <a:pt x="1644" y="426"/>
                  </a:lnTo>
                  <a:lnTo>
                    <a:pt x="1596" y="432"/>
                  </a:lnTo>
                  <a:lnTo>
                    <a:pt x="1632" y="438"/>
                  </a:lnTo>
                  <a:lnTo>
                    <a:pt x="1584" y="444"/>
                  </a:lnTo>
                  <a:lnTo>
                    <a:pt x="1584" y="462"/>
                  </a:lnTo>
                  <a:lnTo>
                    <a:pt x="1554" y="474"/>
                  </a:lnTo>
                  <a:lnTo>
                    <a:pt x="1560" y="486"/>
                  </a:lnTo>
                  <a:lnTo>
                    <a:pt x="1602" y="468"/>
                  </a:lnTo>
                  <a:lnTo>
                    <a:pt x="1590" y="498"/>
                  </a:lnTo>
                  <a:lnTo>
                    <a:pt x="1554" y="498"/>
                  </a:lnTo>
                  <a:lnTo>
                    <a:pt x="1542" y="504"/>
                  </a:lnTo>
                  <a:lnTo>
                    <a:pt x="1542" y="522"/>
                  </a:lnTo>
                  <a:close/>
                  <a:moveTo>
                    <a:pt x="5778" y="498"/>
                  </a:moveTo>
                  <a:lnTo>
                    <a:pt x="5850" y="486"/>
                  </a:lnTo>
                  <a:lnTo>
                    <a:pt x="5958" y="504"/>
                  </a:lnTo>
                  <a:lnTo>
                    <a:pt x="5952" y="492"/>
                  </a:lnTo>
                  <a:lnTo>
                    <a:pt x="5940" y="486"/>
                  </a:lnTo>
                  <a:lnTo>
                    <a:pt x="5928" y="474"/>
                  </a:lnTo>
                  <a:lnTo>
                    <a:pt x="5904" y="462"/>
                  </a:lnTo>
                  <a:lnTo>
                    <a:pt x="5844" y="462"/>
                  </a:lnTo>
                  <a:lnTo>
                    <a:pt x="5808" y="468"/>
                  </a:lnTo>
                  <a:lnTo>
                    <a:pt x="5796" y="468"/>
                  </a:lnTo>
                  <a:lnTo>
                    <a:pt x="5778" y="498"/>
                  </a:lnTo>
                  <a:close/>
                  <a:moveTo>
                    <a:pt x="5784" y="378"/>
                  </a:moveTo>
                  <a:lnTo>
                    <a:pt x="5838" y="384"/>
                  </a:lnTo>
                  <a:lnTo>
                    <a:pt x="5844" y="378"/>
                  </a:lnTo>
                  <a:lnTo>
                    <a:pt x="5850" y="366"/>
                  </a:lnTo>
                  <a:lnTo>
                    <a:pt x="5838" y="354"/>
                  </a:lnTo>
                  <a:lnTo>
                    <a:pt x="5802" y="354"/>
                  </a:lnTo>
                  <a:lnTo>
                    <a:pt x="5742" y="342"/>
                  </a:lnTo>
                  <a:lnTo>
                    <a:pt x="5724" y="342"/>
                  </a:lnTo>
                  <a:lnTo>
                    <a:pt x="5718" y="348"/>
                  </a:lnTo>
                  <a:lnTo>
                    <a:pt x="5730" y="354"/>
                  </a:lnTo>
                  <a:lnTo>
                    <a:pt x="5742" y="366"/>
                  </a:lnTo>
                  <a:lnTo>
                    <a:pt x="5754" y="372"/>
                  </a:lnTo>
                  <a:lnTo>
                    <a:pt x="5772" y="372"/>
                  </a:lnTo>
                  <a:lnTo>
                    <a:pt x="5778" y="378"/>
                  </a:lnTo>
                  <a:lnTo>
                    <a:pt x="5784" y="378"/>
                  </a:lnTo>
                  <a:close/>
                  <a:moveTo>
                    <a:pt x="5724" y="432"/>
                  </a:moveTo>
                  <a:lnTo>
                    <a:pt x="5712" y="444"/>
                  </a:lnTo>
                  <a:lnTo>
                    <a:pt x="5712" y="456"/>
                  </a:lnTo>
                  <a:lnTo>
                    <a:pt x="5724" y="462"/>
                  </a:lnTo>
                  <a:lnTo>
                    <a:pt x="5772" y="462"/>
                  </a:lnTo>
                  <a:lnTo>
                    <a:pt x="5778" y="456"/>
                  </a:lnTo>
                  <a:lnTo>
                    <a:pt x="5778" y="450"/>
                  </a:lnTo>
                  <a:lnTo>
                    <a:pt x="5766" y="438"/>
                  </a:lnTo>
                  <a:lnTo>
                    <a:pt x="5742" y="426"/>
                  </a:lnTo>
                  <a:lnTo>
                    <a:pt x="5730" y="426"/>
                  </a:lnTo>
                  <a:lnTo>
                    <a:pt x="5724" y="432"/>
                  </a:lnTo>
                  <a:close/>
                  <a:moveTo>
                    <a:pt x="3072" y="96"/>
                  </a:moveTo>
                  <a:lnTo>
                    <a:pt x="3192" y="96"/>
                  </a:lnTo>
                  <a:lnTo>
                    <a:pt x="3204" y="90"/>
                  </a:lnTo>
                  <a:lnTo>
                    <a:pt x="3228" y="90"/>
                  </a:lnTo>
                  <a:lnTo>
                    <a:pt x="3240" y="84"/>
                  </a:lnTo>
                  <a:lnTo>
                    <a:pt x="3240" y="72"/>
                  </a:lnTo>
                  <a:lnTo>
                    <a:pt x="3222" y="60"/>
                  </a:lnTo>
                  <a:lnTo>
                    <a:pt x="3192" y="42"/>
                  </a:lnTo>
                  <a:lnTo>
                    <a:pt x="3156" y="30"/>
                  </a:lnTo>
                  <a:lnTo>
                    <a:pt x="3132" y="24"/>
                  </a:lnTo>
                  <a:lnTo>
                    <a:pt x="3120" y="18"/>
                  </a:lnTo>
                  <a:lnTo>
                    <a:pt x="3108" y="18"/>
                  </a:lnTo>
                  <a:lnTo>
                    <a:pt x="3096" y="12"/>
                  </a:lnTo>
                  <a:lnTo>
                    <a:pt x="3060" y="12"/>
                  </a:lnTo>
                  <a:lnTo>
                    <a:pt x="3048" y="18"/>
                  </a:lnTo>
                  <a:lnTo>
                    <a:pt x="3036" y="18"/>
                  </a:lnTo>
                  <a:lnTo>
                    <a:pt x="3030" y="30"/>
                  </a:lnTo>
                  <a:lnTo>
                    <a:pt x="3030" y="42"/>
                  </a:lnTo>
                  <a:lnTo>
                    <a:pt x="3036" y="54"/>
                  </a:lnTo>
                  <a:lnTo>
                    <a:pt x="3048" y="66"/>
                  </a:lnTo>
                  <a:lnTo>
                    <a:pt x="3054" y="78"/>
                  </a:lnTo>
                  <a:lnTo>
                    <a:pt x="3072" y="96"/>
                  </a:lnTo>
                  <a:close/>
                  <a:moveTo>
                    <a:pt x="6138" y="408"/>
                  </a:moveTo>
                  <a:lnTo>
                    <a:pt x="6144" y="402"/>
                  </a:lnTo>
                  <a:lnTo>
                    <a:pt x="6132" y="396"/>
                  </a:lnTo>
                  <a:lnTo>
                    <a:pt x="6102" y="390"/>
                  </a:lnTo>
                  <a:lnTo>
                    <a:pt x="6036" y="390"/>
                  </a:lnTo>
                  <a:lnTo>
                    <a:pt x="6012" y="366"/>
                  </a:lnTo>
                  <a:lnTo>
                    <a:pt x="6000" y="360"/>
                  </a:lnTo>
                  <a:lnTo>
                    <a:pt x="5970" y="360"/>
                  </a:lnTo>
                  <a:lnTo>
                    <a:pt x="5958" y="366"/>
                  </a:lnTo>
                  <a:lnTo>
                    <a:pt x="5910" y="366"/>
                  </a:lnTo>
                  <a:lnTo>
                    <a:pt x="5946" y="390"/>
                  </a:lnTo>
                  <a:lnTo>
                    <a:pt x="5964" y="396"/>
                  </a:lnTo>
                  <a:lnTo>
                    <a:pt x="6000" y="402"/>
                  </a:lnTo>
                  <a:lnTo>
                    <a:pt x="6054" y="414"/>
                  </a:lnTo>
                  <a:lnTo>
                    <a:pt x="6102" y="414"/>
                  </a:lnTo>
                  <a:lnTo>
                    <a:pt x="6138" y="408"/>
                  </a:lnTo>
                  <a:close/>
                  <a:moveTo>
                    <a:pt x="7602" y="744"/>
                  </a:moveTo>
                  <a:lnTo>
                    <a:pt x="7596" y="732"/>
                  </a:lnTo>
                  <a:lnTo>
                    <a:pt x="7572" y="726"/>
                  </a:lnTo>
                  <a:lnTo>
                    <a:pt x="7512" y="714"/>
                  </a:lnTo>
                  <a:lnTo>
                    <a:pt x="7500" y="714"/>
                  </a:lnTo>
                  <a:lnTo>
                    <a:pt x="7512" y="726"/>
                  </a:lnTo>
                  <a:lnTo>
                    <a:pt x="7548" y="738"/>
                  </a:lnTo>
                  <a:lnTo>
                    <a:pt x="7584" y="744"/>
                  </a:lnTo>
                  <a:lnTo>
                    <a:pt x="7602" y="744"/>
                  </a:lnTo>
                  <a:close/>
                  <a:moveTo>
                    <a:pt x="3162" y="120"/>
                  </a:moveTo>
                  <a:lnTo>
                    <a:pt x="3216" y="138"/>
                  </a:lnTo>
                  <a:lnTo>
                    <a:pt x="3246" y="144"/>
                  </a:lnTo>
                  <a:lnTo>
                    <a:pt x="3264" y="144"/>
                  </a:lnTo>
                  <a:lnTo>
                    <a:pt x="3312" y="138"/>
                  </a:lnTo>
                  <a:lnTo>
                    <a:pt x="3372" y="156"/>
                  </a:lnTo>
                  <a:lnTo>
                    <a:pt x="3432" y="156"/>
                  </a:lnTo>
                  <a:lnTo>
                    <a:pt x="3426" y="138"/>
                  </a:lnTo>
                  <a:lnTo>
                    <a:pt x="3402" y="102"/>
                  </a:lnTo>
                  <a:lnTo>
                    <a:pt x="3384" y="96"/>
                  </a:lnTo>
                  <a:lnTo>
                    <a:pt x="3372" y="90"/>
                  </a:lnTo>
                  <a:lnTo>
                    <a:pt x="3354" y="96"/>
                  </a:lnTo>
                  <a:lnTo>
                    <a:pt x="3318" y="114"/>
                  </a:lnTo>
                  <a:lnTo>
                    <a:pt x="3294" y="90"/>
                  </a:lnTo>
                  <a:lnTo>
                    <a:pt x="3282" y="90"/>
                  </a:lnTo>
                  <a:lnTo>
                    <a:pt x="3210" y="102"/>
                  </a:lnTo>
                  <a:lnTo>
                    <a:pt x="3174" y="114"/>
                  </a:lnTo>
                  <a:lnTo>
                    <a:pt x="3162" y="120"/>
                  </a:lnTo>
                  <a:close/>
                  <a:moveTo>
                    <a:pt x="3582" y="198"/>
                  </a:moveTo>
                  <a:lnTo>
                    <a:pt x="3744" y="192"/>
                  </a:lnTo>
                  <a:lnTo>
                    <a:pt x="3702" y="168"/>
                  </a:lnTo>
                  <a:lnTo>
                    <a:pt x="3696" y="168"/>
                  </a:lnTo>
                  <a:lnTo>
                    <a:pt x="3690" y="162"/>
                  </a:lnTo>
                  <a:lnTo>
                    <a:pt x="3666" y="150"/>
                  </a:lnTo>
                  <a:lnTo>
                    <a:pt x="3648" y="144"/>
                  </a:lnTo>
                  <a:lnTo>
                    <a:pt x="3636" y="138"/>
                  </a:lnTo>
                  <a:lnTo>
                    <a:pt x="3618" y="138"/>
                  </a:lnTo>
                  <a:lnTo>
                    <a:pt x="3606" y="144"/>
                  </a:lnTo>
                  <a:lnTo>
                    <a:pt x="3600" y="150"/>
                  </a:lnTo>
                  <a:lnTo>
                    <a:pt x="3588" y="156"/>
                  </a:lnTo>
                  <a:lnTo>
                    <a:pt x="3588" y="150"/>
                  </a:lnTo>
                  <a:lnTo>
                    <a:pt x="3582" y="144"/>
                  </a:lnTo>
                  <a:lnTo>
                    <a:pt x="3576" y="132"/>
                  </a:lnTo>
                  <a:lnTo>
                    <a:pt x="3570" y="126"/>
                  </a:lnTo>
                  <a:lnTo>
                    <a:pt x="3546" y="114"/>
                  </a:lnTo>
                  <a:lnTo>
                    <a:pt x="3522" y="126"/>
                  </a:lnTo>
                  <a:lnTo>
                    <a:pt x="3504" y="162"/>
                  </a:lnTo>
                  <a:lnTo>
                    <a:pt x="3498" y="192"/>
                  </a:lnTo>
                  <a:lnTo>
                    <a:pt x="3492" y="210"/>
                  </a:lnTo>
                  <a:lnTo>
                    <a:pt x="3516" y="222"/>
                  </a:lnTo>
                  <a:lnTo>
                    <a:pt x="3534" y="216"/>
                  </a:lnTo>
                  <a:lnTo>
                    <a:pt x="3546" y="216"/>
                  </a:lnTo>
                  <a:lnTo>
                    <a:pt x="3582" y="198"/>
                  </a:lnTo>
                  <a:close/>
                  <a:moveTo>
                    <a:pt x="5622" y="420"/>
                  </a:moveTo>
                  <a:lnTo>
                    <a:pt x="5640" y="390"/>
                  </a:lnTo>
                  <a:lnTo>
                    <a:pt x="5754" y="390"/>
                  </a:lnTo>
                  <a:lnTo>
                    <a:pt x="5688" y="360"/>
                  </a:lnTo>
                  <a:lnTo>
                    <a:pt x="5700" y="336"/>
                  </a:lnTo>
                  <a:lnTo>
                    <a:pt x="5610" y="318"/>
                  </a:lnTo>
                  <a:lnTo>
                    <a:pt x="5628" y="348"/>
                  </a:lnTo>
                  <a:lnTo>
                    <a:pt x="5616" y="342"/>
                  </a:lnTo>
                  <a:lnTo>
                    <a:pt x="5592" y="336"/>
                  </a:lnTo>
                  <a:lnTo>
                    <a:pt x="5556" y="330"/>
                  </a:lnTo>
                  <a:lnTo>
                    <a:pt x="5514" y="318"/>
                  </a:lnTo>
                  <a:lnTo>
                    <a:pt x="5454" y="318"/>
                  </a:lnTo>
                  <a:lnTo>
                    <a:pt x="5448" y="330"/>
                  </a:lnTo>
                  <a:lnTo>
                    <a:pt x="5460" y="354"/>
                  </a:lnTo>
                  <a:lnTo>
                    <a:pt x="5496" y="372"/>
                  </a:lnTo>
                  <a:lnTo>
                    <a:pt x="5538" y="390"/>
                  </a:lnTo>
                  <a:lnTo>
                    <a:pt x="5574" y="408"/>
                  </a:lnTo>
                  <a:lnTo>
                    <a:pt x="5610" y="414"/>
                  </a:lnTo>
                  <a:lnTo>
                    <a:pt x="5622" y="420"/>
                  </a:lnTo>
                  <a:close/>
                  <a:moveTo>
                    <a:pt x="4320" y="432"/>
                  </a:moveTo>
                  <a:lnTo>
                    <a:pt x="4368" y="444"/>
                  </a:lnTo>
                  <a:lnTo>
                    <a:pt x="4380" y="444"/>
                  </a:lnTo>
                  <a:lnTo>
                    <a:pt x="4392" y="438"/>
                  </a:lnTo>
                  <a:lnTo>
                    <a:pt x="4398" y="438"/>
                  </a:lnTo>
                  <a:lnTo>
                    <a:pt x="4404" y="432"/>
                  </a:lnTo>
                  <a:lnTo>
                    <a:pt x="4404" y="426"/>
                  </a:lnTo>
                  <a:lnTo>
                    <a:pt x="4398" y="426"/>
                  </a:lnTo>
                  <a:lnTo>
                    <a:pt x="4362" y="414"/>
                  </a:lnTo>
                  <a:lnTo>
                    <a:pt x="4344" y="420"/>
                  </a:lnTo>
                  <a:lnTo>
                    <a:pt x="4332" y="420"/>
                  </a:lnTo>
                  <a:lnTo>
                    <a:pt x="4320" y="432"/>
                  </a:lnTo>
                  <a:close/>
                  <a:moveTo>
                    <a:pt x="5424" y="354"/>
                  </a:moveTo>
                  <a:lnTo>
                    <a:pt x="5370" y="336"/>
                  </a:lnTo>
                  <a:lnTo>
                    <a:pt x="5394" y="366"/>
                  </a:lnTo>
                  <a:lnTo>
                    <a:pt x="5424" y="354"/>
                  </a:lnTo>
                  <a:close/>
                  <a:moveTo>
                    <a:pt x="7986" y="666"/>
                  </a:moveTo>
                  <a:lnTo>
                    <a:pt x="8034" y="654"/>
                  </a:lnTo>
                  <a:lnTo>
                    <a:pt x="8088" y="654"/>
                  </a:lnTo>
                  <a:lnTo>
                    <a:pt x="8100" y="648"/>
                  </a:lnTo>
                  <a:lnTo>
                    <a:pt x="8106" y="642"/>
                  </a:lnTo>
                  <a:lnTo>
                    <a:pt x="8106" y="636"/>
                  </a:lnTo>
                  <a:lnTo>
                    <a:pt x="8100" y="630"/>
                  </a:lnTo>
                  <a:lnTo>
                    <a:pt x="8088" y="630"/>
                  </a:lnTo>
                  <a:lnTo>
                    <a:pt x="8052" y="618"/>
                  </a:lnTo>
                  <a:lnTo>
                    <a:pt x="8028" y="612"/>
                  </a:lnTo>
                  <a:lnTo>
                    <a:pt x="8010" y="606"/>
                  </a:lnTo>
                  <a:lnTo>
                    <a:pt x="7968" y="606"/>
                  </a:lnTo>
                  <a:lnTo>
                    <a:pt x="7944" y="618"/>
                  </a:lnTo>
                  <a:lnTo>
                    <a:pt x="7938" y="630"/>
                  </a:lnTo>
                  <a:lnTo>
                    <a:pt x="7938" y="654"/>
                  </a:lnTo>
                  <a:lnTo>
                    <a:pt x="7944" y="666"/>
                  </a:lnTo>
                  <a:lnTo>
                    <a:pt x="7950" y="666"/>
                  </a:lnTo>
                  <a:lnTo>
                    <a:pt x="7962" y="672"/>
                  </a:lnTo>
                  <a:lnTo>
                    <a:pt x="7968" y="672"/>
                  </a:lnTo>
                  <a:lnTo>
                    <a:pt x="7980" y="666"/>
                  </a:lnTo>
                  <a:lnTo>
                    <a:pt x="7986" y="666"/>
                  </a:lnTo>
                  <a:close/>
                  <a:moveTo>
                    <a:pt x="162" y="1788"/>
                  </a:moveTo>
                  <a:lnTo>
                    <a:pt x="150" y="1788"/>
                  </a:lnTo>
                  <a:lnTo>
                    <a:pt x="138" y="1794"/>
                  </a:lnTo>
                  <a:lnTo>
                    <a:pt x="114" y="1794"/>
                  </a:lnTo>
                  <a:lnTo>
                    <a:pt x="108" y="1788"/>
                  </a:lnTo>
                  <a:lnTo>
                    <a:pt x="96" y="1788"/>
                  </a:lnTo>
                  <a:lnTo>
                    <a:pt x="96" y="1782"/>
                  </a:lnTo>
                  <a:lnTo>
                    <a:pt x="84" y="1782"/>
                  </a:lnTo>
                  <a:lnTo>
                    <a:pt x="84" y="1788"/>
                  </a:lnTo>
                  <a:lnTo>
                    <a:pt x="72" y="1800"/>
                  </a:lnTo>
                  <a:lnTo>
                    <a:pt x="12" y="1800"/>
                  </a:lnTo>
                  <a:lnTo>
                    <a:pt x="0" y="1812"/>
                  </a:lnTo>
                  <a:lnTo>
                    <a:pt x="0" y="1818"/>
                  </a:lnTo>
                  <a:lnTo>
                    <a:pt x="12" y="1830"/>
                  </a:lnTo>
                  <a:lnTo>
                    <a:pt x="6" y="1842"/>
                  </a:lnTo>
                  <a:lnTo>
                    <a:pt x="12" y="1848"/>
                  </a:lnTo>
                  <a:lnTo>
                    <a:pt x="18" y="1848"/>
                  </a:lnTo>
                  <a:lnTo>
                    <a:pt x="24" y="1842"/>
                  </a:lnTo>
                  <a:lnTo>
                    <a:pt x="48" y="1842"/>
                  </a:lnTo>
                  <a:lnTo>
                    <a:pt x="54" y="1848"/>
                  </a:lnTo>
                  <a:lnTo>
                    <a:pt x="66" y="1848"/>
                  </a:lnTo>
                  <a:lnTo>
                    <a:pt x="72" y="1854"/>
                  </a:lnTo>
                  <a:lnTo>
                    <a:pt x="162" y="1854"/>
                  </a:lnTo>
                  <a:lnTo>
                    <a:pt x="162" y="1848"/>
                  </a:lnTo>
                  <a:lnTo>
                    <a:pt x="168" y="1848"/>
                  </a:lnTo>
                  <a:lnTo>
                    <a:pt x="162" y="1830"/>
                  </a:lnTo>
                  <a:lnTo>
                    <a:pt x="174" y="1818"/>
                  </a:lnTo>
                  <a:lnTo>
                    <a:pt x="174" y="1800"/>
                  </a:lnTo>
                  <a:lnTo>
                    <a:pt x="168" y="1788"/>
                  </a:lnTo>
                  <a:lnTo>
                    <a:pt x="162" y="1788"/>
                  </a:lnTo>
                  <a:close/>
                  <a:moveTo>
                    <a:pt x="1038" y="90"/>
                  </a:moveTo>
                  <a:lnTo>
                    <a:pt x="1062" y="72"/>
                  </a:lnTo>
                  <a:lnTo>
                    <a:pt x="1032" y="72"/>
                  </a:lnTo>
                  <a:lnTo>
                    <a:pt x="1032" y="84"/>
                  </a:lnTo>
                  <a:lnTo>
                    <a:pt x="1038" y="90"/>
                  </a:lnTo>
                  <a:close/>
                  <a:moveTo>
                    <a:pt x="990" y="72"/>
                  </a:moveTo>
                  <a:lnTo>
                    <a:pt x="1074" y="54"/>
                  </a:lnTo>
                  <a:lnTo>
                    <a:pt x="1044" y="42"/>
                  </a:lnTo>
                  <a:lnTo>
                    <a:pt x="996" y="54"/>
                  </a:lnTo>
                  <a:lnTo>
                    <a:pt x="948" y="54"/>
                  </a:lnTo>
                  <a:lnTo>
                    <a:pt x="966" y="66"/>
                  </a:lnTo>
                  <a:lnTo>
                    <a:pt x="990" y="72"/>
                  </a:lnTo>
                  <a:close/>
                  <a:moveTo>
                    <a:pt x="1122" y="90"/>
                  </a:moveTo>
                  <a:lnTo>
                    <a:pt x="1128" y="78"/>
                  </a:lnTo>
                  <a:lnTo>
                    <a:pt x="1152" y="78"/>
                  </a:lnTo>
                  <a:lnTo>
                    <a:pt x="1164" y="66"/>
                  </a:lnTo>
                  <a:lnTo>
                    <a:pt x="1218" y="66"/>
                  </a:lnTo>
                  <a:lnTo>
                    <a:pt x="1218" y="60"/>
                  </a:lnTo>
                  <a:lnTo>
                    <a:pt x="1206" y="54"/>
                  </a:lnTo>
                  <a:lnTo>
                    <a:pt x="1182" y="54"/>
                  </a:lnTo>
                  <a:lnTo>
                    <a:pt x="1182" y="48"/>
                  </a:lnTo>
                  <a:lnTo>
                    <a:pt x="1176" y="48"/>
                  </a:lnTo>
                  <a:lnTo>
                    <a:pt x="1164" y="42"/>
                  </a:lnTo>
                  <a:lnTo>
                    <a:pt x="1140" y="42"/>
                  </a:lnTo>
                  <a:lnTo>
                    <a:pt x="1134" y="48"/>
                  </a:lnTo>
                  <a:lnTo>
                    <a:pt x="1128" y="60"/>
                  </a:lnTo>
                  <a:lnTo>
                    <a:pt x="1128" y="66"/>
                  </a:lnTo>
                  <a:lnTo>
                    <a:pt x="1122" y="66"/>
                  </a:lnTo>
                  <a:lnTo>
                    <a:pt x="1116" y="72"/>
                  </a:lnTo>
                  <a:lnTo>
                    <a:pt x="1104" y="72"/>
                  </a:lnTo>
                  <a:lnTo>
                    <a:pt x="1086" y="78"/>
                  </a:lnTo>
                  <a:lnTo>
                    <a:pt x="1080" y="78"/>
                  </a:lnTo>
                  <a:lnTo>
                    <a:pt x="1074" y="84"/>
                  </a:lnTo>
                  <a:lnTo>
                    <a:pt x="1080" y="84"/>
                  </a:lnTo>
                  <a:lnTo>
                    <a:pt x="1092" y="90"/>
                  </a:lnTo>
                  <a:lnTo>
                    <a:pt x="1122" y="90"/>
                  </a:lnTo>
                  <a:close/>
                  <a:moveTo>
                    <a:pt x="1176" y="78"/>
                  </a:moveTo>
                  <a:lnTo>
                    <a:pt x="1158" y="90"/>
                  </a:lnTo>
                  <a:lnTo>
                    <a:pt x="1176" y="102"/>
                  </a:lnTo>
                  <a:lnTo>
                    <a:pt x="1194" y="108"/>
                  </a:lnTo>
                  <a:lnTo>
                    <a:pt x="1248" y="102"/>
                  </a:lnTo>
                  <a:lnTo>
                    <a:pt x="1242" y="90"/>
                  </a:lnTo>
                  <a:lnTo>
                    <a:pt x="1212" y="90"/>
                  </a:lnTo>
                  <a:lnTo>
                    <a:pt x="1176" y="78"/>
                  </a:lnTo>
                  <a:close/>
                  <a:moveTo>
                    <a:pt x="7812" y="2436"/>
                  </a:moveTo>
                  <a:lnTo>
                    <a:pt x="7782" y="2400"/>
                  </a:lnTo>
                  <a:lnTo>
                    <a:pt x="7776" y="2400"/>
                  </a:lnTo>
                  <a:lnTo>
                    <a:pt x="7770" y="2394"/>
                  </a:lnTo>
                  <a:lnTo>
                    <a:pt x="7752" y="2388"/>
                  </a:lnTo>
                  <a:lnTo>
                    <a:pt x="7728" y="2364"/>
                  </a:lnTo>
                  <a:lnTo>
                    <a:pt x="7722" y="2352"/>
                  </a:lnTo>
                  <a:lnTo>
                    <a:pt x="7704" y="2298"/>
                  </a:lnTo>
                  <a:lnTo>
                    <a:pt x="7698" y="2286"/>
                  </a:lnTo>
                  <a:lnTo>
                    <a:pt x="7698" y="2274"/>
                  </a:lnTo>
                  <a:lnTo>
                    <a:pt x="7674" y="2250"/>
                  </a:lnTo>
                  <a:lnTo>
                    <a:pt x="7680" y="2244"/>
                  </a:lnTo>
                  <a:lnTo>
                    <a:pt x="7698" y="2244"/>
                  </a:lnTo>
                  <a:lnTo>
                    <a:pt x="7770" y="2268"/>
                  </a:lnTo>
                  <a:lnTo>
                    <a:pt x="7800" y="2280"/>
                  </a:lnTo>
                  <a:lnTo>
                    <a:pt x="7812" y="2286"/>
                  </a:lnTo>
                  <a:lnTo>
                    <a:pt x="7740" y="2232"/>
                  </a:lnTo>
                  <a:lnTo>
                    <a:pt x="7734" y="2226"/>
                  </a:lnTo>
                  <a:lnTo>
                    <a:pt x="7722" y="2202"/>
                  </a:lnTo>
                  <a:lnTo>
                    <a:pt x="7710" y="2196"/>
                  </a:lnTo>
                  <a:lnTo>
                    <a:pt x="7704" y="2184"/>
                  </a:lnTo>
                  <a:lnTo>
                    <a:pt x="7698" y="2178"/>
                  </a:lnTo>
                  <a:lnTo>
                    <a:pt x="7674" y="2166"/>
                  </a:lnTo>
                  <a:lnTo>
                    <a:pt x="7668" y="2160"/>
                  </a:lnTo>
                  <a:lnTo>
                    <a:pt x="7656" y="2154"/>
                  </a:lnTo>
                  <a:lnTo>
                    <a:pt x="7578" y="2070"/>
                  </a:lnTo>
                  <a:lnTo>
                    <a:pt x="7554" y="2070"/>
                  </a:lnTo>
                  <a:lnTo>
                    <a:pt x="7542" y="2040"/>
                  </a:lnTo>
                  <a:lnTo>
                    <a:pt x="7524" y="2040"/>
                  </a:lnTo>
                  <a:lnTo>
                    <a:pt x="7512" y="2028"/>
                  </a:lnTo>
                  <a:lnTo>
                    <a:pt x="7500" y="2004"/>
                  </a:lnTo>
                  <a:lnTo>
                    <a:pt x="7500" y="1980"/>
                  </a:lnTo>
                  <a:lnTo>
                    <a:pt x="7470" y="1944"/>
                  </a:lnTo>
                  <a:lnTo>
                    <a:pt x="7446" y="1950"/>
                  </a:lnTo>
                  <a:lnTo>
                    <a:pt x="7434" y="1920"/>
                  </a:lnTo>
                  <a:lnTo>
                    <a:pt x="7392" y="1890"/>
                  </a:lnTo>
                  <a:lnTo>
                    <a:pt x="7380" y="1866"/>
                  </a:lnTo>
                  <a:lnTo>
                    <a:pt x="7368" y="1860"/>
                  </a:lnTo>
                  <a:lnTo>
                    <a:pt x="7362" y="1854"/>
                  </a:lnTo>
                  <a:lnTo>
                    <a:pt x="7344" y="1854"/>
                  </a:lnTo>
                  <a:lnTo>
                    <a:pt x="7344" y="1860"/>
                  </a:lnTo>
                  <a:lnTo>
                    <a:pt x="7392" y="1908"/>
                  </a:lnTo>
                  <a:lnTo>
                    <a:pt x="7392" y="1914"/>
                  </a:lnTo>
                  <a:lnTo>
                    <a:pt x="7386" y="1914"/>
                  </a:lnTo>
                  <a:lnTo>
                    <a:pt x="7380" y="1908"/>
                  </a:lnTo>
                  <a:lnTo>
                    <a:pt x="7368" y="1908"/>
                  </a:lnTo>
                  <a:lnTo>
                    <a:pt x="7362" y="1914"/>
                  </a:lnTo>
                  <a:lnTo>
                    <a:pt x="7362" y="1926"/>
                  </a:lnTo>
                  <a:lnTo>
                    <a:pt x="7374" y="1950"/>
                  </a:lnTo>
                  <a:lnTo>
                    <a:pt x="7386" y="1962"/>
                  </a:lnTo>
                  <a:lnTo>
                    <a:pt x="7392" y="1974"/>
                  </a:lnTo>
                  <a:lnTo>
                    <a:pt x="7404" y="1980"/>
                  </a:lnTo>
                  <a:lnTo>
                    <a:pt x="7404" y="1992"/>
                  </a:lnTo>
                  <a:lnTo>
                    <a:pt x="7416" y="2016"/>
                  </a:lnTo>
                  <a:lnTo>
                    <a:pt x="7422" y="2022"/>
                  </a:lnTo>
                  <a:lnTo>
                    <a:pt x="7440" y="2034"/>
                  </a:lnTo>
                  <a:lnTo>
                    <a:pt x="7470" y="2052"/>
                  </a:lnTo>
                  <a:lnTo>
                    <a:pt x="7500" y="2076"/>
                  </a:lnTo>
                  <a:lnTo>
                    <a:pt x="7518" y="2100"/>
                  </a:lnTo>
                  <a:lnTo>
                    <a:pt x="7524" y="2112"/>
                  </a:lnTo>
                  <a:lnTo>
                    <a:pt x="7536" y="2130"/>
                  </a:lnTo>
                  <a:lnTo>
                    <a:pt x="7536" y="2142"/>
                  </a:lnTo>
                  <a:lnTo>
                    <a:pt x="7548" y="2154"/>
                  </a:lnTo>
                  <a:lnTo>
                    <a:pt x="7554" y="2166"/>
                  </a:lnTo>
                  <a:lnTo>
                    <a:pt x="7572" y="2184"/>
                  </a:lnTo>
                  <a:lnTo>
                    <a:pt x="7590" y="2208"/>
                  </a:lnTo>
                  <a:lnTo>
                    <a:pt x="7608" y="2238"/>
                  </a:lnTo>
                  <a:lnTo>
                    <a:pt x="7620" y="2262"/>
                  </a:lnTo>
                  <a:lnTo>
                    <a:pt x="7626" y="2268"/>
                  </a:lnTo>
                  <a:lnTo>
                    <a:pt x="7626" y="2280"/>
                  </a:lnTo>
                  <a:lnTo>
                    <a:pt x="7632" y="2292"/>
                  </a:lnTo>
                  <a:lnTo>
                    <a:pt x="7644" y="2304"/>
                  </a:lnTo>
                  <a:lnTo>
                    <a:pt x="7656" y="2304"/>
                  </a:lnTo>
                  <a:lnTo>
                    <a:pt x="7668" y="2310"/>
                  </a:lnTo>
                  <a:lnTo>
                    <a:pt x="7674" y="2322"/>
                  </a:lnTo>
                  <a:lnTo>
                    <a:pt x="7686" y="2334"/>
                  </a:lnTo>
                  <a:lnTo>
                    <a:pt x="7698" y="2358"/>
                  </a:lnTo>
                  <a:lnTo>
                    <a:pt x="7698" y="2376"/>
                  </a:lnTo>
                  <a:lnTo>
                    <a:pt x="7740" y="2412"/>
                  </a:lnTo>
                  <a:lnTo>
                    <a:pt x="7752" y="2466"/>
                  </a:lnTo>
                  <a:lnTo>
                    <a:pt x="7794" y="2508"/>
                  </a:lnTo>
                  <a:lnTo>
                    <a:pt x="7794" y="2502"/>
                  </a:lnTo>
                  <a:lnTo>
                    <a:pt x="7788" y="2496"/>
                  </a:lnTo>
                  <a:lnTo>
                    <a:pt x="7788" y="2484"/>
                  </a:lnTo>
                  <a:lnTo>
                    <a:pt x="7782" y="2472"/>
                  </a:lnTo>
                  <a:lnTo>
                    <a:pt x="7782" y="2460"/>
                  </a:lnTo>
                  <a:lnTo>
                    <a:pt x="7776" y="2448"/>
                  </a:lnTo>
                  <a:lnTo>
                    <a:pt x="7782" y="2442"/>
                  </a:lnTo>
                  <a:lnTo>
                    <a:pt x="7788" y="2442"/>
                  </a:lnTo>
                  <a:lnTo>
                    <a:pt x="7800" y="2454"/>
                  </a:lnTo>
                  <a:lnTo>
                    <a:pt x="7830" y="2454"/>
                  </a:lnTo>
                  <a:lnTo>
                    <a:pt x="7866" y="2496"/>
                  </a:lnTo>
                  <a:lnTo>
                    <a:pt x="7866" y="2472"/>
                  </a:lnTo>
                  <a:lnTo>
                    <a:pt x="7836" y="2430"/>
                  </a:lnTo>
                  <a:lnTo>
                    <a:pt x="7812" y="2436"/>
                  </a:lnTo>
                  <a:close/>
                  <a:moveTo>
                    <a:pt x="1344" y="84"/>
                  </a:moveTo>
                  <a:lnTo>
                    <a:pt x="1350" y="72"/>
                  </a:lnTo>
                  <a:lnTo>
                    <a:pt x="1308" y="66"/>
                  </a:lnTo>
                  <a:lnTo>
                    <a:pt x="1284" y="78"/>
                  </a:lnTo>
                  <a:lnTo>
                    <a:pt x="1290" y="90"/>
                  </a:lnTo>
                  <a:lnTo>
                    <a:pt x="1344" y="84"/>
                  </a:lnTo>
                  <a:close/>
                  <a:moveTo>
                    <a:pt x="9048" y="996"/>
                  </a:moveTo>
                  <a:lnTo>
                    <a:pt x="9036" y="984"/>
                  </a:lnTo>
                  <a:lnTo>
                    <a:pt x="9024" y="978"/>
                  </a:lnTo>
                  <a:lnTo>
                    <a:pt x="9006" y="972"/>
                  </a:lnTo>
                  <a:lnTo>
                    <a:pt x="8994" y="966"/>
                  </a:lnTo>
                  <a:lnTo>
                    <a:pt x="8982" y="966"/>
                  </a:lnTo>
                  <a:lnTo>
                    <a:pt x="8940" y="948"/>
                  </a:lnTo>
                  <a:lnTo>
                    <a:pt x="8898" y="948"/>
                  </a:lnTo>
                  <a:lnTo>
                    <a:pt x="8868" y="930"/>
                  </a:lnTo>
                  <a:lnTo>
                    <a:pt x="8778" y="924"/>
                  </a:lnTo>
                  <a:lnTo>
                    <a:pt x="8736" y="906"/>
                  </a:lnTo>
                  <a:lnTo>
                    <a:pt x="8700" y="906"/>
                  </a:lnTo>
                  <a:lnTo>
                    <a:pt x="8754" y="942"/>
                  </a:lnTo>
                  <a:lnTo>
                    <a:pt x="8808" y="966"/>
                  </a:lnTo>
                  <a:lnTo>
                    <a:pt x="8796" y="966"/>
                  </a:lnTo>
                  <a:lnTo>
                    <a:pt x="8784" y="972"/>
                  </a:lnTo>
                  <a:lnTo>
                    <a:pt x="8754" y="972"/>
                  </a:lnTo>
                  <a:lnTo>
                    <a:pt x="8730" y="960"/>
                  </a:lnTo>
                  <a:lnTo>
                    <a:pt x="8676" y="906"/>
                  </a:lnTo>
                  <a:lnTo>
                    <a:pt x="8580" y="870"/>
                  </a:lnTo>
                  <a:lnTo>
                    <a:pt x="8496" y="846"/>
                  </a:lnTo>
                  <a:lnTo>
                    <a:pt x="8442" y="834"/>
                  </a:lnTo>
                  <a:lnTo>
                    <a:pt x="8370" y="822"/>
                  </a:lnTo>
                  <a:lnTo>
                    <a:pt x="8280" y="804"/>
                  </a:lnTo>
                  <a:lnTo>
                    <a:pt x="8190" y="780"/>
                  </a:lnTo>
                  <a:lnTo>
                    <a:pt x="8112" y="762"/>
                  </a:lnTo>
                  <a:lnTo>
                    <a:pt x="8052" y="750"/>
                  </a:lnTo>
                  <a:lnTo>
                    <a:pt x="7998" y="738"/>
                  </a:lnTo>
                  <a:lnTo>
                    <a:pt x="7956" y="732"/>
                  </a:lnTo>
                  <a:lnTo>
                    <a:pt x="7758" y="732"/>
                  </a:lnTo>
                  <a:lnTo>
                    <a:pt x="7746" y="714"/>
                  </a:lnTo>
                  <a:lnTo>
                    <a:pt x="7698" y="720"/>
                  </a:lnTo>
                  <a:lnTo>
                    <a:pt x="7680" y="708"/>
                  </a:lnTo>
                  <a:lnTo>
                    <a:pt x="7626" y="708"/>
                  </a:lnTo>
                  <a:lnTo>
                    <a:pt x="7650" y="726"/>
                  </a:lnTo>
                  <a:lnTo>
                    <a:pt x="7644" y="744"/>
                  </a:lnTo>
                  <a:lnTo>
                    <a:pt x="7656" y="744"/>
                  </a:lnTo>
                  <a:lnTo>
                    <a:pt x="7680" y="756"/>
                  </a:lnTo>
                  <a:lnTo>
                    <a:pt x="7716" y="762"/>
                  </a:lnTo>
                  <a:lnTo>
                    <a:pt x="7740" y="774"/>
                  </a:lnTo>
                  <a:lnTo>
                    <a:pt x="7758" y="786"/>
                  </a:lnTo>
                  <a:lnTo>
                    <a:pt x="7752" y="798"/>
                  </a:lnTo>
                  <a:lnTo>
                    <a:pt x="7728" y="804"/>
                  </a:lnTo>
                  <a:lnTo>
                    <a:pt x="7698" y="804"/>
                  </a:lnTo>
                  <a:lnTo>
                    <a:pt x="7686" y="798"/>
                  </a:lnTo>
                  <a:lnTo>
                    <a:pt x="7680" y="792"/>
                  </a:lnTo>
                  <a:lnTo>
                    <a:pt x="7656" y="774"/>
                  </a:lnTo>
                  <a:lnTo>
                    <a:pt x="7584" y="774"/>
                  </a:lnTo>
                  <a:lnTo>
                    <a:pt x="7530" y="738"/>
                  </a:lnTo>
                  <a:lnTo>
                    <a:pt x="7524" y="738"/>
                  </a:lnTo>
                  <a:lnTo>
                    <a:pt x="7518" y="744"/>
                  </a:lnTo>
                  <a:lnTo>
                    <a:pt x="7506" y="744"/>
                  </a:lnTo>
                  <a:lnTo>
                    <a:pt x="7500" y="750"/>
                  </a:lnTo>
                  <a:lnTo>
                    <a:pt x="7446" y="750"/>
                  </a:lnTo>
                  <a:lnTo>
                    <a:pt x="7440" y="738"/>
                  </a:lnTo>
                  <a:lnTo>
                    <a:pt x="7344" y="744"/>
                  </a:lnTo>
                  <a:lnTo>
                    <a:pt x="7320" y="726"/>
                  </a:lnTo>
                  <a:lnTo>
                    <a:pt x="7314" y="732"/>
                  </a:lnTo>
                  <a:lnTo>
                    <a:pt x="7212" y="732"/>
                  </a:lnTo>
                  <a:lnTo>
                    <a:pt x="7206" y="738"/>
                  </a:lnTo>
                  <a:lnTo>
                    <a:pt x="7212" y="744"/>
                  </a:lnTo>
                  <a:lnTo>
                    <a:pt x="7218" y="756"/>
                  </a:lnTo>
                  <a:lnTo>
                    <a:pt x="7254" y="792"/>
                  </a:lnTo>
                  <a:lnTo>
                    <a:pt x="7248" y="792"/>
                  </a:lnTo>
                  <a:lnTo>
                    <a:pt x="7242" y="786"/>
                  </a:lnTo>
                  <a:lnTo>
                    <a:pt x="7230" y="780"/>
                  </a:lnTo>
                  <a:lnTo>
                    <a:pt x="7218" y="768"/>
                  </a:lnTo>
                  <a:lnTo>
                    <a:pt x="7206" y="762"/>
                  </a:lnTo>
                  <a:lnTo>
                    <a:pt x="7194" y="750"/>
                  </a:lnTo>
                  <a:lnTo>
                    <a:pt x="7176" y="744"/>
                  </a:lnTo>
                  <a:lnTo>
                    <a:pt x="7104" y="732"/>
                  </a:lnTo>
                  <a:lnTo>
                    <a:pt x="7086" y="732"/>
                  </a:lnTo>
                  <a:lnTo>
                    <a:pt x="7086" y="726"/>
                  </a:lnTo>
                  <a:lnTo>
                    <a:pt x="7056" y="696"/>
                  </a:lnTo>
                  <a:lnTo>
                    <a:pt x="7032" y="684"/>
                  </a:lnTo>
                  <a:lnTo>
                    <a:pt x="6990" y="666"/>
                  </a:lnTo>
                  <a:lnTo>
                    <a:pt x="6948" y="660"/>
                  </a:lnTo>
                  <a:lnTo>
                    <a:pt x="6912" y="654"/>
                  </a:lnTo>
                  <a:lnTo>
                    <a:pt x="6882" y="654"/>
                  </a:lnTo>
                  <a:lnTo>
                    <a:pt x="6864" y="648"/>
                  </a:lnTo>
                  <a:lnTo>
                    <a:pt x="6834" y="648"/>
                  </a:lnTo>
                  <a:lnTo>
                    <a:pt x="6786" y="636"/>
                  </a:lnTo>
                  <a:lnTo>
                    <a:pt x="6774" y="642"/>
                  </a:lnTo>
                  <a:lnTo>
                    <a:pt x="6714" y="642"/>
                  </a:lnTo>
                  <a:lnTo>
                    <a:pt x="6696" y="660"/>
                  </a:lnTo>
                  <a:lnTo>
                    <a:pt x="6684" y="666"/>
                  </a:lnTo>
                  <a:lnTo>
                    <a:pt x="6648" y="666"/>
                  </a:lnTo>
                  <a:lnTo>
                    <a:pt x="6630" y="660"/>
                  </a:lnTo>
                  <a:lnTo>
                    <a:pt x="6594" y="660"/>
                  </a:lnTo>
                  <a:lnTo>
                    <a:pt x="6582" y="654"/>
                  </a:lnTo>
                  <a:lnTo>
                    <a:pt x="6576" y="648"/>
                  </a:lnTo>
                  <a:lnTo>
                    <a:pt x="6552" y="636"/>
                  </a:lnTo>
                  <a:lnTo>
                    <a:pt x="6534" y="630"/>
                  </a:lnTo>
                  <a:lnTo>
                    <a:pt x="6522" y="624"/>
                  </a:lnTo>
                  <a:lnTo>
                    <a:pt x="6498" y="624"/>
                  </a:lnTo>
                  <a:lnTo>
                    <a:pt x="6486" y="630"/>
                  </a:lnTo>
                  <a:lnTo>
                    <a:pt x="6474" y="612"/>
                  </a:lnTo>
                  <a:lnTo>
                    <a:pt x="6438" y="612"/>
                  </a:lnTo>
                  <a:lnTo>
                    <a:pt x="6372" y="606"/>
                  </a:lnTo>
                  <a:lnTo>
                    <a:pt x="6408" y="594"/>
                  </a:lnTo>
                  <a:lnTo>
                    <a:pt x="6372" y="570"/>
                  </a:lnTo>
                  <a:lnTo>
                    <a:pt x="6360" y="570"/>
                  </a:lnTo>
                  <a:lnTo>
                    <a:pt x="6324" y="564"/>
                  </a:lnTo>
                  <a:lnTo>
                    <a:pt x="6282" y="558"/>
                  </a:lnTo>
                  <a:lnTo>
                    <a:pt x="6246" y="558"/>
                  </a:lnTo>
                  <a:lnTo>
                    <a:pt x="6228" y="564"/>
                  </a:lnTo>
                  <a:lnTo>
                    <a:pt x="6228" y="594"/>
                  </a:lnTo>
                  <a:lnTo>
                    <a:pt x="6222" y="600"/>
                  </a:lnTo>
                  <a:lnTo>
                    <a:pt x="6192" y="600"/>
                  </a:lnTo>
                  <a:lnTo>
                    <a:pt x="6180" y="594"/>
                  </a:lnTo>
                  <a:lnTo>
                    <a:pt x="6168" y="594"/>
                  </a:lnTo>
                  <a:lnTo>
                    <a:pt x="6186" y="582"/>
                  </a:lnTo>
                  <a:lnTo>
                    <a:pt x="6168" y="570"/>
                  </a:lnTo>
                  <a:lnTo>
                    <a:pt x="6096" y="570"/>
                  </a:lnTo>
                  <a:lnTo>
                    <a:pt x="6114" y="558"/>
                  </a:lnTo>
                  <a:lnTo>
                    <a:pt x="6156" y="558"/>
                  </a:lnTo>
                  <a:lnTo>
                    <a:pt x="6216" y="588"/>
                  </a:lnTo>
                  <a:lnTo>
                    <a:pt x="6216" y="564"/>
                  </a:lnTo>
                  <a:lnTo>
                    <a:pt x="6162" y="540"/>
                  </a:lnTo>
                  <a:lnTo>
                    <a:pt x="6048" y="546"/>
                  </a:lnTo>
                  <a:lnTo>
                    <a:pt x="6048" y="534"/>
                  </a:lnTo>
                  <a:lnTo>
                    <a:pt x="5928" y="540"/>
                  </a:lnTo>
                  <a:lnTo>
                    <a:pt x="5880" y="522"/>
                  </a:lnTo>
                  <a:lnTo>
                    <a:pt x="5862" y="522"/>
                  </a:lnTo>
                  <a:lnTo>
                    <a:pt x="5898" y="546"/>
                  </a:lnTo>
                  <a:lnTo>
                    <a:pt x="5850" y="546"/>
                  </a:lnTo>
                  <a:lnTo>
                    <a:pt x="5838" y="552"/>
                  </a:lnTo>
                  <a:lnTo>
                    <a:pt x="5832" y="552"/>
                  </a:lnTo>
                  <a:lnTo>
                    <a:pt x="5832" y="558"/>
                  </a:lnTo>
                  <a:lnTo>
                    <a:pt x="5844" y="564"/>
                  </a:lnTo>
                  <a:lnTo>
                    <a:pt x="5850" y="570"/>
                  </a:lnTo>
                  <a:lnTo>
                    <a:pt x="5862" y="576"/>
                  </a:lnTo>
                  <a:lnTo>
                    <a:pt x="5892" y="576"/>
                  </a:lnTo>
                  <a:lnTo>
                    <a:pt x="5892" y="582"/>
                  </a:lnTo>
                  <a:lnTo>
                    <a:pt x="5952" y="618"/>
                  </a:lnTo>
                  <a:lnTo>
                    <a:pt x="5904" y="618"/>
                  </a:lnTo>
                  <a:lnTo>
                    <a:pt x="5898" y="612"/>
                  </a:lnTo>
                  <a:lnTo>
                    <a:pt x="5886" y="606"/>
                  </a:lnTo>
                  <a:lnTo>
                    <a:pt x="5874" y="606"/>
                  </a:lnTo>
                  <a:lnTo>
                    <a:pt x="5862" y="600"/>
                  </a:lnTo>
                  <a:lnTo>
                    <a:pt x="5844" y="618"/>
                  </a:lnTo>
                  <a:lnTo>
                    <a:pt x="5868" y="636"/>
                  </a:lnTo>
                  <a:lnTo>
                    <a:pt x="5814" y="630"/>
                  </a:lnTo>
                  <a:lnTo>
                    <a:pt x="5808" y="630"/>
                  </a:lnTo>
                  <a:lnTo>
                    <a:pt x="5802" y="624"/>
                  </a:lnTo>
                  <a:lnTo>
                    <a:pt x="5784" y="618"/>
                  </a:lnTo>
                  <a:lnTo>
                    <a:pt x="5766" y="618"/>
                  </a:lnTo>
                  <a:lnTo>
                    <a:pt x="5754" y="612"/>
                  </a:lnTo>
                  <a:lnTo>
                    <a:pt x="5736" y="606"/>
                  </a:lnTo>
                  <a:lnTo>
                    <a:pt x="5724" y="606"/>
                  </a:lnTo>
                  <a:lnTo>
                    <a:pt x="5712" y="612"/>
                  </a:lnTo>
                  <a:lnTo>
                    <a:pt x="5700" y="612"/>
                  </a:lnTo>
                  <a:lnTo>
                    <a:pt x="5688" y="618"/>
                  </a:lnTo>
                  <a:lnTo>
                    <a:pt x="5682" y="624"/>
                  </a:lnTo>
                  <a:lnTo>
                    <a:pt x="5676" y="624"/>
                  </a:lnTo>
                  <a:lnTo>
                    <a:pt x="5610" y="618"/>
                  </a:lnTo>
                  <a:lnTo>
                    <a:pt x="5604" y="618"/>
                  </a:lnTo>
                  <a:lnTo>
                    <a:pt x="5598" y="612"/>
                  </a:lnTo>
                  <a:lnTo>
                    <a:pt x="5562" y="594"/>
                  </a:lnTo>
                  <a:lnTo>
                    <a:pt x="5556" y="594"/>
                  </a:lnTo>
                  <a:lnTo>
                    <a:pt x="5550" y="588"/>
                  </a:lnTo>
                  <a:lnTo>
                    <a:pt x="5538" y="588"/>
                  </a:lnTo>
                  <a:lnTo>
                    <a:pt x="5538" y="606"/>
                  </a:lnTo>
                  <a:lnTo>
                    <a:pt x="5544" y="612"/>
                  </a:lnTo>
                  <a:lnTo>
                    <a:pt x="5550" y="624"/>
                  </a:lnTo>
                  <a:lnTo>
                    <a:pt x="5556" y="630"/>
                  </a:lnTo>
                  <a:lnTo>
                    <a:pt x="5562" y="642"/>
                  </a:lnTo>
                  <a:lnTo>
                    <a:pt x="5562" y="660"/>
                  </a:lnTo>
                  <a:lnTo>
                    <a:pt x="5556" y="666"/>
                  </a:lnTo>
                  <a:lnTo>
                    <a:pt x="5532" y="660"/>
                  </a:lnTo>
                  <a:lnTo>
                    <a:pt x="5424" y="624"/>
                  </a:lnTo>
                  <a:lnTo>
                    <a:pt x="5412" y="618"/>
                  </a:lnTo>
                  <a:lnTo>
                    <a:pt x="5406" y="618"/>
                  </a:lnTo>
                  <a:lnTo>
                    <a:pt x="5400" y="612"/>
                  </a:lnTo>
                  <a:lnTo>
                    <a:pt x="5394" y="600"/>
                  </a:lnTo>
                  <a:lnTo>
                    <a:pt x="5382" y="594"/>
                  </a:lnTo>
                  <a:lnTo>
                    <a:pt x="5376" y="588"/>
                  </a:lnTo>
                  <a:lnTo>
                    <a:pt x="5376" y="606"/>
                  </a:lnTo>
                  <a:lnTo>
                    <a:pt x="5322" y="588"/>
                  </a:lnTo>
                  <a:lnTo>
                    <a:pt x="5292" y="570"/>
                  </a:lnTo>
                  <a:lnTo>
                    <a:pt x="5298" y="570"/>
                  </a:lnTo>
                  <a:lnTo>
                    <a:pt x="5304" y="576"/>
                  </a:lnTo>
                  <a:lnTo>
                    <a:pt x="5328" y="576"/>
                  </a:lnTo>
                  <a:lnTo>
                    <a:pt x="5340" y="582"/>
                  </a:lnTo>
                  <a:lnTo>
                    <a:pt x="5352" y="582"/>
                  </a:lnTo>
                  <a:lnTo>
                    <a:pt x="5358" y="576"/>
                  </a:lnTo>
                  <a:lnTo>
                    <a:pt x="5358" y="570"/>
                  </a:lnTo>
                  <a:lnTo>
                    <a:pt x="5346" y="564"/>
                  </a:lnTo>
                  <a:lnTo>
                    <a:pt x="5334" y="552"/>
                  </a:lnTo>
                  <a:lnTo>
                    <a:pt x="5292" y="552"/>
                  </a:lnTo>
                  <a:lnTo>
                    <a:pt x="5304" y="540"/>
                  </a:lnTo>
                  <a:lnTo>
                    <a:pt x="5298" y="534"/>
                  </a:lnTo>
                  <a:lnTo>
                    <a:pt x="5286" y="528"/>
                  </a:lnTo>
                  <a:lnTo>
                    <a:pt x="5256" y="528"/>
                  </a:lnTo>
                  <a:lnTo>
                    <a:pt x="5268" y="510"/>
                  </a:lnTo>
                  <a:lnTo>
                    <a:pt x="5262" y="510"/>
                  </a:lnTo>
                  <a:lnTo>
                    <a:pt x="5256" y="504"/>
                  </a:lnTo>
                  <a:lnTo>
                    <a:pt x="5232" y="504"/>
                  </a:lnTo>
                  <a:lnTo>
                    <a:pt x="5220" y="498"/>
                  </a:lnTo>
                  <a:lnTo>
                    <a:pt x="5208" y="498"/>
                  </a:lnTo>
                  <a:lnTo>
                    <a:pt x="5202" y="492"/>
                  </a:lnTo>
                  <a:lnTo>
                    <a:pt x="5190" y="492"/>
                  </a:lnTo>
                  <a:lnTo>
                    <a:pt x="5184" y="486"/>
                  </a:lnTo>
                  <a:lnTo>
                    <a:pt x="5142" y="486"/>
                  </a:lnTo>
                  <a:lnTo>
                    <a:pt x="5130" y="492"/>
                  </a:lnTo>
                  <a:lnTo>
                    <a:pt x="5094" y="492"/>
                  </a:lnTo>
                  <a:lnTo>
                    <a:pt x="5076" y="486"/>
                  </a:lnTo>
                  <a:lnTo>
                    <a:pt x="5070" y="480"/>
                  </a:lnTo>
                  <a:lnTo>
                    <a:pt x="5064" y="480"/>
                  </a:lnTo>
                  <a:lnTo>
                    <a:pt x="5040" y="486"/>
                  </a:lnTo>
                  <a:lnTo>
                    <a:pt x="5040" y="474"/>
                  </a:lnTo>
                  <a:lnTo>
                    <a:pt x="4992" y="468"/>
                  </a:lnTo>
                  <a:lnTo>
                    <a:pt x="4980" y="456"/>
                  </a:lnTo>
                  <a:lnTo>
                    <a:pt x="4974" y="474"/>
                  </a:lnTo>
                  <a:lnTo>
                    <a:pt x="4956" y="480"/>
                  </a:lnTo>
                  <a:lnTo>
                    <a:pt x="4986" y="498"/>
                  </a:lnTo>
                  <a:lnTo>
                    <a:pt x="5010" y="528"/>
                  </a:lnTo>
                  <a:lnTo>
                    <a:pt x="4962" y="522"/>
                  </a:lnTo>
                  <a:lnTo>
                    <a:pt x="4956" y="516"/>
                  </a:lnTo>
                  <a:lnTo>
                    <a:pt x="4890" y="522"/>
                  </a:lnTo>
                  <a:lnTo>
                    <a:pt x="4872" y="528"/>
                  </a:lnTo>
                  <a:lnTo>
                    <a:pt x="4872" y="516"/>
                  </a:lnTo>
                  <a:lnTo>
                    <a:pt x="4824" y="522"/>
                  </a:lnTo>
                  <a:lnTo>
                    <a:pt x="4818" y="510"/>
                  </a:lnTo>
                  <a:lnTo>
                    <a:pt x="4764" y="510"/>
                  </a:lnTo>
                  <a:lnTo>
                    <a:pt x="4728" y="504"/>
                  </a:lnTo>
                  <a:lnTo>
                    <a:pt x="4746" y="480"/>
                  </a:lnTo>
                  <a:lnTo>
                    <a:pt x="4620" y="480"/>
                  </a:lnTo>
                  <a:lnTo>
                    <a:pt x="4608" y="468"/>
                  </a:lnTo>
                  <a:lnTo>
                    <a:pt x="4602" y="474"/>
                  </a:lnTo>
                  <a:lnTo>
                    <a:pt x="4590" y="468"/>
                  </a:lnTo>
                  <a:lnTo>
                    <a:pt x="4542" y="474"/>
                  </a:lnTo>
                  <a:lnTo>
                    <a:pt x="4548" y="486"/>
                  </a:lnTo>
                  <a:lnTo>
                    <a:pt x="4488" y="480"/>
                  </a:lnTo>
                  <a:lnTo>
                    <a:pt x="4476" y="486"/>
                  </a:lnTo>
                  <a:lnTo>
                    <a:pt x="4506" y="498"/>
                  </a:lnTo>
                  <a:lnTo>
                    <a:pt x="4464" y="492"/>
                  </a:lnTo>
                  <a:lnTo>
                    <a:pt x="4464" y="474"/>
                  </a:lnTo>
                  <a:lnTo>
                    <a:pt x="4434" y="456"/>
                  </a:lnTo>
                  <a:lnTo>
                    <a:pt x="4416" y="456"/>
                  </a:lnTo>
                  <a:lnTo>
                    <a:pt x="4428" y="474"/>
                  </a:lnTo>
                  <a:lnTo>
                    <a:pt x="4374" y="474"/>
                  </a:lnTo>
                  <a:lnTo>
                    <a:pt x="4368" y="468"/>
                  </a:lnTo>
                  <a:lnTo>
                    <a:pt x="4356" y="468"/>
                  </a:lnTo>
                  <a:lnTo>
                    <a:pt x="4350" y="456"/>
                  </a:lnTo>
                  <a:lnTo>
                    <a:pt x="4320" y="456"/>
                  </a:lnTo>
                  <a:lnTo>
                    <a:pt x="4296" y="444"/>
                  </a:lnTo>
                  <a:lnTo>
                    <a:pt x="4266" y="468"/>
                  </a:lnTo>
                  <a:lnTo>
                    <a:pt x="4320" y="474"/>
                  </a:lnTo>
                  <a:lnTo>
                    <a:pt x="4332" y="474"/>
                  </a:lnTo>
                  <a:lnTo>
                    <a:pt x="4326" y="480"/>
                  </a:lnTo>
                  <a:lnTo>
                    <a:pt x="4314" y="486"/>
                  </a:lnTo>
                  <a:lnTo>
                    <a:pt x="4308" y="492"/>
                  </a:lnTo>
                  <a:lnTo>
                    <a:pt x="4272" y="492"/>
                  </a:lnTo>
                  <a:lnTo>
                    <a:pt x="4266" y="498"/>
                  </a:lnTo>
                  <a:lnTo>
                    <a:pt x="4254" y="504"/>
                  </a:lnTo>
                  <a:lnTo>
                    <a:pt x="4182" y="504"/>
                  </a:lnTo>
                  <a:lnTo>
                    <a:pt x="4146" y="510"/>
                  </a:lnTo>
                  <a:lnTo>
                    <a:pt x="4134" y="534"/>
                  </a:lnTo>
                  <a:lnTo>
                    <a:pt x="4110" y="528"/>
                  </a:lnTo>
                  <a:lnTo>
                    <a:pt x="4110" y="516"/>
                  </a:lnTo>
                  <a:lnTo>
                    <a:pt x="4116" y="504"/>
                  </a:lnTo>
                  <a:lnTo>
                    <a:pt x="4122" y="498"/>
                  </a:lnTo>
                  <a:lnTo>
                    <a:pt x="4134" y="492"/>
                  </a:lnTo>
                  <a:lnTo>
                    <a:pt x="4152" y="492"/>
                  </a:lnTo>
                  <a:lnTo>
                    <a:pt x="4164" y="480"/>
                  </a:lnTo>
                  <a:lnTo>
                    <a:pt x="4206" y="474"/>
                  </a:lnTo>
                  <a:lnTo>
                    <a:pt x="4248" y="438"/>
                  </a:lnTo>
                  <a:lnTo>
                    <a:pt x="4248" y="426"/>
                  </a:lnTo>
                  <a:lnTo>
                    <a:pt x="4254" y="420"/>
                  </a:lnTo>
                  <a:lnTo>
                    <a:pt x="4266" y="414"/>
                  </a:lnTo>
                  <a:lnTo>
                    <a:pt x="4278" y="414"/>
                  </a:lnTo>
                  <a:lnTo>
                    <a:pt x="4290" y="408"/>
                  </a:lnTo>
                  <a:lnTo>
                    <a:pt x="4302" y="408"/>
                  </a:lnTo>
                  <a:lnTo>
                    <a:pt x="4320" y="402"/>
                  </a:lnTo>
                  <a:lnTo>
                    <a:pt x="4332" y="402"/>
                  </a:lnTo>
                  <a:lnTo>
                    <a:pt x="4344" y="396"/>
                  </a:lnTo>
                  <a:lnTo>
                    <a:pt x="4350" y="390"/>
                  </a:lnTo>
                  <a:lnTo>
                    <a:pt x="4356" y="378"/>
                  </a:lnTo>
                  <a:lnTo>
                    <a:pt x="4350" y="366"/>
                  </a:lnTo>
                  <a:lnTo>
                    <a:pt x="4344" y="360"/>
                  </a:lnTo>
                  <a:lnTo>
                    <a:pt x="4332" y="354"/>
                  </a:lnTo>
                  <a:lnTo>
                    <a:pt x="4326" y="348"/>
                  </a:lnTo>
                  <a:lnTo>
                    <a:pt x="4290" y="348"/>
                  </a:lnTo>
                  <a:lnTo>
                    <a:pt x="4320" y="336"/>
                  </a:lnTo>
                  <a:lnTo>
                    <a:pt x="4314" y="330"/>
                  </a:lnTo>
                  <a:lnTo>
                    <a:pt x="4302" y="324"/>
                  </a:lnTo>
                  <a:lnTo>
                    <a:pt x="4290" y="312"/>
                  </a:lnTo>
                  <a:lnTo>
                    <a:pt x="4284" y="312"/>
                  </a:lnTo>
                  <a:lnTo>
                    <a:pt x="4278" y="318"/>
                  </a:lnTo>
                  <a:lnTo>
                    <a:pt x="4254" y="318"/>
                  </a:lnTo>
                  <a:lnTo>
                    <a:pt x="4248" y="312"/>
                  </a:lnTo>
                  <a:lnTo>
                    <a:pt x="4242" y="300"/>
                  </a:lnTo>
                  <a:lnTo>
                    <a:pt x="4236" y="294"/>
                  </a:lnTo>
                  <a:lnTo>
                    <a:pt x="4194" y="294"/>
                  </a:lnTo>
                  <a:lnTo>
                    <a:pt x="4188" y="300"/>
                  </a:lnTo>
                  <a:lnTo>
                    <a:pt x="4182" y="300"/>
                  </a:lnTo>
                  <a:lnTo>
                    <a:pt x="4128" y="288"/>
                  </a:lnTo>
                  <a:lnTo>
                    <a:pt x="3990" y="282"/>
                  </a:lnTo>
                  <a:lnTo>
                    <a:pt x="3990" y="300"/>
                  </a:lnTo>
                  <a:lnTo>
                    <a:pt x="3924" y="300"/>
                  </a:lnTo>
                  <a:lnTo>
                    <a:pt x="3942" y="282"/>
                  </a:lnTo>
                  <a:lnTo>
                    <a:pt x="3942" y="276"/>
                  </a:lnTo>
                  <a:lnTo>
                    <a:pt x="3936" y="270"/>
                  </a:lnTo>
                  <a:lnTo>
                    <a:pt x="3912" y="264"/>
                  </a:lnTo>
                  <a:lnTo>
                    <a:pt x="3882" y="264"/>
                  </a:lnTo>
                  <a:lnTo>
                    <a:pt x="3852" y="270"/>
                  </a:lnTo>
                  <a:lnTo>
                    <a:pt x="3840" y="270"/>
                  </a:lnTo>
                  <a:lnTo>
                    <a:pt x="3780" y="264"/>
                  </a:lnTo>
                  <a:lnTo>
                    <a:pt x="3792" y="264"/>
                  </a:lnTo>
                  <a:lnTo>
                    <a:pt x="3810" y="258"/>
                  </a:lnTo>
                  <a:lnTo>
                    <a:pt x="3822" y="258"/>
                  </a:lnTo>
                  <a:lnTo>
                    <a:pt x="3834" y="252"/>
                  </a:lnTo>
                  <a:lnTo>
                    <a:pt x="3840" y="252"/>
                  </a:lnTo>
                  <a:lnTo>
                    <a:pt x="3840" y="246"/>
                  </a:lnTo>
                  <a:lnTo>
                    <a:pt x="3834" y="240"/>
                  </a:lnTo>
                  <a:lnTo>
                    <a:pt x="3822" y="240"/>
                  </a:lnTo>
                  <a:lnTo>
                    <a:pt x="3804" y="234"/>
                  </a:lnTo>
                  <a:lnTo>
                    <a:pt x="3762" y="234"/>
                  </a:lnTo>
                  <a:lnTo>
                    <a:pt x="3720" y="228"/>
                  </a:lnTo>
                  <a:lnTo>
                    <a:pt x="3714" y="240"/>
                  </a:lnTo>
                  <a:lnTo>
                    <a:pt x="3684" y="240"/>
                  </a:lnTo>
                  <a:lnTo>
                    <a:pt x="3672" y="246"/>
                  </a:lnTo>
                  <a:lnTo>
                    <a:pt x="3660" y="246"/>
                  </a:lnTo>
                  <a:lnTo>
                    <a:pt x="3648" y="252"/>
                  </a:lnTo>
                  <a:lnTo>
                    <a:pt x="3648" y="258"/>
                  </a:lnTo>
                  <a:lnTo>
                    <a:pt x="3654" y="270"/>
                  </a:lnTo>
                  <a:lnTo>
                    <a:pt x="3678" y="282"/>
                  </a:lnTo>
                  <a:lnTo>
                    <a:pt x="3696" y="294"/>
                  </a:lnTo>
                  <a:lnTo>
                    <a:pt x="3708" y="294"/>
                  </a:lnTo>
                  <a:lnTo>
                    <a:pt x="3714" y="300"/>
                  </a:lnTo>
                  <a:lnTo>
                    <a:pt x="3720" y="300"/>
                  </a:lnTo>
                  <a:lnTo>
                    <a:pt x="3576" y="294"/>
                  </a:lnTo>
                  <a:lnTo>
                    <a:pt x="3630" y="312"/>
                  </a:lnTo>
                  <a:lnTo>
                    <a:pt x="3576" y="324"/>
                  </a:lnTo>
                  <a:lnTo>
                    <a:pt x="3564" y="330"/>
                  </a:lnTo>
                  <a:lnTo>
                    <a:pt x="3534" y="336"/>
                  </a:lnTo>
                  <a:lnTo>
                    <a:pt x="3498" y="342"/>
                  </a:lnTo>
                  <a:lnTo>
                    <a:pt x="3474" y="342"/>
                  </a:lnTo>
                  <a:lnTo>
                    <a:pt x="3468" y="336"/>
                  </a:lnTo>
                  <a:lnTo>
                    <a:pt x="3474" y="324"/>
                  </a:lnTo>
                  <a:lnTo>
                    <a:pt x="3486" y="312"/>
                  </a:lnTo>
                  <a:lnTo>
                    <a:pt x="3420" y="312"/>
                  </a:lnTo>
                  <a:lnTo>
                    <a:pt x="3408" y="318"/>
                  </a:lnTo>
                  <a:lnTo>
                    <a:pt x="3390" y="318"/>
                  </a:lnTo>
                  <a:lnTo>
                    <a:pt x="3378" y="324"/>
                  </a:lnTo>
                  <a:lnTo>
                    <a:pt x="3366" y="336"/>
                  </a:lnTo>
                  <a:lnTo>
                    <a:pt x="3348" y="336"/>
                  </a:lnTo>
                  <a:lnTo>
                    <a:pt x="3318" y="342"/>
                  </a:lnTo>
                  <a:lnTo>
                    <a:pt x="3276" y="342"/>
                  </a:lnTo>
                  <a:lnTo>
                    <a:pt x="3246" y="348"/>
                  </a:lnTo>
                  <a:lnTo>
                    <a:pt x="3234" y="354"/>
                  </a:lnTo>
                  <a:lnTo>
                    <a:pt x="3216" y="354"/>
                  </a:lnTo>
                  <a:lnTo>
                    <a:pt x="3204" y="360"/>
                  </a:lnTo>
                  <a:lnTo>
                    <a:pt x="3186" y="360"/>
                  </a:lnTo>
                  <a:lnTo>
                    <a:pt x="3180" y="366"/>
                  </a:lnTo>
                  <a:lnTo>
                    <a:pt x="3174" y="366"/>
                  </a:lnTo>
                  <a:lnTo>
                    <a:pt x="3132" y="396"/>
                  </a:lnTo>
                  <a:lnTo>
                    <a:pt x="3114" y="396"/>
                  </a:lnTo>
                  <a:lnTo>
                    <a:pt x="3108" y="402"/>
                  </a:lnTo>
                  <a:lnTo>
                    <a:pt x="3102" y="402"/>
                  </a:lnTo>
                  <a:lnTo>
                    <a:pt x="3096" y="408"/>
                  </a:lnTo>
                  <a:lnTo>
                    <a:pt x="3102" y="414"/>
                  </a:lnTo>
                  <a:lnTo>
                    <a:pt x="3120" y="426"/>
                  </a:lnTo>
                  <a:lnTo>
                    <a:pt x="3132" y="438"/>
                  </a:lnTo>
                  <a:lnTo>
                    <a:pt x="3150" y="444"/>
                  </a:lnTo>
                  <a:lnTo>
                    <a:pt x="3156" y="450"/>
                  </a:lnTo>
                  <a:lnTo>
                    <a:pt x="3162" y="450"/>
                  </a:lnTo>
                  <a:lnTo>
                    <a:pt x="3120" y="462"/>
                  </a:lnTo>
                  <a:lnTo>
                    <a:pt x="3096" y="474"/>
                  </a:lnTo>
                  <a:lnTo>
                    <a:pt x="2994" y="474"/>
                  </a:lnTo>
                  <a:lnTo>
                    <a:pt x="2988" y="480"/>
                  </a:lnTo>
                  <a:lnTo>
                    <a:pt x="2952" y="468"/>
                  </a:lnTo>
                  <a:lnTo>
                    <a:pt x="2934" y="474"/>
                  </a:lnTo>
                  <a:lnTo>
                    <a:pt x="2880" y="474"/>
                  </a:lnTo>
                  <a:lnTo>
                    <a:pt x="2874" y="480"/>
                  </a:lnTo>
                  <a:lnTo>
                    <a:pt x="2874" y="498"/>
                  </a:lnTo>
                  <a:lnTo>
                    <a:pt x="2880" y="510"/>
                  </a:lnTo>
                  <a:lnTo>
                    <a:pt x="2892" y="522"/>
                  </a:lnTo>
                  <a:lnTo>
                    <a:pt x="2898" y="522"/>
                  </a:lnTo>
                  <a:lnTo>
                    <a:pt x="2904" y="528"/>
                  </a:lnTo>
                  <a:lnTo>
                    <a:pt x="2910" y="540"/>
                  </a:lnTo>
                  <a:lnTo>
                    <a:pt x="2916" y="546"/>
                  </a:lnTo>
                  <a:lnTo>
                    <a:pt x="2922" y="546"/>
                  </a:lnTo>
                  <a:lnTo>
                    <a:pt x="2928" y="552"/>
                  </a:lnTo>
                  <a:lnTo>
                    <a:pt x="2940" y="552"/>
                  </a:lnTo>
                  <a:lnTo>
                    <a:pt x="2952" y="558"/>
                  </a:lnTo>
                  <a:lnTo>
                    <a:pt x="2964" y="558"/>
                  </a:lnTo>
                  <a:lnTo>
                    <a:pt x="2976" y="564"/>
                  </a:lnTo>
                  <a:lnTo>
                    <a:pt x="2994" y="564"/>
                  </a:lnTo>
                  <a:lnTo>
                    <a:pt x="3012" y="570"/>
                  </a:lnTo>
                  <a:lnTo>
                    <a:pt x="3024" y="570"/>
                  </a:lnTo>
                  <a:lnTo>
                    <a:pt x="3036" y="576"/>
                  </a:lnTo>
                  <a:lnTo>
                    <a:pt x="3042" y="576"/>
                  </a:lnTo>
                  <a:lnTo>
                    <a:pt x="3054" y="588"/>
                  </a:lnTo>
                  <a:lnTo>
                    <a:pt x="3054" y="594"/>
                  </a:lnTo>
                  <a:lnTo>
                    <a:pt x="3060" y="600"/>
                  </a:lnTo>
                  <a:lnTo>
                    <a:pt x="3030" y="600"/>
                  </a:lnTo>
                  <a:lnTo>
                    <a:pt x="3012" y="606"/>
                  </a:lnTo>
                  <a:lnTo>
                    <a:pt x="3000" y="606"/>
                  </a:lnTo>
                  <a:lnTo>
                    <a:pt x="2964" y="588"/>
                  </a:lnTo>
                  <a:lnTo>
                    <a:pt x="2928" y="576"/>
                  </a:lnTo>
                  <a:lnTo>
                    <a:pt x="2904" y="570"/>
                  </a:lnTo>
                  <a:lnTo>
                    <a:pt x="2886" y="564"/>
                  </a:lnTo>
                  <a:lnTo>
                    <a:pt x="2862" y="564"/>
                  </a:lnTo>
                  <a:lnTo>
                    <a:pt x="2844" y="558"/>
                  </a:lnTo>
                  <a:lnTo>
                    <a:pt x="2802" y="558"/>
                  </a:lnTo>
                  <a:lnTo>
                    <a:pt x="2796" y="564"/>
                  </a:lnTo>
                  <a:lnTo>
                    <a:pt x="2796" y="576"/>
                  </a:lnTo>
                  <a:lnTo>
                    <a:pt x="2802" y="582"/>
                  </a:lnTo>
                  <a:lnTo>
                    <a:pt x="2808" y="582"/>
                  </a:lnTo>
                  <a:lnTo>
                    <a:pt x="2820" y="594"/>
                  </a:lnTo>
                  <a:lnTo>
                    <a:pt x="2784" y="594"/>
                  </a:lnTo>
                  <a:lnTo>
                    <a:pt x="2772" y="582"/>
                  </a:lnTo>
                  <a:lnTo>
                    <a:pt x="2754" y="582"/>
                  </a:lnTo>
                  <a:lnTo>
                    <a:pt x="2748" y="576"/>
                  </a:lnTo>
                  <a:lnTo>
                    <a:pt x="2724" y="576"/>
                  </a:lnTo>
                  <a:lnTo>
                    <a:pt x="2724" y="582"/>
                  </a:lnTo>
                  <a:lnTo>
                    <a:pt x="2730" y="600"/>
                  </a:lnTo>
                  <a:lnTo>
                    <a:pt x="2736" y="612"/>
                  </a:lnTo>
                  <a:lnTo>
                    <a:pt x="2748" y="618"/>
                  </a:lnTo>
                  <a:lnTo>
                    <a:pt x="2766" y="624"/>
                  </a:lnTo>
                  <a:lnTo>
                    <a:pt x="2802" y="624"/>
                  </a:lnTo>
                  <a:lnTo>
                    <a:pt x="2820" y="630"/>
                  </a:lnTo>
                  <a:lnTo>
                    <a:pt x="2844" y="630"/>
                  </a:lnTo>
                  <a:lnTo>
                    <a:pt x="2856" y="636"/>
                  </a:lnTo>
                  <a:lnTo>
                    <a:pt x="2862" y="648"/>
                  </a:lnTo>
                  <a:lnTo>
                    <a:pt x="2874" y="654"/>
                  </a:lnTo>
                  <a:lnTo>
                    <a:pt x="2844" y="654"/>
                  </a:lnTo>
                  <a:lnTo>
                    <a:pt x="2838" y="648"/>
                  </a:lnTo>
                  <a:lnTo>
                    <a:pt x="2826" y="642"/>
                  </a:lnTo>
                  <a:lnTo>
                    <a:pt x="2772" y="642"/>
                  </a:lnTo>
                  <a:lnTo>
                    <a:pt x="2760" y="636"/>
                  </a:lnTo>
                  <a:lnTo>
                    <a:pt x="2730" y="636"/>
                  </a:lnTo>
                  <a:lnTo>
                    <a:pt x="2724" y="624"/>
                  </a:lnTo>
                  <a:lnTo>
                    <a:pt x="2700" y="624"/>
                  </a:lnTo>
                  <a:lnTo>
                    <a:pt x="2694" y="606"/>
                  </a:lnTo>
                  <a:lnTo>
                    <a:pt x="2664" y="594"/>
                  </a:lnTo>
                  <a:lnTo>
                    <a:pt x="2670" y="588"/>
                  </a:lnTo>
                  <a:lnTo>
                    <a:pt x="2682" y="582"/>
                  </a:lnTo>
                  <a:lnTo>
                    <a:pt x="2688" y="576"/>
                  </a:lnTo>
                  <a:lnTo>
                    <a:pt x="2688" y="564"/>
                  </a:lnTo>
                  <a:lnTo>
                    <a:pt x="2658" y="534"/>
                  </a:lnTo>
                  <a:lnTo>
                    <a:pt x="2646" y="528"/>
                  </a:lnTo>
                  <a:lnTo>
                    <a:pt x="2616" y="528"/>
                  </a:lnTo>
                  <a:lnTo>
                    <a:pt x="2628" y="534"/>
                  </a:lnTo>
                  <a:lnTo>
                    <a:pt x="2652" y="558"/>
                  </a:lnTo>
                  <a:lnTo>
                    <a:pt x="2640" y="570"/>
                  </a:lnTo>
                  <a:lnTo>
                    <a:pt x="2616" y="582"/>
                  </a:lnTo>
                  <a:lnTo>
                    <a:pt x="2604" y="582"/>
                  </a:lnTo>
                  <a:lnTo>
                    <a:pt x="2586" y="624"/>
                  </a:lnTo>
                  <a:lnTo>
                    <a:pt x="2658" y="660"/>
                  </a:lnTo>
                  <a:lnTo>
                    <a:pt x="2676" y="660"/>
                  </a:lnTo>
                  <a:lnTo>
                    <a:pt x="2676" y="696"/>
                  </a:lnTo>
                  <a:lnTo>
                    <a:pt x="2670" y="708"/>
                  </a:lnTo>
                  <a:lnTo>
                    <a:pt x="2670" y="720"/>
                  </a:lnTo>
                  <a:lnTo>
                    <a:pt x="2676" y="738"/>
                  </a:lnTo>
                  <a:lnTo>
                    <a:pt x="2712" y="744"/>
                  </a:lnTo>
                  <a:lnTo>
                    <a:pt x="2712" y="768"/>
                  </a:lnTo>
                  <a:lnTo>
                    <a:pt x="2772" y="780"/>
                  </a:lnTo>
                  <a:lnTo>
                    <a:pt x="2778" y="780"/>
                  </a:lnTo>
                  <a:lnTo>
                    <a:pt x="2784" y="774"/>
                  </a:lnTo>
                  <a:lnTo>
                    <a:pt x="2796" y="774"/>
                  </a:lnTo>
                  <a:lnTo>
                    <a:pt x="2814" y="768"/>
                  </a:lnTo>
                  <a:lnTo>
                    <a:pt x="2850" y="768"/>
                  </a:lnTo>
                  <a:lnTo>
                    <a:pt x="2868" y="774"/>
                  </a:lnTo>
                  <a:lnTo>
                    <a:pt x="2874" y="780"/>
                  </a:lnTo>
                  <a:lnTo>
                    <a:pt x="2886" y="786"/>
                  </a:lnTo>
                  <a:lnTo>
                    <a:pt x="2904" y="786"/>
                  </a:lnTo>
                  <a:lnTo>
                    <a:pt x="2916" y="792"/>
                  </a:lnTo>
                  <a:lnTo>
                    <a:pt x="2952" y="804"/>
                  </a:lnTo>
                  <a:lnTo>
                    <a:pt x="2976" y="828"/>
                  </a:lnTo>
                  <a:lnTo>
                    <a:pt x="2976" y="834"/>
                  </a:lnTo>
                  <a:lnTo>
                    <a:pt x="2964" y="834"/>
                  </a:lnTo>
                  <a:lnTo>
                    <a:pt x="2958" y="840"/>
                  </a:lnTo>
                  <a:lnTo>
                    <a:pt x="2946" y="840"/>
                  </a:lnTo>
                  <a:lnTo>
                    <a:pt x="2940" y="846"/>
                  </a:lnTo>
                  <a:lnTo>
                    <a:pt x="2946" y="852"/>
                  </a:lnTo>
                  <a:lnTo>
                    <a:pt x="2958" y="858"/>
                  </a:lnTo>
                  <a:lnTo>
                    <a:pt x="2976" y="876"/>
                  </a:lnTo>
                  <a:lnTo>
                    <a:pt x="3024" y="876"/>
                  </a:lnTo>
                  <a:lnTo>
                    <a:pt x="3012" y="882"/>
                  </a:lnTo>
                  <a:lnTo>
                    <a:pt x="3006" y="882"/>
                  </a:lnTo>
                  <a:lnTo>
                    <a:pt x="2994" y="888"/>
                  </a:lnTo>
                  <a:lnTo>
                    <a:pt x="2970" y="888"/>
                  </a:lnTo>
                  <a:lnTo>
                    <a:pt x="2958" y="882"/>
                  </a:lnTo>
                  <a:lnTo>
                    <a:pt x="2952" y="876"/>
                  </a:lnTo>
                  <a:lnTo>
                    <a:pt x="2940" y="870"/>
                  </a:lnTo>
                  <a:lnTo>
                    <a:pt x="2940" y="858"/>
                  </a:lnTo>
                  <a:lnTo>
                    <a:pt x="2928" y="834"/>
                  </a:lnTo>
                  <a:lnTo>
                    <a:pt x="2916" y="822"/>
                  </a:lnTo>
                  <a:lnTo>
                    <a:pt x="2892" y="810"/>
                  </a:lnTo>
                  <a:lnTo>
                    <a:pt x="2886" y="804"/>
                  </a:lnTo>
                  <a:lnTo>
                    <a:pt x="2880" y="804"/>
                  </a:lnTo>
                  <a:lnTo>
                    <a:pt x="2874" y="798"/>
                  </a:lnTo>
                  <a:lnTo>
                    <a:pt x="2874" y="786"/>
                  </a:lnTo>
                  <a:lnTo>
                    <a:pt x="2868" y="780"/>
                  </a:lnTo>
                  <a:lnTo>
                    <a:pt x="2844" y="780"/>
                  </a:lnTo>
                  <a:lnTo>
                    <a:pt x="2832" y="786"/>
                  </a:lnTo>
                  <a:lnTo>
                    <a:pt x="2814" y="786"/>
                  </a:lnTo>
                  <a:lnTo>
                    <a:pt x="2802" y="792"/>
                  </a:lnTo>
                  <a:lnTo>
                    <a:pt x="2778" y="792"/>
                  </a:lnTo>
                  <a:lnTo>
                    <a:pt x="2760" y="810"/>
                  </a:lnTo>
                  <a:lnTo>
                    <a:pt x="2766" y="816"/>
                  </a:lnTo>
                  <a:lnTo>
                    <a:pt x="2772" y="828"/>
                  </a:lnTo>
                  <a:lnTo>
                    <a:pt x="2784" y="834"/>
                  </a:lnTo>
                  <a:lnTo>
                    <a:pt x="2802" y="852"/>
                  </a:lnTo>
                  <a:lnTo>
                    <a:pt x="2814" y="858"/>
                  </a:lnTo>
                  <a:lnTo>
                    <a:pt x="2814" y="864"/>
                  </a:lnTo>
                  <a:lnTo>
                    <a:pt x="2790" y="888"/>
                  </a:lnTo>
                  <a:lnTo>
                    <a:pt x="2784" y="888"/>
                  </a:lnTo>
                  <a:lnTo>
                    <a:pt x="2778" y="930"/>
                  </a:lnTo>
                  <a:lnTo>
                    <a:pt x="2736" y="948"/>
                  </a:lnTo>
                  <a:lnTo>
                    <a:pt x="2736" y="954"/>
                  </a:lnTo>
                  <a:lnTo>
                    <a:pt x="2730" y="966"/>
                  </a:lnTo>
                  <a:lnTo>
                    <a:pt x="2724" y="972"/>
                  </a:lnTo>
                  <a:lnTo>
                    <a:pt x="2694" y="972"/>
                  </a:lnTo>
                  <a:lnTo>
                    <a:pt x="2682" y="966"/>
                  </a:lnTo>
                  <a:lnTo>
                    <a:pt x="2652" y="966"/>
                  </a:lnTo>
                  <a:lnTo>
                    <a:pt x="2592" y="960"/>
                  </a:lnTo>
                  <a:lnTo>
                    <a:pt x="2586" y="960"/>
                  </a:lnTo>
                  <a:lnTo>
                    <a:pt x="2580" y="954"/>
                  </a:lnTo>
                  <a:lnTo>
                    <a:pt x="2568" y="948"/>
                  </a:lnTo>
                  <a:lnTo>
                    <a:pt x="2556" y="948"/>
                  </a:lnTo>
                  <a:lnTo>
                    <a:pt x="2544" y="936"/>
                  </a:lnTo>
                  <a:lnTo>
                    <a:pt x="2598" y="936"/>
                  </a:lnTo>
                  <a:lnTo>
                    <a:pt x="2616" y="942"/>
                  </a:lnTo>
                  <a:lnTo>
                    <a:pt x="2640" y="924"/>
                  </a:lnTo>
                  <a:lnTo>
                    <a:pt x="2652" y="924"/>
                  </a:lnTo>
                  <a:lnTo>
                    <a:pt x="2664" y="930"/>
                  </a:lnTo>
                  <a:lnTo>
                    <a:pt x="2682" y="930"/>
                  </a:lnTo>
                  <a:lnTo>
                    <a:pt x="2694" y="924"/>
                  </a:lnTo>
                  <a:lnTo>
                    <a:pt x="2694" y="906"/>
                  </a:lnTo>
                  <a:lnTo>
                    <a:pt x="2700" y="894"/>
                  </a:lnTo>
                  <a:lnTo>
                    <a:pt x="2700" y="882"/>
                  </a:lnTo>
                  <a:lnTo>
                    <a:pt x="2724" y="876"/>
                  </a:lnTo>
                  <a:lnTo>
                    <a:pt x="2724" y="852"/>
                  </a:lnTo>
                  <a:lnTo>
                    <a:pt x="2712" y="852"/>
                  </a:lnTo>
                  <a:lnTo>
                    <a:pt x="2718" y="846"/>
                  </a:lnTo>
                  <a:lnTo>
                    <a:pt x="2724" y="834"/>
                  </a:lnTo>
                  <a:lnTo>
                    <a:pt x="2724" y="822"/>
                  </a:lnTo>
                  <a:lnTo>
                    <a:pt x="2718" y="816"/>
                  </a:lnTo>
                  <a:lnTo>
                    <a:pt x="2712" y="816"/>
                  </a:lnTo>
                  <a:lnTo>
                    <a:pt x="2700" y="810"/>
                  </a:lnTo>
                  <a:lnTo>
                    <a:pt x="2682" y="810"/>
                  </a:lnTo>
                  <a:lnTo>
                    <a:pt x="2664" y="804"/>
                  </a:lnTo>
                  <a:lnTo>
                    <a:pt x="2652" y="804"/>
                  </a:lnTo>
                  <a:lnTo>
                    <a:pt x="2634" y="786"/>
                  </a:lnTo>
                  <a:lnTo>
                    <a:pt x="2634" y="744"/>
                  </a:lnTo>
                  <a:lnTo>
                    <a:pt x="2628" y="732"/>
                  </a:lnTo>
                  <a:lnTo>
                    <a:pt x="2616" y="720"/>
                  </a:lnTo>
                  <a:lnTo>
                    <a:pt x="2604" y="714"/>
                  </a:lnTo>
                  <a:lnTo>
                    <a:pt x="2598" y="702"/>
                  </a:lnTo>
                  <a:lnTo>
                    <a:pt x="2592" y="696"/>
                  </a:lnTo>
                  <a:lnTo>
                    <a:pt x="2586" y="660"/>
                  </a:lnTo>
                  <a:lnTo>
                    <a:pt x="2520" y="624"/>
                  </a:lnTo>
                  <a:lnTo>
                    <a:pt x="2532" y="612"/>
                  </a:lnTo>
                  <a:lnTo>
                    <a:pt x="2544" y="588"/>
                  </a:lnTo>
                  <a:lnTo>
                    <a:pt x="2544" y="576"/>
                  </a:lnTo>
                  <a:lnTo>
                    <a:pt x="2538" y="564"/>
                  </a:lnTo>
                  <a:lnTo>
                    <a:pt x="2514" y="540"/>
                  </a:lnTo>
                  <a:lnTo>
                    <a:pt x="2496" y="540"/>
                  </a:lnTo>
                  <a:lnTo>
                    <a:pt x="2484" y="534"/>
                  </a:lnTo>
                  <a:lnTo>
                    <a:pt x="2472" y="534"/>
                  </a:lnTo>
                  <a:lnTo>
                    <a:pt x="2340" y="522"/>
                  </a:lnTo>
                  <a:lnTo>
                    <a:pt x="2328" y="552"/>
                  </a:lnTo>
                  <a:lnTo>
                    <a:pt x="2346" y="570"/>
                  </a:lnTo>
                  <a:lnTo>
                    <a:pt x="2334" y="600"/>
                  </a:lnTo>
                  <a:lnTo>
                    <a:pt x="2280" y="624"/>
                  </a:lnTo>
                  <a:lnTo>
                    <a:pt x="2268" y="654"/>
                  </a:lnTo>
                  <a:lnTo>
                    <a:pt x="2304" y="660"/>
                  </a:lnTo>
                  <a:lnTo>
                    <a:pt x="2334" y="708"/>
                  </a:lnTo>
                  <a:lnTo>
                    <a:pt x="2322" y="726"/>
                  </a:lnTo>
                  <a:lnTo>
                    <a:pt x="2352" y="750"/>
                  </a:lnTo>
                  <a:lnTo>
                    <a:pt x="2388" y="744"/>
                  </a:lnTo>
                  <a:lnTo>
                    <a:pt x="2394" y="750"/>
                  </a:lnTo>
                  <a:lnTo>
                    <a:pt x="2400" y="762"/>
                  </a:lnTo>
                  <a:lnTo>
                    <a:pt x="2412" y="768"/>
                  </a:lnTo>
                  <a:lnTo>
                    <a:pt x="2418" y="774"/>
                  </a:lnTo>
                  <a:lnTo>
                    <a:pt x="2430" y="780"/>
                  </a:lnTo>
                  <a:lnTo>
                    <a:pt x="2472" y="780"/>
                  </a:lnTo>
                  <a:lnTo>
                    <a:pt x="2466" y="840"/>
                  </a:lnTo>
                  <a:lnTo>
                    <a:pt x="2448" y="816"/>
                  </a:lnTo>
                  <a:lnTo>
                    <a:pt x="2430" y="828"/>
                  </a:lnTo>
                  <a:lnTo>
                    <a:pt x="2418" y="822"/>
                  </a:lnTo>
                  <a:lnTo>
                    <a:pt x="2388" y="804"/>
                  </a:lnTo>
                  <a:lnTo>
                    <a:pt x="2352" y="792"/>
                  </a:lnTo>
                  <a:lnTo>
                    <a:pt x="2328" y="780"/>
                  </a:lnTo>
                  <a:lnTo>
                    <a:pt x="2268" y="780"/>
                  </a:lnTo>
                  <a:lnTo>
                    <a:pt x="2250" y="762"/>
                  </a:lnTo>
                  <a:lnTo>
                    <a:pt x="2244" y="780"/>
                  </a:lnTo>
                  <a:lnTo>
                    <a:pt x="2220" y="756"/>
                  </a:lnTo>
                  <a:lnTo>
                    <a:pt x="2214" y="756"/>
                  </a:lnTo>
                  <a:lnTo>
                    <a:pt x="2208" y="750"/>
                  </a:lnTo>
                  <a:lnTo>
                    <a:pt x="2196" y="744"/>
                  </a:lnTo>
                  <a:lnTo>
                    <a:pt x="2178" y="744"/>
                  </a:lnTo>
                  <a:lnTo>
                    <a:pt x="2154" y="732"/>
                  </a:lnTo>
                  <a:lnTo>
                    <a:pt x="2130" y="732"/>
                  </a:lnTo>
                  <a:lnTo>
                    <a:pt x="2118" y="738"/>
                  </a:lnTo>
                  <a:lnTo>
                    <a:pt x="2088" y="738"/>
                  </a:lnTo>
                  <a:lnTo>
                    <a:pt x="2076" y="732"/>
                  </a:lnTo>
                  <a:lnTo>
                    <a:pt x="2022" y="732"/>
                  </a:lnTo>
                  <a:lnTo>
                    <a:pt x="2016" y="738"/>
                  </a:lnTo>
                  <a:lnTo>
                    <a:pt x="2010" y="738"/>
                  </a:lnTo>
                  <a:lnTo>
                    <a:pt x="2004" y="744"/>
                  </a:lnTo>
                  <a:lnTo>
                    <a:pt x="2004" y="750"/>
                  </a:lnTo>
                  <a:lnTo>
                    <a:pt x="2016" y="762"/>
                  </a:lnTo>
                  <a:lnTo>
                    <a:pt x="2028" y="768"/>
                  </a:lnTo>
                  <a:lnTo>
                    <a:pt x="2040" y="780"/>
                  </a:lnTo>
                  <a:lnTo>
                    <a:pt x="2046" y="780"/>
                  </a:lnTo>
                  <a:lnTo>
                    <a:pt x="2022" y="810"/>
                  </a:lnTo>
                  <a:lnTo>
                    <a:pt x="2010" y="798"/>
                  </a:lnTo>
                  <a:lnTo>
                    <a:pt x="2010" y="828"/>
                  </a:lnTo>
                  <a:lnTo>
                    <a:pt x="1998" y="828"/>
                  </a:lnTo>
                  <a:lnTo>
                    <a:pt x="1986" y="822"/>
                  </a:lnTo>
                  <a:lnTo>
                    <a:pt x="1980" y="822"/>
                  </a:lnTo>
                  <a:lnTo>
                    <a:pt x="1974" y="816"/>
                  </a:lnTo>
                  <a:lnTo>
                    <a:pt x="1974" y="786"/>
                  </a:lnTo>
                  <a:lnTo>
                    <a:pt x="1968" y="780"/>
                  </a:lnTo>
                  <a:lnTo>
                    <a:pt x="1950" y="780"/>
                  </a:lnTo>
                  <a:lnTo>
                    <a:pt x="1938" y="786"/>
                  </a:lnTo>
                  <a:lnTo>
                    <a:pt x="1920" y="792"/>
                  </a:lnTo>
                  <a:lnTo>
                    <a:pt x="1908" y="804"/>
                  </a:lnTo>
                  <a:lnTo>
                    <a:pt x="1884" y="816"/>
                  </a:lnTo>
                  <a:lnTo>
                    <a:pt x="1866" y="816"/>
                  </a:lnTo>
                  <a:lnTo>
                    <a:pt x="1842" y="804"/>
                  </a:lnTo>
                  <a:lnTo>
                    <a:pt x="1824" y="804"/>
                  </a:lnTo>
                  <a:lnTo>
                    <a:pt x="1800" y="810"/>
                  </a:lnTo>
                  <a:lnTo>
                    <a:pt x="1782" y="816"/>
                  </a:lnTo>
                  <a:lnTo>
                    <a:pt x="1764" y="828"/>
                  </a:lnTo>
                  <a:lnTo>
                    <a:pt x="1752" y="834"/>
                  </a:lnTo>
                  <a:lnTo>
                    <a:pt x="1746" y="840"/>
                  </a:lnTo>
                  <a:lnTo>
                    <a:pt x="1680" y="840"/>
                  </a:lnTo>
                  <a:lnTo>
                    <a:pt x="1692" y="816"/>
                  </a:lnTo>
                  <a:lnTo>
                    <a:pt x="1692" y="780"/>
                  </a:lnTo>
                  <a:lnTo>
                    <a:pt x="1680" y="780"/>
                  </a:lnTo>
                  <a:lnTo>
                    <a:pt x="1668" y="786"/>
                  </a:lnTo>
                  <a:lnTo>
                    <a:pt x="1650" y="792"/>
                  </a:lnTo>
                  <a:lnTo>
                    <a:pt x="1638" y="792"/>
                  </a:lnTo>
                  <a:lnTo>
                    <a:pt x="1626" y="804"/>
                  </a:lnTo>
                  <a:lnTo>
                    <a:pt x="1626" y="816"/>
                  </a:lnTo>
                  <a:lnTo>
                    <a:pt x="1632" y="822"/>
                  </a:lnTo>
                  <a:lnTo>
                    <a:pt x="1632" y="828"/>
                  </a:lnTo>
                  <a:lnTo>
                    <a:pt x="1608" y="834"/>
                  </a:lnTo>
                  <a:lnTo>
                    <a:pt x="1608" y="810"/>
                  </a:lnTo>
                  <a:lnTo>
                    <a:pt x="1584" y="816"/>
                  </a:lnTo>
                  <a:lnTo>
                    <a:pt x="1530" y="822"/>
                  </a:lnTo>
                  <a:lnTo>
                    <a:pt x="1488" y="852"/>
                  </a:lnTo>
                  <a:lnTo>
                    <a:pt x="1440" y="858"/>
                  </a:lnTo>
                  <a:lnTo>
                    <a:pt x="1452" y="876"/>
                  </a:lnTo>
                  <a:lnTo>
                    <a:pt x="1440" y="876"/>
                  </a:lnTo>
                  <a:lnTo>
                    <a:pt x="1428" y="870"/>
                  </a:lnTo>
                  <a:lnTo>
                    <a:pt x="1422" y="870"/>
                  </a:lnTo>
                  <a:lnTo>
                    <a:pt x="1410" y="876"/>
                  </a:lnTo>
                  <a:lnTo>
                    <a:pt x="1404" y="882"/>
                  </a:lnTo>
                  <a:lnTo>
                    <a:pt x="1404" y="924"/>
                  </a:lnTo>
                  <a:lnTo>
                    <a:pt x="1332" y="930"/>
                  </a:lnTo>
                  <a:lnTo>
                    <a:pt x="1326" y="924"/>
                  </a:lnTo>
                  <a:lnTo>
                    <a:pt x="1314" y="918"/>
                  </a:lnTo>
                  <a:lnTo>
                    <a:pt x="1308" y="912"/>
                  </a:lnTo>
                  <a:lnTo>
                    <a:pt x="1266" y="912"/>
                  </a:lnTo>
                  <a:lnTo>
                    <a:pt x="1260" y="906"/>
                  </a:lnTo>
                  <a:lnTo>
                    <a:pt x="1260" y="876"/>
                  </a:lnTo>
                  <a:lnTo>
                    <a:pt x="1266" y="870"/>
                  </a:lnTo>
                  <a:lnTo>
                    <a:pt x="1266" y="864"/>
                  </a:lnTo>
                  <a:lnTo>
                    <a:pt x="1272" y="858"/>
                  </a:lnTo>
                  <a:lnTo>
                    <a:pt x="1284" y="864"/>
                  </a:lnTo>
                  <a:lnTo>
                    <a:pt x="1344" y="864"/>
                  </a:lnTo>
                  <a:lnTo>
                    <a:pt x="1332" y="858"/>
                  </a:lnTo>
                  <a:lnTo>
                    <a:pt x="1326" y="846"/>
                  </a:lnTo>
                  <a:lnTo>
                    <a:pt x="1314" y="840"/>
                  </a:lnTo>
                  <a:lnTo>
                    <a:pt x="1302" y="828"/>
                  </a:lnTo>
                  <a:lnTo>
                    <a:pt x="1290" y="822"/>
                  </a:lnTo>
                  <a:lnTo>
                    <a:pt x="1278" y="810"/>
                  </a:lnTo>
                  <a:lnTo>
                    <a:pt x="1152" y="810"/>
                  </a:lnTo>
                  <a:lnTo>
                    <a:pt x="1164" y="822"/>
                  </a:lnTo>
                  <a:lnTo>
                    <a:pt x="1188" y="822"/>
                  </a:lnTo>
                  <a:lnTo>
                    <a:pt x="1200" y="828"/>
                  </a:lnTo>
                  <a:lnTo>
                    <a:pt x="1200" y="846"/>
                  </a:lnTo>
                  <a:lnTo>
                    <a:pt x="1194" y="864"/>
                  </a:lnTo>
                  <a:lnTo>
                    <a:pt x="1194" y="876"/>
                  </a:lnTo>
                  <a:lnTo>
                    <a:pt x="1188" y="894"/>
                  </a:lnTo>
                  <a:lnTo>
                    <a:pt x="1188" y="918"/>
                  </a:lnTo>
                  <a:lnTo>
                    <a:pt x="1194" y="918"/>
                  </a:lnTo>
                  <a:lnTo>
                    <a:pt x="1206" y="924"/>
                  </a:lnTo>
                  <a:lnTo>
                    <a:pt x="1230" y="924"/>
                  </a:lnTo>
                  <a:lnTo>
                    <a:pt x="1236" y="930"/>
                  </a:lnTo>
                  <a:lnTo>
                    <a:pt x="1242" y="930"/>
                  </a:lnTo>
                  <a:lnTo>
                    <a:pt x="1236" y="966"/>
                  </a:lnTo>
                  <a:lnTo>
                    <a:pt x="1248" y="996"/>
                  </a:lnTo>
                  <a:lnTo>
                    <a:pt x="1212" y="972"/>
                  </a:lnTo>
                  <a:lnTo>
                    <a:pt x="1194" y="996"/>
                  </a:lnTo>
                  <a:lnTo>
                    <a:pt x="1188" y="966"/>
                  </a:lnTo>
                  <a:lnTo>
                    <a:pt x="1116" y="948"/>
                  </a:lnTo>
                  <a:lnTo>
                    <a:pt x="1086" y="984"/>
                  </a:lnTo>
                  <a:lnTo>
                    <a:pt x="1062" y="984"/>
                  </a:lnTo>
                  <a:lnTo>
                    <a:pt x="1056" y="996"/>
                  </a:lnTo>
                  <a:lnTo>
                    <a:pt x="1044" y="1002"/>
                  </a:lnTo>
                  <a:lnTo>
                    <a:pt x="1038" y="1008"/>
                  </a:lnTo>
                  <a:lnTo>
                    <a:pt x="1026" y="1014"/>
                  </a:lnTo>
                  <a:lnTo>
                    <a:pt x="1014" y="1014"/>
                  </a:lnTo>
                  <a:lnTo>
                    <a:pt x="1002" y="1020"/>
                  </a:lnTo>
                  <a:lnTo>
                    <a:pt x="1002" y="1032"/>
                  </a:lnTo>
                  <a:lnTo>
                    <a:pt x="1008" y="1038"/>
                  </a:lnTo>
                  <a:lnTo>
                    <a:pt x="1020" y="1044"/>
                  </a:lnTo>
                  <a:lnTo>
                    <a:pt x="1032" y="1056"/>
                  </a:lnTo>
                  <a:lnTo>
                    <a:pt x="1044" y="1062"/>
                  </a:lnTo>
                  <a:lnTo>
                    <a:pt x="1050" y="1068"/>
                  </a:lnTo>
                  <a:lnTo>
                    <a:pt x="1062" y="1074"/>
                  </a:lnTo>
                  <a:lnTo>
                    <a:pt x="1080" y="1104"/>
                  </a:lnTo>
                  <a:lnTo>
                    <a:pt x="1050" y="1086"/>
                  </a:lnTo>
                  <a:lnTo>
                    <a:pt x="1038" y="1092"/>
                  </a:lnTo>
                  <a:lnTo>
                    <a:pt x="1032" y="1098"/>
                  </a:lnTo>
                  <a:lnTo>
                    <a:pt x="1020" y="1098"/>
                  </a:lnTo>
                  <a:lnTo>
                    <a:pt x="1008" y="1092"/>
                  </a:lnTo>
                  <a:lnTo>
                    <a:pt x="996" y="1092"/>
                  </a:lnTo>
                  <a:lnTo>
                    <a:pt x="978" y="1086"/>
                  </a:lnTo>
                  <a:lnTo>
                    <a:pt x="966" y="1080"/>
                  </a:lnTo>
                  <a:lnTo>
                    <a:pt x="948" y="1080"/>
                  </a:lnTo>
                  <a:lnTo>
                    <a:pt x="936" y="1074"/>
                  </a:lnTo>
                  <a:lnTo>
                    <a:pt x="924" y="1074"/>
                  </a:lnTo>
                  <a:lnTo>
                    <a:pt x="918" y="1068"/>
                  </a:lnTo>
                  <a:lnTo>
                    <a:pt x="918" y="1056"/>
                  </a:lnTo>
                  <a:lnTo>
                    <a:pt x="906" y="1050"/>
                  </a:lnTo>
                  <a:lnTo>
                    <a:pt x="888" y="1050"/>
                  </a:lnTo>
                  <a:lnTo>
                    <a:pt x="864" y="1062"/>
                  </a:lnTo>
                  <a:lnTo>
                    <a:pt x="858" y="1068"/>
                  </a:lnTo>
                  <a:lnTo>
                    <a:pt x="840" y="1068"/>
                  </a:lnTo>
                  <a:lnTo>
                    <a:pt x="882" y="1104"/>
                  </a:lnTo>
                  <a:lnTo>
                    <a:pt x="900" y="1104"/>
                  </a:lnTo>
                  <a:lnTo>
                    <a:pt x="912" y="1110"/>
                  </a:lnTo>
                  <a:lnTo>
                    <a:pt x="924" y="1110"/>
                  </a:lnTo>
                  <a:lnTo>
                    <a:pt x="936" y="1116"/>
                  </a:lnTo>
                  <a:lnTo>
                    <a:pt x="942" y="1116"/>
                  </a:lnTo>
                  <a:lnTo>
                    <a:pt x="942" y="1122"/>
                  </a:lnTo>
                  <a:lnTo>
                    <a:pt x="936" y="1134"/>
                  </a:lnTo>
                  <a:lnTo>
                    <a:pt x="924" y="1140"/>
                  </a:lnTo>
                  <a:lnTo>
                    <a:pt x="918" y="1146"/>
                  </a:lnTo>
                  <a:lnTo>
                    <a:pt x="852" y="1128"/>
                  </a:lnTo>
                  <a:lnTo>
                    <a:pt x="840" y="1122"/>
                  </a:lnTo>
                  <a:lnTo>
                    <a:pt x="834" y="1116"/>
                  </a:lnTo>
                  <a:lnTo>
                    <a:pt x="822" y="1110"/>
                  </a:lnTo>
                  <a:lnTo>
                    <a:pt x="762" y="1110"/>
                  </a:lnTo>
                  <a:lnTo>
                    <a:pt x="756" y="1104"/>
                  </a:lnTo>
                  <a:lnTo>
                    <a:pt x="756" y="1056"/>
                  </a:lnTo>
                  <a:lnTo>
                    <a:pt x="738" y="1044"/>
                  </a:lnTo>
                  <a:lnTo>
                    <a:pt x="750" y="1032"/>
                  </a:lnTo>
                  <a:lnTo>
                    <a:pt x="756" y="1020"/>
                  </a:lnTo>
                  <a:lnTo>
                    <a:pt x="756" y="1002"/>
                  </a:lnTo>
                  <a:lnTo>
                    <a:pt x="738" y="990"/>
                  </a:lnTo>
                  <a:lnTo>
                    <a:pt x="702" y="978"/>
                  </a:lnTo>
                  <a:lnTo>
                    <a:pt x="672" y="972"/>
                  </a:lnTo>
                  <a:lnTo>
                    <a:pt x="660" y="966"/>
                  </a:lnTo>
                  <a:lnTo>
                    <a:pt x="630" y="948"/>
                  </a:lnTo>
                  <a:lnTo>
                    <a:pt x="606" y="930"/>
                  </a:lnTo>
                  <a:lnTo>
                    <a:pt x="594" y="912"/>
                  </a:lnTo>
                  <a:lnTo>
                    <a:pt x="630" y="912"/>
                  </a:lnTo>
                  <a:lnTo>
                    <a:pt x="630" y="924"/>
                  </a:lnTo>
                  <a:lnTo>
                    <a:pt x="642" y="924"/>
                  </a:lnTo>
                  <a:lnTo>
                    <a:pt x="654" y="930"/>
                  </a:lnTo>
                  <a:lnTo>
                    <a:pt x="672" y="930"/>
                  </a:lnTo>
                  <a:lnTo>
                    <a:pt x="690" y="936"/>
                  </a:lnTo>
                  <a:lnTo>
                    <a:pt x="720" y="936"/>
                  </a:lnTo>
                  <a:lnTo>
                    <a:pt x="732" y="942"/>
                  </a:lnTo>
                  <a:lnTo>
                    <a:pt x="738" y="954"/>
                  </a:lnTo>
                  <a:lnTo>
                    <a:pt x="762" y="966"/>
                  </a:lnTo>
                  <a:lnTo>
                    <a:pt x="816" y="966"/>
                  </a:lnTo>
                  <a:lnTo>
                    <a:pt x="846" y="972"/>
                  </a:lnTo>
                  <a:lnTo>
                    <a:pt x="858" y="972"/>
                  </a:lnTo>
                  <a:lnTo>
                    <a:pt x="870" y="978"/>
                  </a:lnTo>
                  <a:lnTo>
                    <a:pt x="894" y="984"/>
                  </a:lnTo>
                  <a:lnTo>
                    <a:pt x="930" y="990"/>
                  </a:lnTo>
                  <a:lnTo>
                    <a:pt x="978" y="984"/>
                  </a:lnTo>
                  <a:lnTo>
                    <a:pt x="1026" y="972"/>
                  </a:lnTo>
                  <a:lnTo>
                    <a:pt x="1062" y="954"/>
                  </a:lnTo>
                  <a:lnTo>
                    <a:pt x="1080" y="936"/>
                  </a:lnTo>
                  <a:lnTo>
                    <a:pt x="1074" y="912"/>
                  </a:lnTo>
                  <a:lnTo>
                    <a:pt x="1032" y="870"/>
                  </a:lnTo>
                  <a:lnTo>
                    <a:pt x="1014" y="858"/>
                  </a:lnTo>
                  <a:lnTo>
                    <a:pt x="996" y="852"/>
                  </a:lnTo>
                  <a:lnTo>
                    <a:pt x="948" y="840"/>
                  </a:lnTo>
                  <a:lnTo>
                    <a:pt x="900" y="822"/>
                  </a:lnTo>
                  <a:lnTo>
                    <a:pt x="828" y="798"/>
                  </a:lnTo>
                  <a:lnTo>
                    <a:pt x="792" y="780"/>
                  </a:lnTo>
                  <a:lnTo>
                    <a:pt x="756" y="774"/>
                  </a:lnTo>
                  <a:lnTo>
                    <a:pt x="624" y="774"/>
                  </a:lnTo>
                  <a:lnTo>
                    <a:pt x="612" y="756"/>
                  </a:lnTo>
                  <a:lnTo>
                    <a:pt x="588" y="762"/>
                  </a:lnTo>
                  <a:lnTo>
                    <a:pt x="552" y="744"/>
                  </a:lnTo>
                  <a:lnTo>
                    <a:pt x="588" y="738"/>
                  </a:lnTo>
                  <a:lnTo>
                    <a:pt x="606" y="726"/>
                  </a:lnTo>
                  <a:lnTo>
                    <a:pt x="600" y="726"/>
                  </a:lnTo>
                  <a:lnTo>
                    <a:pt x="594" y="720"/>
                  </a:lnTo>
                  <a:lnTo>
                    <a:pt x="582" y="720"/>
                  </a:lnTo>
                  <a:lnTo>
                    <a:pt x="564" y="714"/>
                  </a:lnTo>
                  <a:lnTo>
                    <a:pt x="546" y="714"/>
                  </a:lnTo>
                  <a:lnTo>
                    <a:pt x="534" y="708"/>
                  </a:lnTo>
                  <a:lnTo>
                    <a:pt x="522" y="720"/>
                  </a:lnTo>
                  <a:lnTo>
                    <a:pt x="522" y="726"/>
                  </a:lnTo>
                  <a:lnTo>
                    <a:pt x="516" y="732"/>
                  </a:lnTo>
                  <a:lnTo>
                    <a:pt x="498" y="732"/>
                  </a:lnTo>
                  <a:lnTo>
                    <a:pt x="486" y="744"/>
                  </a:lnTo>
                  <a:lnTo>
                    <a:pt x="450" y="744"/>
                  </a:lnTo>
                  <a:lnTo>
                    <a:pt x="444" y="756"/>
                  </a:lnTo>
                  <a:lnTo>
                    <a:pt x="420" y="762"/>
                  </a:lnTo>
                  <a:lnTo>
                    <a:pt x="420" y="768"/>
                  </a:lnTo>
                  <a:lnTo>
                    <a:pt x="414" y="780"/>
                  </a:lnTo>
                  <a:lnTo>
                    <a:pt x="390" y="780"/>
                  </a:lnTo>
                  <a:lnTo>
                    <a:pt x="384" y="792"/>
                  </a:lnTo>
                  <a:lnTo>
                    <a:pt x="396" y="804"/>
                  </a:lnTo>
                  <a:lnTo>
                    <a:pt x="396" y="810"/>
                  </a:lnTo>
                  <a:lnTo>
                    <a:pt x="378" y="810"/>
                  </a:lnTo>
                  <a:lnTo>
                    <a:pt x="378" y="822"/>
                  </a:lnTo>
                  <a:lnTo>
                    <a:pt x="384" y="834"/>
                  </a:lnTo>
                  <a:lnTo>
                    <a:pt x="384" y="840"/>
                  </a:lnTo>
                  <a:lnTo>
                    <a:pt x="390" y="846"/>
                  </a:lnTo>
                  <a:lnTo>
                    <a:pt x="396" y="846"/>
                  </a:lnTo>
                  <a:lnTo>
                    <a:pt x="402" y="840"/>
                  </a:lnTo>
                  <a:lnTo>
                    <a:pt x="420" y="840"/>
                  </a:lnTo>
                  <a:lnTo>
                    <a:pt x="468" y="888"/>
                  </a:lnTo>
                  <a:lnTo>
                    <a:pt x="468" y="900"/>
                  </a:lnTo>
                  <a:lnTo>
                    <a:pt x="462" y="900"/>
                  </a:lnTo>
                  <a:lnTo>
                    <a:pt x="450" y="906"/>
                  </a:lnTo>
                  <a:lnTo>
                    <a:pt x="444" y="906"/>
                  </a:lnTo>
                  <a:lnTo>
                    <a:pt x="444" y="918"/>
                  </a:lnTo>
                  <a:lnTo>
                    <a:pt x="438" y="918"/>
                  </a:lnTo>
                  <a:lnTo>
                    <a:pt x="426" y="924"/>
                  </a:lnTo>
                  <a:lnTo>
                    <a:pt x="420" y="930"/>
                  </a:lnTo>
                  <a:lnTo>
                    <a:pt x="438" y="948"/>
                  </a:lnTo>
                  <a:lnTo>
                    <a:pt x="450" y="954"/>
                  </a:lnTo>
                  <a:lnTo>
                    <a:pt x="456" y="966"/>
                  </a:lnTo>
                  <a:lnTo>
                    <a:pt x="468" y="972"/>
                  </a:lnTo>
                  <a:lnTo>
                    <a:pt x="492" y="996"/>
                  </a:lnTo>
                  <a:lnTo>
                    <a:pt x="504" y="1002"/>
                  </a:lnTo>
                  <a:lnTo>
                    <a:pt x="510" y="1008"/>
                  </a:lnTo>
                  <a:lnTo>
                    <a:pt x="510" y="1014"/>
                  </a:lnTo>
                  <a:lnTo>
                    <a:pt x="504" y="1020"/>
                  </a:lnTo>
                  <a:lnTo>
                    <a:pt x="492" y="1020"/>
                  </a:lnTo>
                  <a:lnTo>
                    <a:pt x="480" y="1014"/>
                  </a:lnTo>
                  <a:lnTo>
                    <a:pt x="474" y="1014"/>
                  </a:lnTo>
                  <a:lnTo>
                    <a:pt x="468" y="1044"/>
                  </a:lnTo>
                  <a:lnTo>
                    <a:pt x="480" y="1056"/>
                  </a:lnTo>
                  <a:lnTo>
                    <a:pt x="480" y="1068"/>
                  </a:lnTo>
                  <a:lnTo>
                    <a:pt x="492" y="1068"/>
                  </a:lnTo>
                  <a:lnTo>
                    <a:pt x="498" y="1074"/>
                  </a:lnTo>
                  <a:lnTo>
                    <a:pt x="504" y="1074"/>
                  </a:lnTo>
                  <a:lnTo>
                    <a:pt x="510" y="1080"/>
                  </a:lnTo>
                  <a:lnTo>
                    <a:pt x="510" y="1086"/>
                  </a:lnTo>
                  <a:lnTo>
                    <a:pt x="504" y="1092"/>
                  </a:lnTo>
                  <a:lnTo>
                    <a:pt x="498" y="1104"/>
                  </a:lnTo>
                  <a:lnTo>
                    <a:pt x="522" y="1110"/>
                  </a:lnTo>
                  <a:lnTo>
                    <a:pt x="534" y="1116"/>
                  </a:lnTo>
                  <a:lnTo>
                    <a:pt x="540" y="1122"/>
                  </a:lnTo>
                  <a:lnTo>
                    <a:pt x="540" y="1128"/>
                  </a:lnTo>
                  <a:lnTo>
                    <a:pt x="516" y="1152"/>
                  </a:lnTo>
                  <a:lnTo>
                    <a:pt x="510" y="1152"/>
                  </a:lnTo>
                  <a:lnTo>
                    <a:pt x="582" y="1188"/>
                  </a:lnTo>
                  <a:lnTo>
                    <a:pt x="588" y="1200"/>
                  </a:lnTo>
                  <a:lnTo>
                    <a:pt x="594" y="1206"/>
                  </a:lnTo>
                  <a:lnTo>
                    <a:pt x="600" y="1218"/>
                  </a:lnTo>
                  <a:lnTo>
                    <a:pt x="600" y="1230"/>
                  </a:lnTo>
                  <a:lnTo>
                    <a:pt x="594" y="1236"/>
                  </a:lnTo>
                  <a:lnTo>
                    <a:pt x="588" y="1248"/>
                  </a:lnTo>
                  <a:lnTo>
                    <a:pt x="552" y="1284"/>
                  </a:lnTo>
                  <a:lnTo>
                    <a:pt x="546" y="1284"/>
                  </a:lnTo>
                  <a:lnTo>
                    <a:pt x="486" y="1344"/>
                  </a:lnTo>
                  <a:lnTo>
                    <a:pt x="426" y="1374"/>
                  </a:lnTo>
                  <a:lnTo>
                    <a:pt x="432" y="1386"/>
                  </a:lnTo>
                  <a:lnTo>
                    <a:pt x="462" y="1368"/>
                  </a:lnTo>
                  <a:lnTo>
                    <a:pt x="468" y="1386"/>
                  </a:lnTo>
                  <a:lnTo>
                    <a:pt x="480" y="1398"/>
                  </a:lnTo>
                  <a:lnTo>
                    <a:pt x="492" y="1404"/>
                  </a:lnTo>
                  <a:lnTo>
                    <a:pt x="498" y="1410"/>
                  </a:lnTo>
                  <a:lnTo>
                    <a:pt x="546" y="1410"/>
                  </a:lnTo>
                  <a:lnTo>
                    <a:pt x="558" y="1428"/>
                  </a:lnTo>
                  <a:lnTo>
                    <a:pt x="546" y="1428"/>
                  </a:lnTo>
                  <a:lnTo>
                    <a:pt x="534" y="1422"/>
                  </a:lnTo>
                  <a:lnTo>
                    <a:pt x="504" y="1422"/>
                  </a:lnTo>
                  <a:lnTo>
                    <a:pt x="492" y="1434"/>
                  </a:lnTo>
                  <a:lnTo>
                    <a:pt x="492" y="1440"/>
                  </a:lnTo>
                  <a:lnTo>
                    <a:pt x="456" y="1440"/>
                  </a:lnTo>
                  <a:lnTo>
                    <a:pt x="450" y="1470"/>
                  </a:lnTo>
                  <a:lnTo>
                    <a:pt x="438" y="1470"/>
                  </a:lnTo>
                  <a:lnTo>
                    <a:pt x="432" y="1482"/>
                  </a:lnTo>
                  <a:lnTo>
                    <a:pt x="438" y="1494"/>
                  </a:lnTo>
                  <a:lnTo>
                    <a:pt x="432" y="1500"/>
                  </a:lnTo>
                  <a:lnTo>
                    <a:pt x="426" y="1500"/>
                  </a:lnTo>
                  <a:lnTo>
                    <a:pt x="414" y="1512"/>
                  </a:lnTo>
                  <a:lnTo>
                    <a:pt x="414" y="1530"/>
                  </a:lnTo>
                  <a:lnTo>
                    <a:pt x="432" y="1536"/>
                  </a:lnTo>
                  <a:lnTo>
                    <a:pt x="420" y="1560"/>
                  </a:lnTo>
                  <a:lnTo>
                    <a:pt x="432" y="1566"/>
                  </a:lnTo>
                  <a:lnTo>
                    <a:pt x="444" y="1584"/>
                  </a:lnTo>
                  <a:lnTo>
                    <a:pt x="426" y="1596"/>
                  </a:lnTo>
                  <a:lnTo>
                    <a:pt x="426" y="1608"/>
                  </a:lnTo>
                  <a:lnTo>
                    <a:pt x="432" y="1608"/>
                  </a:lnTo>
                  <a:lnTo>
                    <a:pt x="444" y="1620"/>
                  </a:lnTo>
                  <a:lnTo>
                    <a:pt x="456" y="1626"/>
                  </a:lnTo>
                  <a:lnTo>
                    <a:pt x="462" y="1632"/>
                  </a:lnTo>
                  <a:lnTo>
                    <a:pt x="462" y="1638"/>
                  </a:lnTo>
                  <a:lnTo>
                    <a:pt x="444" y="1638"/>
                  </a:lnTo>
                  <a:lnTo>
                    <a:pt x="438" y="1656"/>
                  </a:lnTo>
                  <a:lnTo>
                    <a:pt x="462" y="1662"/>
                  </a:lnTo>
                  <a:lnTo>
                    <a:pt x="468" y="1668"/>
                  </a:lnTo>
                  <a:lnTo>
                    <a:pt x="474" y="1680"/>
                  </a:lnTo>
                  <a:lnTo>
                    <a:pt x="486" y="1692"/>
                  </a:lnTo>
                  <a:lnTo>
                    <a:pt x="486" y="1716"/>
                  </a:lnTo>
                  <a:lnTo>
                    <a:pt x="510" y="1716"/>
                  </a:lnTo>
                  <a:lnTo>
                    <a:pt x="516" y="1722"/>
                  </a:lnTo>
                  <a:lnTo>
                    <a:pt x="516" y="1728"/>
                  </a:lnTo>
                  <a:lnTo>
                    <a:pt x="528" y="1722"/>
                  </a:lnTo>
                  <a:lnTo>
                    <a:pt x="564" y="1728"/>
                  </a:lnTo>
                  <a:lnTo>
                    <a:pt x="570" y="1746"/>
                  </a:lnTo>
                  <a:lnTo>
                    <a:pt x="600" y="1728"/>
                  </a:lnTo>
                  <a:lnTo>
                    <a:pt x="606" y="1728"/>
                  </a:lnTo>
                  <a:lnTo>
                    <a:pt x="612" y="1734"/>
                  </a:lnTo>
                  <a:lnTo>
                    <a:pt x="648" y="1752"/>
                  </a:lnTo>
                  <a:lnTo>
                    <a:pt x="654" y="1758"/>
                  </a:lnTo>
                  <a:lnTo>
                    <a:pt x="654" y="1770"/>
                  </a:lnTo>
                  <a:lnTo>
                    <a:pt x="648" y="1776"/>
                  </a:lnTo>
                  <a:lnTo>
                    <a:pt x="660" y="1794"/>
                  </a:lnTo>
                  <a:lnTo>
                    <a:pt x="654" y="1812"/>
                  </a:lnTo>
                  <a:lnTo>
                    <a:pt x="660" y="1818"/>
                  </a:lnTo>
                  <a:lnTo>
                    <a:pt x="672" y="1824"/>
                  </a:lnTo>
                  <a:lnTo>
                    <a:pt x="690" y="1842"/>
                  </a:lnTo>
                  <a:lnTo>
                    <a:pt x="690" y="1854"/>
                  </a:lnTo>
                  <a:lnTo>
                    <a:pt x="720" y="1866"/>
                  </a:lnTo>
                  <a:lnTo>
                    <a:pt x="720" y="1890"/>
                  </a:lnTo>
                  <a:lnTo>
                    <a:pt x="756" y="1890"/>
                  </a:lnTo>
                  <a:lnTo>
                    <a:pt x="762" y="1896"/>
                  </a:lnTo>
                  <a:lnTo>
                    <a:pt x="768" y="1896"/>
                  </a:lnTo>
                  <a:lnTo>
                    <a:pt x="768" y="1902"/>
                  </a:lnTo>
                  <a:lnTo>
                    <a:pt x="762" y="1908"/>
                  </a:lnTo>
                  <a:lnTo>
                    <a:pt x="786" y="1920"/>
                  </a:lnTo>
                  <a:lnTo>
                    <a:pt x="774" y="1926"/>
                  </a:lnTo>
                  <a:lnTo>
                    <a:pt x="768" y="1938"/>
                  </a:lnTo>
                  <a:lnTo>
                    <a:pt x="744" y="1950"/>
                  </a:lnTo>
                  <a:lnTo>
                    <a:pt x="738" y="1950"/>
                  </a:lnTo>
                  <a:lnTo>
                    <a:pt x="732" y="1944"/>
                  </a:lnTo>
                  <a:lnTo>
                    <a:pt x="726" y="1944"/>
                  </a:lnTo>
                  <a:lnTo>
                    <a:pt x="726" y="1938"/>
                  </a:lnTo>
                  <a:lnTo>
                    <a:pt x="702" y="1938"/>
                  </a:lnTo>
                  <a:lnTo>
                    <a:pt x="696" y="1944"/>
                  </a:lnTo>
                  <a:lnTo>
                    <a:pt x="696" y="1950"/>
                  </a:lnTo>
                  <a:lnTo>
                    <a:pt x="720" y="1974"/>
                  </a:lnTo>
                  <a:lnTo>
                    <a:pt x="720" y="1992"/>
                  </a:lnTo>
                  <a:lnTo>
                    <a:pt x="726" y="1998"/>
                  </a:lnTo>
                  <a:lnTo>
                    <a:pt x="732" y="2010"/>
                  </a:lnTo>
                  <a:lnTo>
                    <a:pt x="732" y="2028"/>
                  </a:lnTo>
                  <a:lnTo>
                    <a:pt x="720" y="2028"/>
                  </a:lnTo>
                  <a:lnTo>
                    <a:pt x="714" y="2022"/>
                  </a:lnTo>
                  <a:lnTo>
                    <a:pt x="708" y="2022"/>
                  </a:lnTo>
                  <a:lnTo>
                    <a:pt x="720" y="2028"/>
                  </a:lnTo>
                  <a:lnTo>
                    <a:pt x="768" y="2028"/>
                  </a:lnTo>
                  <a:lnTo>
                    <a:pt x="774" y="2022"/>
                  </a:lnTo>
                  <a:lnTo>
                    <a:pt x="774" y="2010"/>
                  </a:lnTo>
                  <a:lnTo>
                    <a:pt x="804" y="2010"/>
                  </a:lnTo>
                  <a:lnTo>
                    <a:pt x="816" y="2004"/>
                  </a:lnTo>
                  <a:lnTo>
                    <a:pt x="864" y="2004"/>
                  </a:lnTo>
                  <a:lnTo>
                    <a:pt x="870" y="2022"/>
                  </a:lnTo>
                  <a:lnTo>
                    <a:pt x="876" y="2022"/>
                  </a:lnTo>
                  <a:lnTo>
                    <a:pt x="882" y="2028"/>
                  </a:lnTo>
                  <a:lnTo>
                    <a:pt x="894" y="2034"/>
                  </a:lnTo>
                  <a:lnTo>
                    <a:pt x="900" y="2034"/>
                  </a:lnTo>
                  <a:lnTo>
                    <a:pt x="900" y="2046"/>
                  </a:lnTo>
                  <a:lnTo>
                    <a:pt x="894" y="2052"/>
                  </a:lnTo>
                  <a:lnTo>
                    <a:pt x="888" y="2052"/>
                  </a:lnTo>
                  <a:lnTo>
                    <a:pt x="894" y="2070"/>
                  </a:lnTo>
                  <a:lnTo>
                    <a:pt x="894" y="2088"/>
                  </a:lnTo>
                  <a:lnTo>
                    <a:pt x="930" y="2088"/>
                  </a:lnTo>
                  <a:lnTo>
                    <a:pt x="972" y="2106"/>
                  </a:lnTo>
                  <a:lnTo>
                    <a:pt x="984" y="2154"/>
                  </a:lnTo>
                  <a:lnTo>
                    <a:pt x="990" y="2154"/>
                  </a:lnTo>
                  <a:lnTo>
                    <a:pt x="1014" y="2148"/>
                  </a:lnTo>
                  <a:lnTo>
                    <a:pt x="1020" y="2154"/>
                  </a:lnTo>
                  <a:lnTo>
                    <a:pt x="1032" y="2154"/>
                  </a:lnTo>
                  <a:lnTo>
                    <a:pt x="1038" y="2160"/>
                  </a:lnTo>
                  <a:lnTo>
                    <a:pt x="1086" y="2160"/>
                  </a:lnTo>
                  <a:lnTo>
                    <a:pt x="1092" y="2166"/>
                  </a:lnTo>
                  <a:lnTo>
                    <a:pt x="1092" y="2160"/>
                  </a:lnTo>
                  <a:lnTo>
                    <a:pt x="1098" y="2154"/>
                  </a:lnTo>
                  <a:lnTo>
                    <a:pt x="1110" y="2154"/>
                  </a:lnTo>
                  <a:lnTo>
                    <a:pt x="1116" y="2166"/>
                  </a:lnTo>
                  <a:lnTo>
                    <a:pt x="1140" y="2190"/>
                  </a:lnTo>
                  <a:lnTo>
                    <a:pt x="1152" y="2184"/>
                  </a:lnTo>
                  <a:lnTo>
                    <a:pt x="1170" y="2184"/>
                  </a:lnTo>
                  <a:lnTo>
                    <a:pt x="1176" y="2190"/>
                  </a:lnTo>
                  <a:lnTo>
                    <a:pt x="1188" y="2196"/>
                  </a:lnTo>
                  <a:lnTo>
                    <a:pt x="1230" y="2196"/>
                  </a:lnTo>
                  <a:lnTo>
                    <a:pt x="1230" y="2202"/>
                  </a:lnTo>
                  <a:lnTo>
                    <a:pt x="1236" y="2208"/>
                  </a:lnTo>
                  <a:lnTo>
                    <a:pt x="1254" y="2220"/>
                  </a:lnTo>
                  <a:lnTo>
                    <a:pt x="1278" y="2220"/>
                  </a:lnTo>
                  <a:lnTo>
                    <a:pt x="1284" y="2226"/>
                  </a:lnTo>
                  <a:lnTo>
                    <a:pt x="1284" y="2250"/>
                  </a:lnTo>
                  <a:lnTo>
                    <a:pt x="1266" y="2262"/>
                  </a:lnTo>
                  <a:lnTo>
                    <a:pt x="1272" y="2262"/>
                  </a:lnTo>
                  <a:lnTo>
                    <a:pt x="1278" y="2268"/>
                  </a:lnTo>
                  <a:lnTo>
                    <a:pt x="1284" y="2268"/>
                  </a:lnTo>
                  <a:lnTo>
                    <a:pt x="1290" y="2274"/>
                  </a:lnTo>
                  <a:lnTo>
                    <a:pt x="1284" y="2280"/>
                  </a:lnTo>
                  <a:lnTo>
                    <a:pt x="1266" y="2280"/>
                  </a:lnTo>
                  <a:lnTo>
                    <a:pt x="1260" y="2286"/>
                  </a:lnTo>
                  <a:lnTo>
                    <a:pt x="1272" y="2298"/>
                  </a:lnTo>
                  <a:lnTo>
                    <a:pt x="1284" y="2304"/>
                  </a:lnTo>
                  <a:lnTo>
                    <a:pt x="1284" y="2316"/>
                  </a:lnTo>
                  <a:lnTo>
                    <a:pt x="1290" y="2328"/>
                  </a:lnTo>
                  <a:lnTo>
                    <a:pt x="1290" y="2334"/>
                  </a:lnTo>
                  <a:lnTo>
                    <a:pt x="1278" y="2346"/>
                  </a:lnTo>
                  <a:lnTo>
                    <a:pt x="1266" y="2346"/>
                  </a:lnTo>
                  <a:lnTo>
                    <a:pt x="1254" y="2352"/>
                  </a:lnTo>
                  <a:lnTo>
                    <a:pt x="1224" y="2352"/>
                  </a:lnTo>
                  <a:lnTo>
                    <a:pt x="1212" y="2364"/>
                  </a:lnTo>
                  <a:lnTo>
                    <a:pt x="1212" y="2370"/>
                  </a:lnTo>
                  <a:lnTo>
                    <a:pt x="1206" y="2376"/>
                  </a:lnTo>
                  <a:lnTo>
                    <a:pt x="1188" y="2376"/>
                  </a:lnTo>
                  <a:lnTo>
                    <a:pt x="1188" y="2412"/>
                  </a:lnTo>
                  <a:lnTo>
                    <a:pt x="1194" y="2412"/>
                  </a:lnTo>
                  <a:lnTo>
                    <a:pt x="1200" y="2406"/>
                  </a:lnTo>
                  <a:lnTo>
                    <a:pt x="1212" y="2406"/>
                  </a:lnTo>
                  <a:lnTo>
                    <a:pt x="1224" y="2400"/>
                  </a:lnTo>
                  <a:lnTo>
                    <a:pt x="1254" y="2400"/>
                  </a:lnTo>
                  <a:lnTo>
                    <a:pt x="1254" y="2412"/>
                  </a:lnTo>
                  <a:lnTo>
                    <a:pt x="1248" y="2418"/>
                  </a:lnTo>
                  <a:lnTo>
                    <a:pt x="1242" y="2430"/>
                  </a:lnTo>
                  <a:lnTo>
                    <a:pt x="1230" y="2436"/>
                  </a:lnTo>
                  <a:lnTo>
                    <a:pt x="1224" y="2442"/>
                  </a:lnTo>
                  <a:lnTo>
                    <a:pt x="1170" y="2454"/>
                  </a:lnTo>
                  <a:lnTo>
                    <a:pt x="1218" y="2490"/>
                  </a:lnTo>
                  <a:lnTo>
                    <a:pt x="1212" y="2490"/>
                  </a:lnTo>
                  <a:lnTo>
                    <a:pt x="1206" y="2496"/>
                  </a:lnTo>
                  <a:lnTo>
                    <a:pt x="1194" y="2496"/>
                  </a:lnTo>
                  <a:lnTo>
                    <a:pt x="1188" y="2502"/>
                  </a:lnTo>
                  <a:lnTo>
                    <a:pt x="1176" y="2526"/>
                  </a:lnTo>
                  <a:lnTo>
                    <a:pt x="1176" y="2544"/>
                  </a:lnTo>
                  <a:lnTo>
                    <a:pt x="1164" y="2550"/>
                  </a:lnTo>
                  <a:lnTo>
                    <a:pt x="1158" y="2556"/>
                  </a:lnTo>
                  <a:lnTo>
                    <a:pt x="1146" y="2556"/>
                  </a:lnTo>
                  <a:lnTo>
                    <a:pt x="1140" y="2550"/>
                  </a:lnTo>
                  <a:lnTo>
                    <a:pt x="1128" y="2544"/>
                  </a:lnTo>
                  <a:lnTo>
                    <a:pt x="1122" y="2538"/>
                  </a:lnTo>
                  <a:lnTo>
                    <a:pt x="1116" y="2556"/>
                  </a:lnTo>
                  <a:lnTo>
                    <a:pt x="1122" y="2562"/>
                  </a:lnTo>
                  <a:lnTo>
                    <a:pt x="1128" y="2574"/>
                  </a:lnTo>
                  <a:lnTo>
                    <a:pt x="1134" y="2580"/>
                  </a:lnTo>
                  <a:lnTo>
                    <a:pt x="1146" y="2580"/>
                  </a:lnTo>
                  <a:lnTo>
                    <a:pt x="1146" y="2586"/>
                  </a:lnTo>
                  <a:lnTo>
                    <a:pt x="1152" y="2598"/>
                  </a:lnTo>
                  <a:lnTo>
                    <a:pt x="1158" y="2604"/>
                  </a:lnTo>
                  <a:lnTo>
                    <a:pt x="1194" y="2604"/>
                  </a:lnTo>
                  <a:lnTo>
                    <a:pt x="1200" y="2610"/>
                  </a:lnTo>
                  <a:lnTo>
                    <a:pt x="1212" y="2616"/>
                  </a:lnTo>
                  <a:lnTo>
                    <a:pt x="1218" y="2628"/>
                  </a:lnTo>
                  <a:lnTo>
                    <a:pt x="1224" y="2634"/>
                  </a:lnTo>
                  <a:lnTo>
                    <a:pt x="1254" y="2634"/>
                  </a:lnTo>
                  <a:lnTo>
                    <a:pt x="1272" y="2652"/>
                  </a:lnTo>
                  <a:lnTo>
                    <a:pt x="1278" y="2664"/>
                  </a:lnTo>
                  <a:lnTo>
                    <a:pt x="1290" y="2670"/>
                  </a:lnTo>
                  <a:lnTo>
                    <a:pt x="1314" y="2694"/>
                  </a:lnTo>
                  <a:lnTo>
                    <a:pt x="1320" y="2694"/>
                  </a:lnTo>
                  <a:lnTo>
                    <a:pt x="1332" y="2700"/>
                  </a:lnTo>
                  <a:lnTo>
                    <a:pt x="1338" y="2700"/>
                  </a:lnTo>
                  <a:lnTo>
                    <a:pt x="1350" y="2706"/>
                  </a:lnTo>
                  <a:lnTo>
                    <a:pt x="1344" y="2706"/>
                  </a:lnTo>
                  <a:lnTo>
                    <a:pt x="1368" y="2688"/>
                  </a:lnTo>
                  <a:lnTo>
                    <a:pt x="1380" y="2688"/>
                  </a:lnTo>
                  <a:lnTo>
                    <a:pt x="1398" y="2694"/>
                  </a:lnTo>
                  <a:lnTo>
                    <a:pt x="1410" y="2700"/>
                  </a:lnTo>
                  <a:lnTo>
                    <a:pt x="1428" y="2706"/>
                  </a:lnTo>
                  <a:lnTo>
                    <a:pt x="1488" y="2718"/>
                  </a:lnTo>
                  <a:lnTo>
                    <a:pt x="1524" y="2718"/>
                  </a:lnTo>
                  <a:lnTo>
                    <a:pt x="1530" y="2724"/>
                  </a:lnTo>
                  <a:lnTo>
                    <a:pt x="1536" y="2724"/>
                  </a:lnTo>
                  <a:lnTo>
                    <a:pt x="1584" y="2754"/>
                  </a:lnTo>
                  <a:lnTo>
                    <a:pt x="1584" y="2760"/>
                  </a:lnTo>
                  <a:lnTo>
                    <a:pt x="1590" y="2760"/>
                  </a:lnTo>
                  <a:lnTo>
                    <a:pt x="1602" y="2766"/>
                  </a:lnTo>
                  <a:lnTo>
                    <a:pt x="1626" y="2766"/>
                  </a:lnTo>
                  <a:lnTo>
                    <a:pt x="1632" y="2760"/>
                  </a:lnTo>
                  <a:lnTo>
                    <a:pt x="1644" y="2760"/>
                  </a:lnTo>
                  <a:lnTo>
                    <a:pt x="1644" y="2754"/>
                  </a:lnTo>
                  <a:lnTo>
                    <a:pt x="1674" y="2754"/>
                  </a:lnTo>
                  <a:lnTo>
                    <a:pt x="1686" y="2760"/>
                  </a:lnTo>
                  <a:lnTo>
                    <a:pt x="1698" y="2772"/>
                  </a:lnTo>
                  <a:lnTo>
                    <a:pt x="1728" y="2778"/>
                  </a:lnTo>
                  <a:lnTo>
                    <a:pt x="1728" y="2790"/>
                  </a:lnTo>
                  <a:lnTo>
                    <a:pt x="1722" y="2796"/>
                  </a:lnTo>
                  <a:lnTo>
                    <a:pt x="1722" y="2802"/>
                  </a:lnTo>
                  <a:lnTo>
                    <a:pt x="1740" y="2802"/>
                  </a:lnTo>
                  <a:lnTo>
                    <a:pt x="1752" y="2814"/>
                  </a:lnTo>
                  <a:lnTo>
                    <a:pt x="1764" y="2820"/>
                  </a:lnTo>
                  <a:lnTo>
                    <a:pt x="1776" y="2832"/>
                  </a:lnTo>
                  <a:lnTo>
                    <a:pt x="1788" y="2826"/>
                  </a:lnTo>
                  <a:lnTo>
                    <a:pt x="1794" y="2826"/>
                  </a:lnTo>
                  <a:lnTo>
                    <a:pt x="1818" y="2838"/>
                  </a:lnTo>
                  <a:lnTo>
                    <a:pt x="1836" y="2856"/>
                  </a:lnTo>
                  <a:lnTo>
                    <a:pt x="1842" y="2868"/>
                  </a:lnTo>
                  <a:lnTo>
                    <a:pt x="1854" y="2874"/>
                  </a:lnTo>
                  <a:lnTo>
                    <a:pt x="1860" y="2880"/>
                  </a:lnTo>
                  <a:lnTo>
                    <a:pt x="1884" y="2880"/>
                  </a:lnTo>
                  <a:lnTo>
                    <a:pt x="1890" y="2874"/>
                  </a:lnTo>
                  <a:lnTo>
                    <a:pt x="1890" y="2862"/>
                  </a:lnTo>
                  <a:lnTo>
                    <a:pt x="1908" y="2862"/>
                  </a:lnTo>
                  <a:lnTo>
                    <a:pt x="1914" y="2856"/>
                  </a:lnTo>
                  <a:lnTo>
                    <a:pt x="1914" y="2826"/>
                  </a:lnTo>
                  <a:lnTo>
                    <a:pt x="1908" y="2820"/>
                  </a:lnTo>
                  <a:lnTo>
                    <a:pt x="1908" y="2814"/>
                  </a:lnTo>
                  <a:lnTo>
                    <a:pt x="1896" y="2802"/>
                  </a:lnTo>
                  <a:lnTo>
                    <a:pt x="1890" y="2790"/>
                  </a:lnTo>
                  <a:lnTo>
                    <a:pt x="1884" y="2784"/>
                  </a:lnTo>
                  <a:lnTo>
                    <a:pt x="1872" y="2778"/>
                  </a:lnTo>
                  <a:lnTo>
                    <a:pt x="1866" y="2772"/>
                  </a:lnTo>
                  <a:lnTo>
                    <a:pt x="1854" y="2772"/>
                  </a:lnTo>
                  <a:lnTo>
                    <a:pt x="1854" y="2748"/>
                  </a:lnTo>
                  <a:lnTo>
                    <a:pt x="1848" y="2742"/>
                  </a:lnTo>
                  <a:lnTo>
                    <a:pt x="1836" y="2736"/>
                  </a:lnTo>
                  <a:lnTo>
                    <a:pt x="1830" y="2724"/>
                  </a:lnTo>
                  <a:lnTo>
                    <a:pt x="1824" y="2718"/>
                  </a:lnTo>
                  <a:lnTo>
                    <a:pt x="1824" y="2706"/>
                  </a:lnTo>
                  <a:lnTo>
                    <a:pt x="1830" y="2694"/>
                  </a:lnTo>
                  <a:lnTo>
                    <a:pt x="1830" y="2682"/>
                  </a:lnTo>
                  <a:lnTo>
                    <a:pt x="1818" y="2658"/>
                  </a:lnTo>
                  <a:lnTo>
                    <a:pt x="1812" y="2652"/>
                  </a:lnTo>
                  <a:lnTo>
                    <a:pt x="1806" y="2640"/>
                  </a:lnTo>
                  <a:lnTo>
                    <a:pt x="1794" y="2634"/>
                  </a:lnTo>
                  <a:lnTo>
                    <a:pt x="1788" y="2628"/>
                  </a:lnTo>
                  <a:lnTo>
                    <a:pt x="1776" y="2628"/>
                  </a:lnTo>
                  <a:lnTo>
                    <a:pt x="1758" y="2622"/>
                  </a:lnTo>
                  <a:lnTo>
                    <a:pt x="1758" y="2604"/>
                  </a:lnTo>
                  <a:lnTo>
                    <a:pt x="1794" y="2568"/>
                  </a:lnTo>
                  <a:lnTo>
                    <a:pt x="1800" y="2556"/>
                  </a:lnTo>
                  <a:lnTo>
                    <a:pt x="1806" y="2550"/>
                  </a:lnTo>
                  <a:lnTo>
                    <a:pt x="1806" y="2544"/>
                  </a:lnTo>
                  <a:lnTo>
                    <a:pt x="1800" y="2532"/>
                  </a:lnTo>
                  <a:lnTo>
                    <a:pt x="1788" y="2520"/>
                  </a:lnTo>
                  <a:lnTo>
                    <a:pt x="1800" y="2520"/>
                  </a:lnTo>
                  <a:lnTo>
                    <a:pt x="1812" y="2526"/>
                  </a:lnTo>
                  <a:lnTo>
                    <a:pt x="1830" y="2526"/>
                  </a:lnTo>
                  <a:lnTo>
                    <a:pt x="1842" y="2514"/>
                  </a:lnTo>
                  <a:lnTo>
                    <a:pt x="1872" y="2514"/>
                  </a:lnTo>
                  <a:lnTo>
                    <a:pt x="1878" y="2508"/>
                  </a:lnTo>
                  <a:lnTo>
                    <a:pt x="1860" y="2490"/>
                  </a:lnTo>
                  <a:lnTo>
                    <a:pt x="1890" y="2490"/>
                  </a:lnTo>
                  <a:lnTo>
                    <a:pt x="1890" y="2472"/>
                  </a:lnTo>
                  <a:lnTo>
                    <a:pt x="1878" y="2472"/>
                  </a:lnTo>
                  <a:lnTo>
                    <a:pt x="1854" y="2460"/>
                  </a:lnTo>
                  <a:lnTo>
                    <a:pt x="1842" y="2448"/>
                  </a:lnTo>
                  <a:lnTo>
                    <a:pt x="1842" y="2442"/>
                  </a:lnTo>
                  <a:lnTo>
                    <a:pt x="1878" y="2442"/>
                  </a:lnTo>
                  <a:lnTo>
                    <a:pt x="1878" y="2430"/>
                  </a:lnTo>
                  <a:lnTo>
                    <a:pt x="1866" y="2418"/>
                  </a:lnTo>
                  <a:lnTo>
                    <a:pt x="1860" y="2406"/>
                  </a:lnTo>
                  <a:lnTo>
                    <a:pt x="1812" y="2358"/>
                  </a:lnTo>
                  <a:lnTo>
                    <a:pt x="1800" y="2358"/>
                  </a:lnTo>
                  <a:lnTo>
                    <a:pt x="1788" y="2364"/>
                  </a:lnTo>
                  <a:lnTo>
                    <a:pt x="1746" y="2364"/>
                  </a:lnTo>
                  <a:lnTo>
                    <a:pt x="1740" y="2358"/>
                  </a:lnTo>
                  <a:lnTo>
                    <a:pt x="1740" y="2328"/>
                  </a:lnTo>
                  <a:lnTo>
                    <a:pt x="1734" y="2322"/>
                  </a:lnTo>
                  <a:lnTo>
                    <a:pt x="1710" y="2322"/>
                  </a:lnTo>
                  <a:lnTo>
                    <a:pt x="1704" y="2316"/>
                  </a:lnTo>
                  <a:lnTo>
                    <a:pt x="1698" y="2316"/>
                  </a:lnTo>
                  <a:lnTo>
                    <a:pt x="1698" y="2286"/>
                  </a:lnTo>
                  <a:lnTo>
                    <a:pt x="1710" y="2262"/>
                  </a:lnTo>
                  <a:lnTo>
                    <a:pt x="1710" y="2238"/>
                  </a:lnTo>
                  <a:lnTo>
                    <a:pt x="1704" y="2232"/>
                  </a:lnTo>
                  <a:lnTo>
                    <a:pt x="1698" y="2196"/>
                  </a:lnTo>
                  <a:lnTo>
                    <a:pt x="1722" y="2196"/>
                  </a:lnTo>
                  <a:lnTo>
                    <a:pt x="1722" y="2172"/>
                  </a:lnTo>
                  <a:lnTo>
                    <a:pt x="1716" y="2166"/>
                  </a:lnTo>
                  <a:lnTo>
                    <a:pt x="1716" y="2154"/>
                  </a:lnTo>
                  <a:lnTo>
                    <a:pt x="1722" y="2148"/>
                  </a:lnTo>
                  <a:lnTo>
                    <a:pt x="1734" y="2148"/>
                  </a:lnTo>
                  <a:lnTo>
                    <a:pt x="1746" y="2154"/>
                  </a:lnTo>
                  <a:lnTo>
                    <a:pt x="1758" y="2166"/>
                  </a:lnTo>
                  <a:lnTo>
                    <a:pt x="1770" y="2172"/>
                  </a:lnTo>
                  <a:lnTo>
                    <a:pt x="1776" y="2184"/>
                  </a:lnTo>
                  <a:lnTo>
                    <a:pt x="1788" y="2190"/>
                  </a:lnTo>
                  <a:lnTo>
                    <a:pt x="1800" y="2190"/>
                  </a:lnTo>
                  <a:lnTo>
                    <a:pt x="1806" y="2184"/>
                  </a:lnTo>
                  <a:lnTo>
                    <a:pt x="1812" y="2172"/>
                  </a:lnTo>
                  <a:lnTo>
                    <a:pt x="1818" y="2166"/>
                  </a:lnTo>
                  <a:lnTo>
                    <a:pt x="1812" y="2154"/>
                  </a:lnTo>
                  <a:lnTo>
                    <a:pt x="1800" y="2142"/>
                  </a:lnTo>
                  <a:lnTo>
                    <a:pt x="1830" y="2130"/>
                  </a:lnTo>
                  <a:lnTo>
                    <a:pt x="1830" y="2106"/>
                  </a:lnTo>
                  <a:lnTo>
                    <a:pt x="1836" y="2106"/>
                  </a:lnTo>
                  <a:lnTo>
                    <a:pt x="1848" y="2100"/>
                  </a:lnTo>
                  <a:lnTo>
                    <a:pt x="1860" y="2100"/>
                  </a:lnTo>
                  <a:lnTo>
                    <a:pt x="1872" y="2094"/>
                  </a:lnTo>
                  <a:lnTo>
                    <a:pt x="1884" y="2082"/>
                  </a:lnTo>
                  <a:lnTo>
                    <a:pt x="1884" y="2064"/>
                  </a:lnTo>
                  <a:lnTo>
                    <a:pt x="1878" y="2058"/>
                  </a:lnTo>
                  <a:lnTo>
                    <a:pt x="1878" y="2052"/>
                  </a:lnTo>
                  <a:lnTo>
                    <a:pt x="1908" y="2052"/>
                  </a:lnTo>
                  <a:lnTo>
                    <a:pt x="1920" y="2058"/>
                  </a:lnTo>
                  <a:lnTo>
                    <a:pt x="1926" y="2058"/>
                  </a:lnTo>
                  <a:lnTo>
                    <a:pt x="1926" y="2064"/>
                  </a:lnTo>
                  <a:lnTo>
                    <a:pt x="1932" y="2070"/>
                  </a:lnTo>
                  <a:lnTo>
                    <a:pt x="1962" y="2070"/>
                  </a:lnTo>
                  <a:lnTo>
                    <a:pt x="1974" y="2058"/>
                  </a:lnTo>
                  <a:lnTo>
                    <a:pt x="1986" y="2052"/>
                  </a:lnTo>
                  <a:lnTo>
                    <a:pt x="2004" y="2052"/>
                  </a:lnTo>
                  <a:lnTo>
                    <a:pt x="2010" y="2058"/>
                  </a:lnTo>
                  <a:lnTo>
                    <a:pt x="2016" y="2070"/>
                  </a:lnTo>
                  <a:lnTo>
                    <a:pt x="2076" y="2070"/>
                  </a:lnTo>
                  <a:lnTo>
                    <a:pt x="2082" y="2076"/>
                  </a:lnTo>
                  <a:lnTo>
                    <a:pt x="2082" y="2082"/>
                  </a:lnTo>
                  <a:lnTo>
                    <a:pt x="2088" y="2094"/>
                  </a:lnTo>
                  <a:lnTo>
                    <a:pt x="2124" y="2094"/>
                  </a:lnTo>
                  <a:lnTo>
                    <a:pt x="2136" y="2124"/>
                  </a:lnTo>
                  <a:lnTo>
                    <a:pt x="2136" y="2130"/>
                  </a:lnTo>
                  <a:lnTo>
                    <a:pt x="2148" y="2142"/>
                  </a:lnTo>
                  <a:lnTo>
                    <a:pt x="2160" y="2142"/>
                  </a:lnTo>
                  <a:lnTo>
                    <a:pt x="2160" y="2124"/>
                  </a:lnTo>
                  <a:lnTo>
                    <a:pt x="2148" y="2112"/>
                  </a:lnTo>
                  <a:lnTo>
                    <a:pt x="2148" y="2106"/>
                  </a:lnTo>
                  <a:lnTo>
                    <a:pt x="2160" y="2106"/>
                  </a:lnTo>
                  <a:lnTo>
                    <a:pt x="2232" y="2142"/>
                  </a:lnTo>
                  <a:lnTo>
                    <a:pt x="2238" y="2136"/>
                  </a:lnTo>
                  <a:lnTo>
                    <a:pt x="2244" y="2124"/>
                  </a:lnTo>
                  <a:lnTo>
                    <a:pt x="2256" y="2118"/>
                  </a:lnTo>
                  <a:lnTo>
                    <a:pt x="2268" y="2106"/>
                  </a:lnTo>
                  <a:lnTo>
                    <a:pt x="2280" y="2100"/>
                  </a:lnTo>
                  <a:lnTo>
                    <a:pt x="2286" y="2100"/>
                  </a:lnTo>
                  <a:lnTo>
                    <a:pt x="2322" y="2118"/>
                  </a:lnTo>
                  <a:lnTo>
                    <a:pt x="2334" y="2118"/>
                  </a:lnTo>
                  <a:lnTo>
                    <a:pt x="2352" y="2112"/>
                  </a:lnTo>
                  <a:lnTo>
                    <a:pt x="2364" y="2106"/>
                  </a:lnTo>
                  <a:lnTo>
                    <a:pt x="2370" y="2100"/>
                  </a:lnTo>
                  <a:lnTo>
                    <a:pt x="2382" y="2100"/>
                  </a:lnTo>
                  <a:lnTo>
                    <a:pt x="2388" y="2106"/>
                  </a:lnTo>
                  <a:lnTo>
                    <a:pt x="2400" y="2112"/>
                  </a:lnTo>
                  <a:lnTo>
                    <a:pt x="2406" y="2124"/>
                  </a:lnTo>
                  <a:lnTo>
                    <a:pt x="2430" y="2136"/>
                  </a:lnTo>
                  <a:lnTo>
                    <a:pt x="2454" y="2136"/>
                  </a:lnTo>
                  <a:lnTo>
                    <a:pt x="2466" y="2142"/>
                  </a:lnTo>
                  <a:lnTo>
                    <a:pt x="2478" y="2142"/>
                  </a:lnTo>
                  <a:lnTo>
                    <a:pt x="2490" y="2118"/>
                  </a:lnTo>
                  <a:lnTo>
                    <a:pt x="2496" y="2124"/>
                  </a:lnTo>
                  <a:lnTo>
                    <a:pt x="2508" y="2124"/>
                  </a:lnTo>
                  <a:lnTo>
                    <a:pt x="2514" y="2130"/>
                  </a:lnTo>
                  <a:lnTo>
                    <a:pt x="2526" y="2136"/>
                  </a:lnTo>
                  <a:lnTo>
                    <a:pt x="2562" y="2136"/>
                  </a:lnTo>
                  <a:lnTo>
                    <a:pt x="2568" y="2130"/>
                  </a:lnTo>
                  <a:lnTo>
                    <a:pt x="2574" y="2118"/>
                  </a:lnTo>
                  <a:lnTo>
                    <a:pt x="2574" y="2106"/>
                  </a:lnTo>
                  <a:lnTo>
                    <a:pt x="2568" y="2088"/>
                  </a:lnTo>
                  <a:lnTo>
                    <a:pt x="2544" y="2064"/>
                  </a:lnTo>
                  <a:lnTo>
                    <a:pt x="2532" y="2058"/>
                  </a:lnTo>
                  <a:lnTo>
                    <a:pt x="2514" y="2052"/>
                  </a:lnTo>
                  <a:lnTo>
                    <a:pt x="2490" y="2052"/>
                  </a:lnTo>
                  <a:lnTo>
                    <a:pt x="2460" y="2022"/>
                  </a:lnTo>
                  <a:lnTo>
                    <a:pt x="2472" y="2022"/>
                  </a:lnTo>
                  <a:lnTo>
                    <a:pt x="2484" y="2016"/>
                  </a:lnTo>
                  <a:lnTo>
                    <a:pt x="2496" y="2016"/>
                  </a:lnTo>
                  <a:lnTo>
                    <a:pt x="2508" y="2004"/>
                  </a:lnTo>
                  <a:lnTo>
                    <a:pt x="2508" y="1992"/>
                  </a:lnTo>
                  <a:lnTo>
                    <a:pt x="2502" y="1986"/>
                  </a:lnTo>
                  <a:lnTo>
                    <a:pt x="2496" y="1974"/>
                  </a:lnTo>
                  <a:lnTo>
                    <a:pt x="2490" y="1968"/>
                  </a:lnTo>
                  <a:lnTo>
                    <a:pt x="2502" y="1956"/>
                  </a:lnTo>
                  <a:lnTo>
                    <a:pt x="2556" y="1956"/>
                  </a:lnTo>
                  <a:lnTo>
                    <a:pt x="2544" y="1944"/>
                  </a:lnTo>
                  <a:lnTo>
                    <a:pt x="2532" y="1944"/>
                  </a:lnTo>
                  <a:lnTo>
                    <a:pt x="2508" y="1932"/>
                  </a:lnTo>
                  <a:lnTo>
                    <a:pt x="2496" y="1932"/>
                  </a:lnTo>
                  <a:lnTo>
                    <a:pt x="2508" y="1914"/>
                  </a:lnTo>
                  <a:lnTo>
                    <a:pt x="2484" y="1914"/>
                  </a:lnTo>
                  <a:lnTo>
                    <a:pt x="2484" y="1908"/>
                  </a:lnTo>
                  <a:lnTo>
                    <a:pt x="2478" y="1902"/>
                  </a:lnTo>
                  <a:lnTo>
                    <a:pt x="2478" y="1896"/>
                  </a:lnTo>
                  <a:lnTo>
                    <a:pt x="2490" y="1884"/>
                  </a:lnTo>
                  <a:lnTo>
                    <a:pt x="2526" y="1872"/>
                  </a:lnTo>
                  <a:lnTo>
                    <a:pt x="2586" y="1866"/>
                  </a:lnTo>
                  <a:lnTo>
                    <a:pt x="2640" y="1866"/>
                  </a:lnTo>
                  <a:lnTo>
                    <a:pt x="2646" y="1848"/>
                  </a:lnTo>
                  <a:lnTo>
                    <a:pt x="2712" y="1848"/>
                  </a:lnTo>
                  <a:lnTo>
                    <a:pt x="2712" y="1830"/>
                  </a:lnTo>
                  <a:lnTo>
                    <a:pt x="2718" y="1824"/>
                  </a:lnTo>
                  <a:lnTo>
                    <a:pt x="2808" y="1824"/>
                  </a:lnTo>
                  <a:lnTo>
                    <a:pt x="2862" y="1806"/>
                  </a:lnTo>
                  <a:lnTo>
                    <a:pt x="2874" y="1806"/>
                  </a:lnTo>
                  <a:lnTo>
                    <a:pt x="2874" y="1794"/>
                  </a:lnTo>
                  <a:lnTo>
                    <a:pt x="2886" y="1782"/>
                  </a:lnTo>
                  <a:lnTo>
                    <a:pt x="2898" y="1776"/>
                  </a:lnTo>
                  <a:lnTo>
                    <a:pt x="2916" y="1770"/>
                  </a:lnTo>
                  <a:lnTo>
                    <a:pt x="2940" y="1770"/>
                  </a:lnTo>
                  <a:lnTo>
                    <a:pt x="2958" y="1776"/>
                  </a:lnTo>
                  <a:lnTo>
                    <a:pt x="2976" y="1776"/>
                  </a:lnTo>
                  <a:lnTo>
                    <a:pt x="2988" y="1788"/>
                  </a:lnTo>
                  <a:lnTo>
                    <a:pt x="3000" y="1788"/>
                  </a:lnTo>
                  <a:lnTo>
                    <a:pt x="3012" y="1776"/>
                  </a:lnTo>
                  <a:lnTo>
                    <a:pt x="3018" y="1776"/>
                  </a:lnTo>
                  <a:lnTo>
                    <a:pt x="3036" y="1794"/>
                  </a:lnTo>
                  <a:lnTo>
                    <a:pt x="3042" y="1806"/>
                  </a:lnTo>
                  <a:lnTo>
                    <a:pt x="3048" y="1812"/>
                  </a:lnTo>
                  <a:lnTo>
                    <a:pt x="3060" y="1812"/>
                  </a:lnTo>
                  <a:lnTo>
                    <a:pt x="3066" y="1818"/>
                  </a:lnTo>
                  <a:lnTo>
                    <a:pt x="3066" y="1860"/>
                  </a:lnTo>
                  <a:lnTo>
                    <a:pt x="3072" y="1866"/>
                  </a:lnTo>
                  <a:lnTo>
                    <a:pt x="3090" y="1866"/>
                  </a:lnTo>
                  <a:lnTo>
                    <a:pt x="3102" y="1860"/>
                  </a:lnTo>
                  <a:lnTo>
                    <a:pt x="3120" y="1860"/>
                  </a:lnTo>
                  <a:lnTo>
                    <a:pt x="3132" y="1842"/>
                  </a:lnTo>
                  <a:lnTo>
                    <a:pt x="3156" y="1878"/>
                  </a:lnTo>
                  <a:lnTo>
                    <a:pt x="3180" y="1866"/>
                  </a:lnTo>
                  <a:lnTo>
                    <a:pt x="3204" y="1878"/>
                  </a:lnTo>
                  <a:lnTo>
                    <a:pt x="3210" y="1872"/>
                  </a:lnTo>
                  <a:lnTo>
                    <a:pt x="3216" y="1872"/>
                  </a:lnTo>
                  <a:lnTo>
                    <a:pt x="3228" y="1878"/>
                  </a:lnTo>
                  <a:lnTo>
                    <a:pt x="3228" y="1902"/>
                  </a:lnTo>
                  <a:lnTo>
                    <a:pt x="3222" y="1908"/>
                  </a:lnTo>
                  <a:lnTo>
                    <a:pt x="3222" y="1914"/>
                  </a:lnTo>
                  <a:lnTo>
                    <a:pt x="3228" y="1914"/>
                  </a:lnTo>
                  <a:lnTo>
                    <a:pt x="3234" y="1908"/>
                  </a:lnTo>
                  <a:lnTo>
                    <a:pt x="3240" y="1908"/>
                  </a:lnTo>
                  <a:lnTo>
                    <a:pt x="3246" y="1902"/>
                  </a:lnTo>
                  <a:lnTo>
                    <a:pt x="3252" y="1902"/>
                  </a:lnTo>
                  <a:lnTo>
                    <a:pt x="3258" y="1908"/>
                  </a:lnTo>
                  <a:lnTo>
                    <a:pt x="3270" y="1914"/>
                  </a:lnTo>
                  <a:lnTo>
                    <a:pt x="3276" y="1920"/>
                  </a:lnTo>
                  <a:lnTo>
                    <a:pt x="3288" y="1926"/>
                  </a:lnTo>
                  <a:lnTo>
                    <a:pt x="3300" y="1914"/>
                  </a:lnTo>
                  <a:lnTo>
                    <a:pt x="3300" y="1896"/>
                  </a:lnTo>
                  <a:lnTo>
                    <a:pt x="3306" y="1890"/>
                  </a:lnTo>
                  <a:lnTo>
                    <a:pt x="3318" y="1884"/>
                  </a:lnTo>
                  <a:lnTo>
                    <a:pt x="3330" y="1884"/>
                  </a:lnTo>
                  <a:lnTo>
                    <a:pt x="3342" y="1866"/>
                  </a:lnTo>
                  <a:lnTo>
                    <a:pt x="3378" y="1854"/>
                  </a:lnTo>
                  <a:lnTo>
                    <a:pt x="3396" y="1836"/>
                  </a:lnTo>
                  <a:lnTo>
                    <a:pt x="3402" y="1836"/>
                  </a:lnTo>
                  <a:lnTo>
                    <a:pt x="3408" y="1842"/>
                  </a:lnTo>
                  <a:lnTo>
                    <a:pt x="3408" y="1860"/>
                  </a:lnTo>
                  <a:lnTo>
                    <a:pt x="3396" y="1872"/>
                  </a:lnTo>
                  <a:lnTo>
                    <a:pt x="3390" y="1872"/>
                  </a:lnTo>
                  <a:lnTo>
                    <a:pt x="3426" y="1890"/>
                  </a:lnTo>
                  <a:lnTo>
                    <a:pt x="3456" y="1902"/>
                  </a:lnTo>
                  <a:lnTo>
                    <a:pt x="3486" y="1920"/>
                  </a:lnTo>
                  <a:lnTo>
                    <a:pt x="3498" y="1926"/>
                  </a:lnTo>
                  <a:lnTo>
                    <a:pt x="3516" y="1938"/>
                  </a:lnTo>
                  <a:lnTo>
                    <a:pt x="3546" y="1968"/>
                  </a:lnTo>
                  <a:lnTo>
                    <a:pt x="3618" y="2028"/>
                  </a:lnTo>
                  <a:lnTo>
                    <a:pt x="3636" y="2052"/>
                  </a:lnTo>
                  <a:lnTo>
                    <a:pt x="3672" y="2088"/>
                  </a:lnTo>
                  <a:lnTo>
                    <a:pt x="3684" y="2106"/>
                  </a:lnTo>
                  <a:lnTo>
                    <a:pt x="3696" y="2118"/>
                  </a:lnTo>
                  <a:lnTo>
                    <a:pt x="3708" y="2124"/>
                  </a:lnTo>
                  <a:lnTo>
                    <a:pt x="3720" y="2124"/>
                  </a:lnTo>
                  <a:lnTo>
                    <a:pt x="3732" y="2118"/>
                  </a:lnTo>
                  <a:lnTo>
                    <a:pt x="3744" y="2106"/>
                  </a:lnTo>
                  <a:lnTo>
                    <a:pt x="3744" y="2094"/>
                  </a:lnTo>
                  <a:lnTo>
                    <a:pt x="3750" y="2088"/>
                  </a:lnTo>
                  <a:lnTo>
                    <a:pt x="3750" y="2082"/>
                  </a:lnTo>
                  <a:lnTo>
                    <a:pt x="3762" y="2082"/>
                  </a:lnTo>
                  <a:lnTo>
                    <a:pt x="3768" y="2088"/>
                  </a:lnTo>
                  <a:lnTo>
                    <a:pt x="3768" y="2100"/>
                  </a:lnTo>
                  <a:lnTo>
                    <a:pt x="3774" y="2106"/>
                  </a:lnTo>
                  <a:lnTo>
                    <a:pt x="3774" y="2112"/>
                  </a:lnTo>
                  <a:lnTo>
                    <a:pt x="3804" y="2112"/>
                  </a:lnTo>
                  <a:lnTo>
                    <a:pt x="3816" y="2118"/>
                  </a:lnTo>
                  <a:lnTo>
                    <a:pt x="3822" y="2130"/>
                  </a:lnTo>
                  <a:lnTo>
                    <a:pt x="3834" y="2136"/>
                  </a:lnTo>
                  <a:lnTo>
                    <a:pt x="3858" y="2136"/>
                  </a:lnTo>
                  <a:lnTo>
                    <a:pt x="3864" y="2124"/>
                  </a:lnTo>
                  <a:lnTo>
                    <a:pt x="3876" y="2118"/>
                  </a:lnTo>
                  <a:lnTo>
                    <a:pt x="3894" y="2112"/>
                  </a:lnTo>
                  <a:lnTo>
                    <a:pt x="3906" y="2106"/>
                  </a:lnTo>
                  <a:lnTo>
                    <a:pt x="3924" y="2106"/>
                  </a:lnTo>
                  <a:lnTo>
                    <a:pt x="3948" y="2118"/>
                  </a:lnTo>
                  <a:lnTo>
                    <a:pt x="3972" y="2142"/>
                  </a:lnTo>
                  <a:lnTo>
                    <a:pt x="3984" y="2148"/>
                  </a:lnTo>
                  <a:lnTo>
                    <a:pt x="3990" y="2160"/>
                  </a:lnTo>
                  <a:lnTo>
                    <a:pt x="4002" y="2160"/>
                  </a:lnTo>
                  <a:lnTo>
                    <a:pt x="4014" y="2166"/>
                  </a:lnTo>
                  <a:lnTo>
                    <a:pt x="4026" y="2166"/>
                  </a:lnTo>
                  <a:lnTo>
                    <a:pt x="4038" y="2172"/>
                  </a:lnTo>
                  <a:lnTo>
                    <a:pt x="4044" y="2172"/>
                  </a:lnTo>
                  <a:lnTo>
                    <a:pt x="4044" y="2178"/>
                  </a:lnTo>
                  <a:lnTo>
                    <a:pt x="4050" y="2190"/>
                  </a:lnTo>
                  <a:lnTo>
                    <a:pt x="4056" y="2196"/>
                  </a:lnTo>
                  <a:lnTo>
                    <a:pt x="4062" y="2208"/>
                  </a:lnTo>
                  <a:lnTo>
                    <a:pt x="4068" y="2214"/>
                  </a:lnTo>
                  <a:lnTo>
                    <a:pt x="4068" y="2220"/>
                  </a:lnTo>
                  <a:lnTo>
                    <a:pt x="4140" y="2226"/>
                  </a:lnTo>
                  <a:lnTo>
                    <a:pt x="4152" y="2190"/>
                  </a:lnTo>
                  <a:lnTo>
                    <a:pt x="4176" y="2214"/>
                  </a:lnTo>
                  <a:lnTo>
                    <a:pt x="4212" y="2256"/>
                  </a:lnTo>
                  <a:lnTo>
                    <a:pt x="4254" y="2256"/>
                  </a:lnTo>
                  <a:lnTo>
                    <a:pt x="4266" y="2244"/>
                  </a:lnTo>
                  <a:lnTo>
                    <a:pt x="4266" y="2226"/>
                  </a:lnTo>
                  <a:lnTo>
                    <a:pt x="4326" y="2226"/>
                  </a:lnTo>
                  <a:lnTo>
                    <a:pt x="4320" y="2214"/>
                  </a:lnTo>
                  <a:lnTo>
                    <a:pt x="4344" y="2214"/>
                  </a:lnTo>
                  <a:lnTo>
                    <a:pt x="4338" y="2208"/>
                  </a:lnTo>
                  <a:lnTo>
                    <a:pt x="4338" y="2202"/>
                  </a:lnTo>
                  <a:lnTo>
                    <a:pt x="4374" y="2166"/>
                  </a:lnTo>
                  <a:lnTo>
                    <a:pt x="4392" y="2166"/>
                  </a:lnTo>
                  <a:lnTo>
                    <a:pt x="4404" y="2148"/>
                  </a:lnTo>
                  <a:lnTo>
                    <a:pt x="4428" y="2148"/>
                  </a:lnTo>
                  <a:lnTo>
                    <a:pt x="4428" y="2142"/>
                  </a:lnTo>
                  <a:lnTo>
                    <a:pt x="4434" y="2136"/>
                  </a:lnTo>
                  <a:lnTo>
                    <a:pt x="4434" y="2130"/>
                  </a:lnTo>
                  <a:lnTo>
                    <a:pt x="4440" y="2124"/>
                  </a:lnTo>
                  <a:lnTo>
                    <a:pt x="4458" y="2124"/>
                  </a:lnTo>
                  <a:lnTo>
                    <a:pt x="4464" y="2130"/>
                  </a:lnTo>
                  <a:lnTo>
                    <a:pt x="4482" y="2124"/>
                  </a:lnTo>
                  <a:lnTo>
                    <a:pt x="4482" y="2130"/>
                  </a:lnTo>
                  <a:lnTo>
                    <a:pt x="4518" y="2130"/>
                  </a:lnTo>
                  <a:lnTo>
                    <a:pt x="4524" y="2148"/>
                  </a:lnTo>
                  <a:lnTo>
                    <a:pt x="4548" y="2148"/>
                  </a:lnTo>
                  <a:lnTo>
                    <a:pt x="4566" y="2142"/>
                  </a:lnTo>
                  <a:lnTo>
                    <a:pt x="4608" y="2142"/>
                  </a:lnTo>
                  <a:lnTo>
                    <a:pt x="4608" y="2148"/>
                  </a:lnTo>
                  <a:lnTo>
                    <a:pt x="4614" y="2154"/>
                  </a:lnTo>
                  <a:lnTo>
                    <a:pt x="4614" y="2166"/>
                  </a:lnTo>
                  <a:lnTo>
                    <a:pt x="4620" y="2172"/>
                  </a:lnTo>
                  <a:lnTo>
                    <a:pt x="4638" y="2178"/>
                  </a:lnTo>
                  <a:lnTo>
                    <a:pt x="4668" y="2178"/>
                  </a:lnTo>
                  <a:lnTo>
                    <a:pt x="4674" y="2190"/>
                  </a:lnTo>
                  <a:lnTo>
                    <a:pt x="4698" y="2184"/>
                  </a:lnTo>
                  <a:lnTo>
                    <a:pt x="4704" y="2196"/>
                  </a:lnTo>
                  <a:lnTo>
                    <a:pt x="4704" y="2190"/>
                  </a:lnTo>
                  <a:lnTo>
                    <a:pt x="4710" y="2184"/>
                  </a:lnTo>
                  <a:lnTo>
                    <a:pt x="4752" y="2184"/>
                  </a:lnTo>
                  <a:lnTo>
                    <a:pt x="4752" y="2196"/>
                  </a:lnTo>
                  <a:lnTo>
                    <a:pt x="4800" y="2190"/>
                  </a:lnTo>
                  <a:lnTo>
                    <a:pt x="4800" y="2202"/>
                  </a:lnTo>
                  <a:lnTo>
                    <a:pt x="4806" y="2208"/>
                  </a:lnTo>
                  <a:lnTo>
                    <a:pt x="4830" y="2196"/>
                  </a:lnTo>
                  <a:lnTo>
                    <a:pt x="4836" y="2190"/>
                  </a:lnTo>
                  <a:lnTo>
                    <a:pt x="4836" y="2184"/>
                  </a:lnTo>
                  <a:lnTo>
                    <a:pt x="4854" y="2184"/>
                  </a:lnTo>
                  <a:lnTo>
                    <a:pt x="4854" y="2160"/>
                  </a:lnTo>
                  <a:lnTo>
                    <a:pt x="4848" y="2148"/>
                  </a:lnTo>
                  <a:lnTo>
                    <a:pt x="4842" y="2142"/>
                  </a:lnTo>
                  <a:lnTo>
                    <a:pt x="4836" y="2142"/>
                  </a:lnTo>
                  <a:lnTo>
                    <a:pt x="4812" y="2106"/>
                  </a:lnTo>
                  <a:lnTo>
                    <a:pt x="4806" y="2088"/>
                  </a:lnTo>
                  <a:lnTo>
                    <a:pt x="4794" y="2076"/>
                  </a:lnTo>
                  <a:lnTo>
                    <a:pt x="4794" y="2064"/>
                  </a:lnTo>
                  <a:lnTo>
                    <a:pt x="4812" y="2064"/>
                  </a:lnTo>
                  <a:lnTo>
                    <a:pt x="4806" y="2052"/>
                  </a:lnTo>
                  <a:lnTo>
                    <a:pt x="4812" y="2052"/>
                  </a:lnTo>
                  <a:lnTo>
                    <a:pt x="4824" y="2046"/>
                  </a:lnTo>
                  <a:lnTo>
                    <a:pt x="4830" y="2034"/>
                  </a:lnTo>
                  <a:lnTo>
                    <a:pt x="4830" y="2016"/>
                  </a:lnTo>
                  <a:lnTo>
                    <a:pt x="4890" y="2046"/>
                  </a:lnTo>
                  <a:lnTo>
                    <a:pt x="4902" y="2046"/>
                  </a:lnTo>
                  <a:lnTo>
                    <a:pt x="4926" y="2052"/>
                  </a:lnTo>
                  <a:lnTo>
                    <a:pt x="4962" y="2052"/>
                  </a:lnTo>
                  <a:lnTo>
                    <a:pt x="4974" y="2058"/>
                  </a:lnTo>
                  <a:lnTo>
                    <a:pt x="4980" y="2064"/>
                  </a:lnTo>
                  <a:lnTo>
                    <a:pt x="5004" y="2076"/>
                  </a:lnTo>
                  <a:lnTo>
                    <a:pt x="5010" y="2076"/>
                  </a:lnTo>
                  <a:lnTo>
                    <a:pt x="5022" y="2070"/>
                  </a:lnTo>
                  <a:lnTo>
                    <a:pt x="5040" y="2070"/>
                  </a:lnTo>
                  <a:lnTo>
                    <a:pt x="5052" y="2076"/>
                  </a:lnTo>
                  <a:lnTo>
                    <a:pt x="5058" y="2082"/>
                  </a:lnTo>
                  <a:lnTo>
                    <a:pt x="5064" y="2094"/>
                  </a:lnTo>
                  <a:lnTo>
                    <a:pt x="5076" y="2106"/>
                  </a:lnTo>
                  <a:lnTo>
                    <a:pt x="5088" y="2130"/>
                  </a:lnTo>
                  <a:lnTo>
                    <a:pt x="5094" y="2136"/>
                  </a:lnTo>
                  <a:lnTo>
                    <a:pt x="5094" y="2142"/>
                  </a:lnTo>
                  <a:lnTo>
                    <a:pt x="5118" y="2136"/>
                  </a:lnTo>
                  <a:lnTo>
                    <a:pt x="5118" y="2142"/>
                  </a:lnTo>
                  <a:lnTo>
                    <a:pt x="5136" y="2160"/>
                  </a:lnTo>
                  <a:lnTo>
                    <a:pt x="5166" y="2160"/>
                  </a:lnTo>
                  <a:lnTo>
                    <a:pt x="5172" y="2166"/>
                  </a:lnTo>
                  <a:lnTo>
                    <a:pt x="5184" y="2166"/>
                  </a:lnTo>
                  <a:lnTo>
                    <a:pt x="5196" y="2172"/>
                  </a:lnTo>
                  <a:lnTo>
                    <a:pt x="5208" y="2172"/>
                  </a:lnTo>
                  <a:lnTo>
                    <a:pt x="5220" y="2166"/>
                  </a:lnTo>
                  <a:lnTo>
                    <a:pt x="5274" y="2148"/>
                  </a:lnTo>
                  <a:lnTo>
                    <a:pt x="5322" y="2148"/>
                  </a:lnTo>
                  <a:lnTo>
                    <a:pt x="5334" y="2154"/>
                  </a:lnTo>
                  <a:lnTo>
                    <a:pt x="5340" y="2154"/>
                  </a:lnTo>
                  <a:lnTo>
                    <a:pt x="5346" y="2160"/>
                  </a:lnTo>
                  <a:lnTo>
                    <a:pt x="5382" y="2160"/>
                  </a:lnTo>
                  <a:lnTo>
                    <a:pt x="5406" y="2184"/>
                  </a:lnTo>
                  <a:lnTo>
                    <a:pt x="5466" y="2184"/>
                  </a:lnTo>
                  <a:lnTo>
                    <a:pt x="5472" y="2190"/>
                  </a:lnTo>
                  <a:lnTo>
                    <a:pt x="5472" y="2196"/>
                  </a:lnTo>
                  <a:lnTo>
                    <a:pt x="5484" y="2208"/>
                  </a:lnTo>
                  <a:lnTo>
                    <a:pt x="5484" y="2214"/>
                  </a:lnTo>
                  <a:lnTo>
                    <a:pt x="5502" y="2214"/>
                  </a:lnTo>
                  <a:lnTo>
                    <a:pt x="5514" y="2220"/>
                  </a:lnTo>
                  <a:lnTo>
                    <a:pt x="5514" y="2232"/>
                  </a:lnTo>
                  <a:lnTo>
                    <a:pt x="5520" y="2238"/>
                  </a:lnTo>
                  <a:lnTo>
                    <a:pt x="5586" y="2238"/>
                  </a:lnTo>
                  <a:lnTo>
                    <a:pt x="5592" y="2244"/>
                  </a:lnTo>
                  <a:lnTo>
                    <a:pt x="5598" y="2244"/>
                  </a:lnTo>
                  <a:lnTo>
                    <a:pt x="5610" y="2250"/>
                  </a:lnTo>
                  <a:lnTo>
                    <a:pt x="5634" y="2250"/>
                  </a:lnTo>
                  <a:lnTo>
                    <a:pt x="5646" y="2244"/>
                  </a:lnTo>
                  <a:lnTo>
                    <a:pt x="5664" y="2244"/>
                  </a:lnTo>
                  <a:lnTo>
                    <a:pt x="5670" y="2250"/>
                  </a:lnTo>
                  <a:lnTo>
                    <a:pt x="5670" y="2256"/>
                  </a:lnTo>
                  <a:lnTo>
                    <a:pt x="5676" y="2256"/>
                  </a:lnTo>
                  <a:lnTo>
                    <a:pt x="5694" y="2238"/>
                  </a:lnTo>
                  <a:lnTo>
                    <a:pt x="5694" y="2232"/>
                  </a:lnTo>
                  <a:lnTo>
                    <a:pt x="5742" y="2232"/>
                  </a:lnTo>
                  <a:lnTo>
                    <a:pt x="5754" y="2220"/>
                  </a:lnTo>
                  <a:lnTo>
                    <a:pt x="5790" y="2220"/>
                  </a:lnTo>
                  <a:lnTo>
                    <a:pt x="5802" y="2208"/>
                  </a:lnTo>
                  <a:lnTo>
                    <a:pt x="5802" y="2196"/>
                  </a:lnTo>
                  <a:lnTo>
                    <a:pt x="5832" y="2166"/>
                  </a:lnTo>
                  <a:lnTo>
                    <a:pt x="5850" y="2166"/>
                  </a:lnTo>
                  <a:lnTo>
                    <a:pt x="5862" y="2172"/>
                  </a:lnTo>
                  <a:lnTo>
                    <a:pt x="5898" y="2172"/>
                  </a:lnTo>
                  <a:lnTo>
                    <a:pt x="5916" y="2190"/>
                  </a:lnTo>
                  <a:lnTo>
                    <a:pt x="5928" y="2196"/>
                  </a:lnTo>
                  <a:lnTo>
                    <a:pt x="5952" y="2196"/>
                  </a:lnTo>
                  <a:lnTo>
                    <a:pt x="5964" y="2190"/>
                  </a:lnTo>
                  <a:lnTo>
                    <a:pt x="5970" y="2184"/>
                  </a:lnTo>
                  <a:lnTo>
                    <a:pt x="5994" y="2190"/>
                  </a:lnTo>
                  <a:lnTo>
                    <a:pt x="6012" y="2190"/>
                  </a:lnTo>
                  <a:lnTo>
                    <a:pt x="6048" y="2214"/>
                  </a:lnTo>
                  <a:lnTo>
                    <a:pt x="6084" y="2214"/>
                  </a:lnTo>
                  <a:lnTo>
                    <a:pt x="6090" y="2220"/>
                  </a:lnTo>
                  <a:lnTo>
                    <a:pt x="6102" y="2220"/>
                  </a:lnTo>
                  <a:lnTo>
                    <a:pt x="6120" y="2202"/>
                  </a:lnTo>
                  <a:lnTo>
                    <a:pt x="6120" y="2190"/>
                  </a:lnTo>
                  <a:lnTo>
                    <a:pt x="6144" y="2190"/>
                  </a:lnTo>
                  <a:lnTo>
                    <a:pt x="6156" y="2184"/>
                  </a:lnTo>
                  <a:lnTo>
                    <a:pt x="6162" y="2178"/>
                  </a:lnTo>
                  <a:lnTo>
                    <a:pt x="6162" y="2166"/>
                  </a:lnTo>
                  <a:lnTo>
                    <a:pt x="6150" y="2166"/>
                  </a:lnTo>
                  <a:lnTo>
                    <a:pt x="6144" y="2160"/>
                  </a:lnTo>
                  <a:lnTo>
                    <a:pt x="6138" y="2118"/>
                  </a:lnTo>
                  <a:lnTo>
                    <a:pt x="6138" y="2046"/>
                  </a:lnTo>
                  <a:lnTo>
                    <a:pt x="6156" y="2028"/>
                  </a:lnTo>
                  <a:lnTo>
                    <a:pt x="6156" y="2016"/>
                  </a:lnTo>
                  <a:lnTo>
                    <a:pt x="6150" y="2010"/>
                  </a:lnTo>
                  <a:lnTo>
                    <a:pt x="6138" y="2004"/>
                  </a:lnTo>
                  <a:lnTo>
                    <a:pt x="6126" y="1992"/>
                  </a:lnTo>
                  <a:lnTo>
                    <a:pt x="6114" y="1992"/>
                  </a:lnTo>
                  <a:lnTo>
                    <a:pt x="6108" y="1986"/>
                  </a:lnTo>
                  <a:lnTo>
                    <a:pt x="6096" y="1986"/>
                  </a:lnTo>
                  <a:lnTo>
                    <a:pt x="6078" y="1980"/>
                  </a:lnTo>
                  <a:lnTo>
                    <a:pt x="6072" y="1980"/>
                  </a:lnTo>
                  <a:lnTo>
                    <a:pt x="6072" y="1968"/>
                  </a:lnTo>
                  <a:lnTo>
                    <a:pt x="6078" y="1968"/>
                  </a:lnTo>
                  <a:lnTo>
                    <a:pt x="6120" y="1926"/>
                  </a:lnTo>
                  <a:lnTo>
                    <a:pt x="6156" y="1920"/>
                  </a:lnTo>
                  <a:lnTo>
                    <a:pt x="6162" y="1908"/>
                  </a:lnTo>
                  <a:lnTo>
                    <a:pt x="6204" y="1914"/>
                  </a:lnTo>
                  <a:lnTo>
                    <a:pt x="6258" y="1902"/>
                  </a:lnTo>
                  <a:lnTo>
                    <a:pt x="6294" y="1920"/>
                  </a:lnTo>
                  <a:lnTo>
                    <a:pt x="6330" y="1944"/>
                  </a:lnTo>
                  <a:lnTo>
                    <a:pt x="6402" y="1944"/>
                  </a:lnTo>
                  <a:lnTo>
                    <a:pt x="6408" y="1950"/>
                  </a:lnTo>
                  <a:lnTo>
                    <a:pt x="6420" y="1956"/>
                  </a:lnTo>
                  <a:lnTo>
                    <a:pt x="6426" y="1962"/>
                  </a:lnTo>
                  <a:lnTo>
                    <a:pt x="6438" y="1968"/>
                  </a:lnTo>
                  <a:lnTo>
                    <a:pt x="6438" y="1980"/>
                  </a:lnTo>
                  <a:lnTo>
                    <a:pt x="6444" y="1980"/>
                  </a:lnTo>
                  <a:lnTo>
                    <a:pt x="6456" y="1992"/>
                  </a:lnTo>
                  <a:lnTo>
                    <a:pt x="6468" y="1998"/>
                  </a:lnTo>
                  <a:lnTo>
                    <a:pt x="6480" y="2010"/>
                  </a:lnTo>
                  <a:lnTo>
                    <a:pt x="6492" y="2010"/>
                  </a:lnTo>
                  <a:lnTo>
                    <a:pt x="6498" y="2016"/>
                  </a:lnTo>
                  <a:lnTo>
                    <a:pt x="6504" y="2016"/>
                  </a:lnTo>
                  <a:lnTo>
                    <a:pt x="6510" y="2046"/>
                  </a:lnTo>
                  <a:lnTo>
                    <a:pt x="6558" y="2070"/>
                  </a:lnTo>
                  <a:lnTo>
                    <a:pt x="6570" y="2100"/>
                  </a:lnTo>
                  <a:lnTo>
                    <a:pt x="6582" y="2100"/>
                  </a:lnTo>
                  <a:lnTo>
                    <a:pt x="6630" y="2124"/>
                  </a:lnTo>
                  <a:lnTo>
                    <a:pt x="6636" y="2136"/>
                  </a:lnTo>
                  <a:lnTo>
                    <a:pt x="6654" y="2154"/>
                  </a:lnTo>
                  <a:lnTo>
                    <a:pt x="6660" y="2166"/>
                  </a:lnTo>
                  <a:lnTo>
                    <a:pt x="6672" y="2166"/>
                  </a:lnTo>
                  <a:lnTo>
                    <a:pt x="6678" y="2190"/>
                  </a:lnTo>
                  <a:lnTo>
                    <a:pt x="6684" y="2190"/>
                  </a:lnTo>
                  <a:lnTo>
                    <a:pt x="6690" y="2196"/>
                  </a:lnTo>
                  <a:lnTo>
                    <a:pt x="6714" y="2208"/>
                  </a:lnTo>
                  <a:lnTo>
                    <a:pt x="6720" y="2214"/>
                  </a:lnTo>
                  <a:lnTo>
                    <a:pt x="6732" y="2220"/>
                  </a:lnTo>
                  <a:lnTo>
                    <a:pt x="6780" y="2220"/>
                  </a:lnTo>
                  <a:lnTo>
                    <a:pt x="6792" y="2226"/>
                  </a:lnTo>
                  <a:lnTo>
                    <a:pt x="6798" y="2232"/>
                  </a:lnTo>
                  <a:lnTo>
                    <a:pt x="6810" y="2238"/>
                  </a:lnTo>
                  <a:lnTo>
                    <a:pt x="6822" y="2226"/>
                  </a:lnTo>
                  <a:lnTo>
                    <a:pt x="6834" y="2226"/>
                  </a:lnTo>
                  <a:lnTo>
                    <a:pt x="6852" y="2244"/>
                  </a:lnTo>
                  <a:lnTo>
                    <a:pt x="6864" y="2250"/>
                  </a:lnTo>
                  <a:lnTo>
                    <a:pt x="6882" y="2268"/>
                  </a:lnTo>
                  <a:lnTo>
                    <a:pt x="6924" y="2268"/>
                  </a:lnTo>
                  <a:lnTo>
                    <a:pt x="6942" y="2298"/>
                  </a:lnTo>
                  <a:lnTo>
                    <a:pt x="6960" y="2298"/>
                  </a:lnTo>
                  <a:lnTo>
                    <a:pt x="6966" y="2304"/>
                  </a:lnTo>
                  <a:lnTo>
                    <a:pt x="6966" y="2310"/>
                  </a:lnTo>
                  <a:lnTo>
                    <a:pt x="6972" y="2322"/>
                  </a:lnTo>
                  <a:lnTo>
                    <a:pt x="6972" y="2334"/>
                  </a:lnTo>
                  <a:lnTo>
                    <a:pt x="7014" y="2364"/>
                  </a:lnTo>
                  <a:lnTo>
                    <a:pt x="7038" y="2358"/>
                  </a:lnTo>
                  <a:lnTo>
                    <a:pt x="7050" y="2370"/>
                  </a:lnTo>
                  <a:lnTo>
                    <a:pt x="7068" y="2370"/>
                  </a:lnTo>
                  <a:lnTo>
                    <a:pt x="7068" y="2358"/>
                  </a:lnTo>
                  <a:lnTo>
                    <a:pt x="7098" y="2364"/>
                  </a:lnTo>
                  <a:lnTo>
                    <a:pt x="7098" y="2346"/>
                  </a:lnTo>
                  <a:lnTo>
                    <a:pt x="7104" y="2340"/>
                  </a:lnTo>
                  <a:lnTo>
                    <a:pt x="7110" y="2340"/>
                  </a:lnTo>
                  <a:lnTo>
                    <a:pt x="7122" y="2334"/>
                  </a:lnTo>
                  <a:lnTo>
                    <a:pt x="7152" y="2334"/>
                  </a:lnTo>
                  <a:lnTo>
                    <a:pt x="7158" y="2310"/>
                  </a:lnTo>
                  <a:lnTo>
                    <a:pt x="7200" y="2310"/>
                  </a:lnTo>
                  <a:lnTo>
                    <a:pt x="7212" y="2316"/>
                  </a:lnTo>
                  <a:lnTo>
                    <a:pt x="7218" y="2328"/>
                  </a:lnTo>
                  <a:lnTo>
                    <a:pt x="7218" y="2346"/>
                  </a:lnTo>
                  <a:lnTo>
                    <a:pt x="7242" y="2358"/>
                  </a:lnTo>
                  <a:lnTo>
                    <a:pt x="7242" y="2388"/>
                  </a:lnTo>
                  <a:lnTo>
                    <a:pt x="7224" y="2394"/>
                  </a:lnTo>
                  <a:lnTo>
                    <a:pt x="7236" y="2412"/>
                  </a:lnTo>
                  <a:lnTo>
                    <a:pt x="7236" y="2430"/>
                  </a:lnTo>
                  <a:lnTo>
                    <a:pt x="7248" y="2442"/>
                  </a:lnTo>
                  <a:lnTo>
                    <a:pt x="7248" y="2466"/>
                  </a:lnTo>
                  <a:lnTo>
                    <a:pt x="7266" y="2472"/>
                  </a:lnTo>
                  <a:lnTo>
                    <a:pt x="7260" y="2502"/>
                  </a:lnTo>
                  <a:lnTo>
                    <a:pt x="7266" y="2526"/>
                  </a:lnTo>
                  <a:lnTo>
                    <a:pt x="7260" y="2532"/>
                  </a:lnTo>
                  <a:lnTo>
                    <a:pt x="7254" y="2532"/>
                  </a:lnTo>
                  <a:lnTo>
                    <a:pt x="7254" y="2550"/>
                  </a:lnTo>
                  <a:lnTo>
                    <a:pt x="7260" y="2562"/>
                  </a:lnTo>
                  <a:lnTo>
                    <a:pt x="7260" y="2574"/>
                  </a:lnTo>
                  <a:lnTo>
                    <a:pt x="7254" y="2580"/>
                  </a:lnTo>
                  <a:lnTo>
                    <a:pt x="7248" y="2580"/>
                  </a:lnTo>
                  <a:lnTo>
                    <a:pt x="7236" y="2574"/>
                  </a:lnTo>
                  <a:lnTo>
                    <a:pt x="7224" y="2574"/>
                  </a:lnTo>
                  <a:lnTo>
                    <a:pt x="7206" y="2568"/>
                  </a:lnTo>
                  <a:lnTo>
                    <a:pt x="7194" y="2562"/>
                  </a:lnTo>
                  <a:lnTo>
                    <a:pt x="7170" y="2562"/>
                  </a:lnTo>
                  <a:lnTo>
                    <a:pt x="7164" y="2568"/>
                  </a:lnTo>
                  <a:lnTo>
                    <a:pt x="7170" y="2574"/>
                  </a:lnTo>
                  <a:lnTo>
                    <a:pt x="7170" y="2586"/>
                  </a:lnTo>
                  <a:lnTo>
                    <a:pt x="7146" y="2586"/>
                  </a:lnTo>
                  <a:lnTo>
                    <a:pt x="7146" y="2598"/>
                  </a:lnTo>
                  <a:lnTo>
                    <a:pt x="7152" y="2610"/>
                  </a:lnTo>
                  <a:lnTo>
                    <a:pt x="7158" y="2610"/>
                  </a:lnTo>
                  <a:lnTo>
                    <a:pt x="7170" y="2622"/>
                  </a:lnTo>
                  <a:lnTo>
                    <a:pt x="7182" y="2628"/>
                  </a:lnTo>
                  <a:lnTo>
                    <a:pt x="7194" y="2646"/>
                  </a:lnTo>
                  <a:lnTo>
                    <a:pt x="7206" y="2658"/>
                  </a:lnTo>
                  <a:lnTo>
                    <a:pt x="7212" y="2676"/>
                  </a:lnTo>
                  <a:lnTo>
                    <a:pt x="7212" y="2688"/>
                  </a:lnTo>
                  <a:lnTo>
                    <a:pt x="7224" y="2700"/>
                  </a:lnTo>
                  <a:lnTo>
                    <a:pt x="7230" y="2712"/>
                  </a:lnTo>
                  <a:lnTo>
                    <a:pt x="7236" y="2748"/>
                  </a:lnTo>
                  <a:lnTo>
                    <a:pt x="7206" y="2742"/>
                  </a:lnTo>
                  <a:lnTo>
                    <a:pt x="7200" y="2766"/>
                  </a:lnTo>
                  <a:lnTo>
                    <a:pt x="7224" y="2778"/>
                  </a:lnTo>
                  <a:lnTo>
                    <a:pt x="7260" y="2778"/>
                  </a:lnTo>
                  <a:lnTo>
                    <a:pt x="7260" y="2718"/>
                  </a:lnTo>
                  <a:lnTo>
                    <a:pt x="7266" y="2712"/>
                  </a:lnTo>
                  <a:lnTo>
                    <a:pt x="7272" y="2712"/>
                  </a:lnTo>
                  <a:lnTo>
                    <a:pt x="7284" y="2718"/>
                  </a:lnTo>
                  <a:lnTo>
                    <a:pt x="7290" y="2724"/>
                  </a:lnTo>
                  <a:lnTo>
                    <a:pt x="7302" y="2712"/>
                  </a:lnTo>
                  <a:lnTo>
                    <a:pt x="7308" y="2724"/>
                  </a:lnTo>
                  <a:lnTo>
                    <a:pt x="7314" y="2730"/>
                  </a:lnTo>
                  <a:lnTo>
                    <a:pt x="7320" y="2742"/>
                  </a:lnTo>
                  <a:lnTo>
                    <a:pt x="7332" y="2754"/>
                  </a:lnTo>
                  <a:lnTo>
                    <a:pt x="7344" y="2754"/>
                  </a:lnTo>
                  <a:lnTo>
                    <a:pt x="7356" y="2748"/>
                  </a:lnTo>
                  <a:lnTo>
                    <a:pt x="7368" y="2748"/>
                  </a:lnTo>
                  <a:lnTo>
                    <a:pt x="7374" y="2742"/>
                  </a:lnTo>
                  <a:lnTo>
                    <a:pt x="7380" y="2742"/>
                  </a:lnTo>
                  <a:lnTo>
                    <a:pt x="7380" y="2760"/>
                  </a:lnTo>
                  <a:lnTo>
                    <a:pt x="7386" y="2760"/>
                  </a:lnTo>
                  <a:lnTo>
                    <a:pt x="7392" y="2754"/>
                  </a:lnTo>
                  <a:lnTo>
                    <a:pt x="7404" y="2748"/>
                  </a:lnTo>
                  <a:lnTo>
                    <a:pt x="7422" y="2742"/>
                  </a:lnTo>
                  <a:lnTo>
                    <a:pt x="7440" y="2730"/>
                  </a:lnTo>
                  <a:lnTo>
                    <a:pt x="7452" y="2724"/>
                  </a:lnTo>
                  <a:lnTo>
                    <a:pt x="7464" y="2700"/>
                  </a:lnTo>
                  <a:lnTo>
                    <a:pt x="7464" y="2682"/>
                  </a:lnTo>
                  <a:lnTo>
                    <a:pt x="7470" y="2664"/>
                  </a:lnTo>
                  <a:lnTo>
                    <a:pt x="7470" y="2628"/>
                  </a:lnTo>
                  <a:lnTo>
                    <a:pt x="7494" y="2622"/>
                  </a:lnTo>
                  <a:lnTo>
                    <a:pt x="7494" y="2562"/>
                  </a:lnTo>
                  <a:lnTo>
                    <a:pt x="7500" y="2550"/>
                  </a:lnTo>
                  <a:lnTo>
                    <a:pt x="7506" y="2544"/>
                  </a:lnTo>
                  <a:lnTo>
                    <a:pt x="7518" y="2520"/>
                  </a:lnTo>
                  <a:lnTo>
                    <a:pt x="7518" y="2490"/>
                  </a:lnTo>
                  <a:lnTo>
                    <a:pt x="7524" y="2472"/>
                  </a:lnTo>
                  <a:lnTo>
                    <a:pt x="7524" y="2454"/>
                  </a:lnTo>
                  <a:lnTo>
                    <a:pt x="7518" y="2442"/>
                  </a:lnTo>
                  <a:lnTo>
                    <a:pt x="7518" y="2424"/>
                  </a:lnTo>
                  <a:lnTo>
                    <a:pt x="7512" y="2418"/>
                  </a:lnTo>
                  <a:lnTo>
                    <a:pt x="7512" y="2412"/>
                  </a:lnTo>
                  <a:lnTo>
                    <a:pt x="7518" y="2400"/>
                  </a:lnTo>
                  <a:lnTo>
                    <a:pt x="7524" y="2394"/>
                  </a:lnTo>
                  <a:lnTo>
                    <a:pt x="7524" y="2382"/>
                  </a:lnTo>
                  <a:lnTo>
                    <a:pt x="7530" y="2376"/>
                  </a:lnTo>
                  <a:lnTo>
                    <a:pt x="7530" y="2364"/>
                  </a:lnTo>
                  <a:lnTo>
                    <a:pt x="7524" y="2358"/>
                  </a:lnTo>
                  <a:lnTo>
                    <a:pt x="7518" y="2346"/>
                  </a:lnTo>
                  <a:lnTo>
                    <a:pt x="7524" y="2334"/>
                  </a:lnTo>
                  <a:lnTo>
                    <a:pt x="7530" y="2328"/>
                  </a:lnTo>
                  <a:lnTo>
                    <a:pt x="7536" y="2316"/>
                  </a:lnTo>
                  <a:lnTo>
                    <a:pt x="7536" y="2298"/>
                  </a:lnTo>
                  <a:lnTo>
                    <a:pt x="7530" y="2292"/>
                  </a:lnTo>
                  <a:lnTo>
                    <a:pt x="7530" y="2280"/>
                  </a:lnTo>
                  <a:lnTo>
                    <a:pt x="7518" y="2256"/>
                  </a:lnTo>
                  <a:lnTo>
                    <a:pt x="7512" y="2250"/>
                  </a:lnTo>
                  <a:lnTo>
                    <a:pt x="7512" y="2238"/>
                  </a:lnTo>
                  <a:lnTo>
                    <a:pt x="7506" y="2232"/>
                  </a:lnTo>
                  <a:lnTo>
                    <a:pt x="7506" y="2220"/>
                  </a:lnTo>
                  <a:lnTo>
                    <a:pt x="7500" y="2214"/>
                  </a:lnTo>
                  <a:lnTo>
                    <a:pt x="7500" y="2202"/>
                  </a:lnTo>
                  <a:lnTo>
                    <a:pt x="7494" y="2196"/>
                  </a:lnTo>
                  <a:lnTo>
                    <a:pt x="7482" y="2190"/>
                  </a:lnTo>
                  <a:lnTo>
                    <a:pt x="7476" y="2184"/>
                  </a:lnTo>
                  <a:lnTo>
                    <a:pt x="7482" y="2178"/>
                  </a:lnTo>
                  <a:lnTo>
                    <a:pt x="7476" y="2178"/>
                  </a:lnTo>
                  <a:lnTo>
                    <a:pt x="7470" y="2172"/>
                  </a:lnTo>
                  <a:lnTo>
                    <a:pt x="7458" y="2166"/>
                  </a:lnTo>
                  <a:lnTo>
                    <a:pt x="7446" y="2154"/>
                  </a:lnTo>
                  <a:lnTo>
                    <a:pt x="7440" y="2142"/>
                  </a:lnTo>
                  <a:lnTo>
                    <a:pt x="7434" y="2124"/>
                  </a:lnTo>
                  <a:lnTo>
                    <a:pt x="7434" y="2112"/>
                  </a:lnTo>
                  <a:lnTo>
                    <a:pt x="7428" y="2106"/>
                  </a:lnTo>
                  <a:lnTo>
                    <a:pt x="7428" y="2100"/>
                  </a:lnTo>
                  <a:lnTo>
                    <a:pt x="7416" y="2094"/>
                  </a:lnTo>
                  <a:lnTo>
                    <a:pt x="7416" y="2082"/>
                  </a:lnTo>
                  <a:lnTo>
                    <a:pt x="7422" y="2070"/>
                  </a:lnTo>
                  <a:lnTo>
                    <a:pt x="7422" y="2040"/>
                  </a:lnTo>
                  <a:lnTo>
                    <a:pt x="7410" y="2028"/>
                  </a:lnTo>
                  <a:lnTo>
                    <a:pt x="7404" y="2016"/>
                  </a:lnTo>
                  <a:lnTo>
                    <a:pt x="7398" y="2010"/>
                  </a:lnTo>
                  <a:lnTo>
                    <a:pt x="7380" y="2004"/>
                  </a:lnTo>
                  <a:lnTo>
                    <a:pt x="7380" y="1998"/>
                  </a:lnTo>
                  <a:lnTo>
                    <a:pt x="7374" y="1992"/>
                  </a:lnTo>
                  <a:lnTo>
                    <a:pt x="7368" y="1980"/>
                  </a:lnTo>
                  <a:lnTo>
                    <a:pt x="7356" y="1968"/>
                  </a:lnTo>
                  <a:lnTo>
                    <a:pt x="7344" y="1968"/>
                  </a:lnTo>
                  <a:lnTo>
                    <a:pt x="7332" y="1956"/>
                  </a:lnTo>
                  <a:lnTo>
                    <a:pt x="7326" y="1956"/>
                  </a:lnTo>
                  <a:lnTo>
                    <a:pt x="7308" y="1950"/>
                  </a:lnTo>
                  <a:lnTo>
                    <a:pt x="7302" y="1938"/>
                  </a:lnTo>
                  <a:lnTo>
                    <a:pt x="7308" y="1938"/>
                  </a:lnTo>
                  <a:lnTo>
                    <a:pt x="7314" y="1944"/>
                  </a:lnTo>
                  <a:lnTo>
                    <a:pt x="7326" y="1944"/>
                  </a:lnTo>
                  <a:lnTo>
                    <a:pt x="7332" y="1950"/>
                  </a:lnTo>
                  <a:lnTo>
                    <a:pt x="7344" y="1950"/>
                  </a:lnTo>
                  <a:lnTo>
                    <a:pt x="7350" y="1944"/>
                  </a:lnTo>
                  <a:lnTo>
                    <a:pt x="7350" y="1938"/>
                  </a:lnTo>
                  <a:lnTo>
                    <a:pt x="7344" y="1938"/>
                  </a:lnTo>
                  <a:lnTo>
                    <a:pt x="7332" y="1932"/>
                  </a:lnTo>
                  <a:lnTo>
                    <a:pt x="7326" y="1926"/>
                  </a:lnTo>
                  <a:lnTo>
                    <a:pt x="7320" y="1926"/>
                  </a:lnTo>
                  <a:lnTo>
                    <a:pt x="7242" y="1890"/>
                  </a:lnTo>
                  <a:lnTo>
                    <a:pt x="7236" y="1890"/>
                  </a:lnTo>
                  <a:lnTo>
                    <a:pt x="7230" y="1884"/>
                  </a:lnTo>
                  <a:lnTo>
                    <a:pt x="7218" y="1878"/>
                  </a:lnTo>
                  <a:lnTo>
                    <a:pt x="7206" y="1866"/>
                  </a:lnTo>
                  <a:lnTo>
                    <a:pt x="7194" y="1860"/>
                  </a:lnTo>
                  <a:lnTo>
                    <a:pt x="7188" y="1854"/>
                  </a:lnTo>
                  <a:lnTo>
                    <a:pt x="7170" y="1854"/>
                  </a:lnTo>
                  <a:lnTo>
                    <a:pt x="7164" y="1860"/>
                  </a:lnTo>
                  <a:lnTo>
                    <a:pt x="7152" y="1866"/>
                  </a:lnTo>
                  <a:lnTo>
                    <a:pt x="7116" y="1854"/>
                  </a:lnTo>
                  <a:lnTo>
                    <a:pt x="7152" y="1896"/>
                  </a:lnTo>
                  <a:lnTo>
                    <a:pt x="7146" y="1920"/>
                  </a:lnTo>
                  <a:lnTo>
                    <a:pt x="7134" y="1920"/>
                  </a:lnTo>
                  <a:lnTo>
                    <a:pt x="7134" y="1890"/>
                  </a:lnTo>
                  <a:lnTo>
                    <a:pt x="7116" y="1878"/>
                  </a:lnTo>
                  <a:lnTo>
                    <a:pt x="7116" y="1908"/>
                  </a:lnTo>
                  <a:lnTo>
                    <a:pt x="7068" y="1908"/>
                  </a:lnTo>
                  <a:lnTo>
                    <a:pt x="7074" y="1902"/>
                  </a:lnTo>
                  <a:lnTo>
                    <a:pt x="7074" y="1884"/>
                  </a:lnTo>
                  <a:lnTo>
                    <a:pt x="7068" y="1878"/>
                  </a:lnTo>
                  <a:lnTo>
                    <a:pt x="7044" y="1878"/>
                  </a:lnTo>
                  <a:lnTo>
                    <a:pt x="7038" y="1890"/>
                  </a:lnTo>
                  <a:lnTo>
                    <a:pt x="7014" y="1890"/>
                  </a:lnTo>
                  <a:lnTo>
                    <a:pt x="7002" y="1854"/>
                  </a:lnTo>
                  <a:lnTo>
                    <a:pt x="6996" y="1854"/>
                  </a:lnTo>
                  <a:lnTo>
                    <a:pt x="6984" y="1830"/>
                  </a:lnTo>
                  <a:lnTo>
                    <a:pt x="6912" y="1836"/>
                  </a:lnTo>
                  <a:lnTo>
                    <a:pt x="6906" y="1824"/>
                  </a:lnTo>
                  <a:lnTo>
                    <a:pt x="6882" y="1824"/>
                  </a:lnTo>
                  <a:lnTo>
                    <a:pt x="6870" y="1818"/>
                  </a:lnTo>
                  <a:lnTo>
                    <a:pt x="6864" y="1812"/>
                  </a:lnTo>
                  <a:lnTo>
                    <a:pt x="6864" y="1794"/>
                  </a:lnTo>
                  <a:lnTo>
                    <a:pt x="6876" y="1788"/>
                  </a:lnTo>
                  <a:lnTo>
                    <a:pt x="6888" y="1776"/>
                  </a:lnTo>
                  <a:lnTo>
                    <a:pt x="6900" y="1776"/>
                  </a:lnTo>
                  <a:lnTo>
                    <a:pt x="6900" y="1752"/>
                  </a:lnTo>
                  <a:lnTo>
                    <a:pt x="6906" y="1752"/>
                  </a:lnTo>
                  <a:lnTo>
                    <a:pt x="6918" y="1746"/>
                  </a:lnTo>
                  <a:lnTo>
                    <a:pt x="6930" y="1734"/>
                  </a:lnTo>
                  <a:lnTo>
                    <a:pt x="6930" y="1728"/>
                  </a:lnTo>
                  <a:lnTo>
                    <a:pt x="6936" y="1716"/>
                  </a:lnTo>
                  <a:lnTo>
                    <a:pt x="6936" y="1710"/>
                  </a:lnTo>
                  <a:lnTo>
                    <a:pt x="6942" y="1698"/>
                  </a:lnTo>
                  <a:lnTo>
                    <a:pt x="6930" y="1686"/>
                  </a:lnTo>
                  <a:lnTo>
                    <a:pt x="6942" y="1662"/>
                  </a:lnTo>
                  <a:lnTo>
                    <a:pt x="6930" y="1650"/>
                  </a:lnTo>
                  <a:lnTo>
                    <a:pt x="6948" y="1632"/>
                  </a:lnTo>
                  <a:lnTo>
                    <a:pt x="6972" y="1626"/>
                  </a:lnTo>
                  <a:lnTo>
                    <a:pt x="6960" y="1596"/>
                  </a:lnTo>
                  <a:lnTo>
                    <a:pt x="6984" y="1590"/>
                  </a:lnTo>
                  <a:lnTo>
                    <a:pt x="6960" y="1554"/>
                  </a:lnTo>
                  <a:lnTo>
                    <a:pt x="6990" y="1542"/>
                  </a:lnTo>
                  <a:lnTo>
                    <a:pt x="6990" y="1500"/>
                  </a:lnTo>
                  <a:lnTo>
                    <a:pt x="6996" y="1488"/>
                  </a:lnTo>
                  <a:lnTo>
                    <a:pt x="7002" y="1482"/>
                  </a:lnTo>
                  <a:lnTo>
                    <a:pt x="7020" y="1470"/>
                  </a:lnTo>
                  <a:lnTo>
                    <a:pt x="7032" y="1464"/>
                  </a:lnTo>
                  <a:lnTo>
                    <a:pt x="7050" y="1464"/>
                  </a:lnTo>
                  <a:lnTo>
                    <a:pt x="7068" y="1470"/>
                  </a:lnTo>
                  <a:lnTo>
                    <a:pt x="7188" y="1470"/>
                  </a:lnTo>
                  <a:lnTo>
                    <a:pt x="7206" y="1488"/>
                  </a:lnTo>
                  <a:lnTo>
                    <a:pt x="7224" y="1482"/>
                  </a:lnTo>
                  <a:lnTo>
                    <a:pt x="7218" y="1464"/>
                  </a:lnTo>
                  <a:lnTo>
                    <a:pt x="7290" y="1482"/>
                  </a:lnTo>
                  <a:lnTo>
                    <a:pt x="7320" y="1464"/>
                  </a:lnTo>
                  <a:lnTo>
                    <a:pt x="7350" y="1488"/>
                  </a:lnTo>
                  <a:lnTo>
                    <a:pt x="7356" y="1452"/>
                  </a:lnTo>
                  <a:lnTo>
                    <a:pt x="7434" y="1452"/>
                  </a:lnTo>
                  <a:lnTo>
                    <a:pt x="7446" y="1458"/>
                  </a:lnTo>
                  <a:lnTo>
                    <a:pt x="7452" y="1470"/>
                  </a:lnTo>
                  <a:lnTo>
                    <a:pt x="7458" y="1470"/>
                  </a:lnTo>
                  <a:lnTo>
                    <a:pt x="7464" y="1464"/>
                  </a:lnTo>
                  <a:lnTo>
                    <a:pt x="7476" y="1464"/>
                  </a:lnTo>
                  <a:lnTo>
                    <a:pt x="7482" y="1458"/>
                  </a:lnTo>
                  <a:lnTo>
                    <a:pt x="7494" y="1452"/>
                  </a:lnTo>
                  <a:lnTo>
                    <a:pt x="7518" y="1470"/>
                  </a:lnTo>
                  <a:lnTo>
                    <a:pt x="7560" y="1476"/>
                  </a:lnTo>
                  <a:lnTo>
                    <a:pt x="7506" y="1488"/>
                  </a:lnTo>
                  <a:lnTo>
                    <a:pt x="7506" y="1494"/>
                  </a:lnTo>
                  <a:lnTo>
                    <a:pt x="7512" y="1500"/>
                  </a:lnTo>
                  <a:lnTo>
                    <a:pt x="7524" y="1506"/>
                  </a:lnTo>
                  <a:lnTo>
                    <a:pt x="7530" y="1512"/>
                  </a:lnTo>
                  <a:lnTo>
                    <a:pt x="7542" y="1512"/>
                  </a:lnTo>
                  <a:lnTo>
                    <a:pt x="7548" y="1506"/>
                  </a:lnTo>
                  <a:lnTo>
                    <a:pt x="7560" y="1506"/>
                  </a:lnTo>
                  <a:lnTo>
                    <a:pt x="7572" y="1500"/>
                  </a:lnTo>
                  <a:lnTo>
                    <a:pt x="7578" y="1494"/>
                  </a:lnTo>
                  <a:lnTo>
                    <a:pt x="7584" y="1494"/>
                  </a:lnTo>
                  <a:lnTo>
                    <a:pt x="7614" y="1506"/>
                  </a:lnTo>
                  <a:lnTo>
                    <a:pt x="7638" y="1488"/>
                  </a:lnTo>
                  <a:lnTo>
                    <a:pt x="7644" y="1488"/>
                  </a:lnTo>
                  <a:lnTo>
                    <a:pt x="7650" y="1494"/>
                  </a:lnTo>
                  <a:lnTo>
                    <a:pt x="7686" y="1494"/>
                  </a:lnTo>
                  <a:lnTo>
                    <a:pt x="7692" y="1488"/>
                  </a:lnTo>
                  <a:lnTo>
                    <a:pt x="7692" y="1476"/>
                  </a:lnTo>
                  <a:lnTo>
                    <a:pt x="7728" y="1482"/>
                  </a:lnTo>
                  <a:lnTo>
                    <a:pt x="7680" y="1452"/>
                  </a:lnTo>
                  <a:lnTo>
                    <a:pt x="7650" y="1464"/>
                  </a:lnTo>
                  <a:lnTo>
                    <a:pt x="7644" y="1446"/>
                  </a:lnTo>
                  <a:lnTo>
                    <a:pt x="7638" y="1434"/>
                  </a:lnTo>
                  <a:lnTo>
                    <a:pt x="7632" y="1428"/>
                  </a:lnTo>
                  <a:lnTo>
                    <a:pt x="7626" y="1416"/>
                  </a:lnTo>
                  <a:lnTo>
                    <a:pt x="7626" y="1398"/>
                  </a:lnTo>
                  <a:lnTo>
                    <a:pt x="7650" y="1374"/>
                  </a:lnTo>
                  <a:lnTo>
                    <a:pt x="7644" y="1344"/>
                  </a:lnTo>
                  <a:lnTo>
                    <a:pt x="7662" y="1332"/>
                  </a:lnTo>
                  <a:lnTo>
                    <a:pt x="7650" y="1326"/>
                  </a:lnTo>
                  <a:lnTo>
                    <a:pt x="7638" y="1314"/>
                  </a:lnTo>
                  <a:lnTo>
                    <a:pt x="7638" y="1302"/>
                  </a:lnTo>
                  <a:lnTo>
                    <a:pt x="7644" y="1296"/>
                  </a:lnTo>
                  <a:lnTo>
                    <a:pt x="7662" y="1290"/>
                  </a:lnTo>
                  <a:lnTo>
                    <a:pt x="7698" y="1290"/>
                  </a:lnTo>
                  <a:lnTo>
                    <a:pt x="7710" y="1296"/>
                  </a:lnTo>
                  <a:lnTo>
                    <a:pt x="7728" y="1296"/>
                  </a:lnTo>
                  <a:lnTo>
                    <a:pt x="7746" y="1278"/>
                  </a:lnTo>
                  <a:lnTo>
                    <a:pt x="7782" y="1308"/>
                  </a:lnTo>
                  <a:lnTo>
                    <a:pt x="7806" y="1290"/>
                  </a:lnTo>
                  <a:lnTo>
                    <a:pt x="7812" y="1302"/>
                  </a:lnTo>
                  <a:lnTo>
                    <a:pt x="7818" y="1308"/>
                  </a:lnTo>
                  <a:lnTo>
                    <a:pt x="7830" y="1332"/>
                  </a:lnTo>
                  <a:lnTo>
                    <a:pt x="7830" y="1338"/>
                  </a:lnTo>
                  <a:lnTo>
                    <a:pt x="7836" y="1344"/>
                  </a:lnTo>
                  <a:lnTo>
                    <a:pt x="7878" y="1344"/>
                  </a:lnTo>
                  <a:lnTo>
                    <a:pt x="7878" y="1362"/>
                  </a:lnTo>
                  <a:lnTo>
                    <a:pt x="7884" y="1374"/>
                  </a:lnTo>
                  <a:lnTo>
                    <a:pt x="7890" y="1380"/>
                  </a:lnTo>
                  <a:lnTo>
                    <a:pt x="7896" y="1380"/>
                  </a:lnTo>
                  <a:lnTo>
                    <a:pt x="7914" y="1362"/>
                  </a:lnTo>
                  <a:lnTo>
                    <a:pt x="7932" y="1326"/>
                  </a:lnTo>
                  <a:lnTo>
                    <a:pt x="7938" y="1320"/>
                  </a:lnTo>
                  <a:lnTo>
                    <a:pt x="7938" y="1314"/>
                  </a:lnTo>
                  <a:lnTo>
                    <a:pt x="7962" y="1302"/>
                  </a:lnTo>
                  <a:lnTo>
                    <a:pt x="7992" y="1314"/>
                  </a:lnTo>
                  <a:lnTo>
                    <a:pt x="7986" y="1302"/>
                  </a:lnTo>
                  <a:lnTo>
                    <a:pt x="7962" y="1284"/>
                  </a:lnTo>
                  <a:lnTo>
                    <a:pt x="7956" y="1278"/>
                  </a:lnTo>
                  <a:lnTo>
                    <a:pt x="7932" y="1266"/>
                  </a:lnTo>
                  <a:lnTo>
                    <a:pt x="7926" y="1254"/>
                  </a:lnTo>
                  <a:lnTo>
                    <a:pt x="7914" y="1248"/>
                  </a:lnTo>
                  <a:lnTo>
                    <a:pt x="7908" y="1242"/>
                  </a:lnTo>
                  <a:lnTo>
                    <a:pt x="7908" y="1230"/>
                  </a:lnTo>
                  <a:lnTo>
                    <a:pt x="7962" y="1230"/>
                  </a:lnTo>
                  <a:lnTo>
                    <a:pt x="7992" y="1236"/>
                  </a:lnTo>
                  <a:lnTo>
                    <a:pt x="8052" y="1236"/>
                  </a:lnTo>
                  <a:lnTo>
                    <a:pt x="8052" y="1254"/>
                  </a:lnTo>
                  <a:lnTo>
                    <a:pt x="8040" y="1254"/>
                  </a:lnTo>
                  <a:lnTo>
                    <a:pt x="8028" y="1248"/>
                  </a:lnTo>
                  <a:lnTo>
                    <a:pt x="7992" y="1248"/>
                  </a:lnTo>
                  <a:lnTo>
                    <a:pt x="7992" y="1266"/>
                  </a:lnTo>
                  <a:lnTo>
                    <a:pt x="8016" y="1290"/>
                  </a:lnTo>
                  <a:lnTo>
                    <a:pt x="8028" y="1296"/>
                  </a:lnTo>
                  <a:lnTo>
                    <a:pt x="8034" y="1320"/>
                  </a:lnTo>
                  <a:lnTo>
                    <a:pt x="8064" y="1326"/>
                  </a:lnTo>
                  <a:lnTo>
                    <a:pt x="8058" y="1344"/>
                  </a:lnTo>
                  <a:lnTo>
                    <a:pt x="8076" y="1362"/>
                  </a:lnTo>
                  <a:lnTo>
                    <a:pt x="8046" y="1368"/>
                  </a:lnTo>
                  <a:lnTo>
                    <a:pt x="8040" y="1380"/>
                  </a:lnTo>
                  <a:lnTo>
                    <a:pt x="8022" y="1386"/>
                  </a:lnTo>
                  <a:lnTo>
                    <a:pt x="8028" y="1398"/>
                  </a:lnTo>
                  <a:lnTo>
                    <a:pt x="8028" y="1404"/>
                  </a:lnTo>
                  <a:lnTo>
                    <a:pt x="8034" y="1416"/>
                  </a:lnTo>
                  <a:lnTo>
                    <a:pt x="8034" y="1440"/>
                  </a:lnTo>
                  <a:lnTo>
                    <a:pt x="8028" y="1452"/>
                  </a:lnTo>
                  <a:lnTo>
                    <a:pt x="8016" y="1464"/>
                  </a:lnTo>
                  <a:lnTo>
                    <a:pt x="8004" y="1488"/>
                  </a:lnTo>
                  <a:lnTo>
                    <a:pt x="8004" y="1506"/>
                  </a:lnTo>
                  <a:lnTo>
                    <a:pt x="8010" y="1506"/>
                  </a:lnTo>
                  <a:lnTo>
                    <a:pt x="8016" y="1512"/>
                  </a:lnTo>
                  <a:lnTo>
                    <a:pt x="8022" y="1524"/>
                  </a:lnTo>
                  <a:lnTo>
                    <a:pt x="8016" y="1530"/>
                  </a:lnTo>
                  <a:lnTo>
                    <a:pt x="8010" y="1542"/>
                  </a:lnTo>
                  <a:lnTo>
                    <a:pt x="7986" y="1566"/>
                  </a:lnTo>
                  <a:lnTo>
                    <a:pt x="7974" y="1572"/>
                  </a:lnTo>
                  <a:lnTo>
                    <a:pt x="7968" y="1578"/>
                  </a:lnTo>
                  <a:lnTo>
                    <a:pt x="7962" y="1578"/>
                  </a:lnTo>
                  <a:lnTo>
                    <a:pt x="7962" y="1596"/>
                  </a:lnTo>
                  <a:lnTo>
                    <a:pt x="7944" y="1596"/>
                  </a:lnTo>
                  <a:lnTo>
                    <a:pt x="7950" y="1596"/>
                  </a:lnTo>
                  <a:lnTo>
                    <a:pt x="7956" y="1602"/>
                  </a:lnTo>
                  <a:lnTo>
                    <a:pt x="7968" y="1608"/>
                  </a:lnTo>
                  <a:lnTo>
                    <a:pt x="7980" y="1632"/>
                  </a:lnTo>
                  <a:lnTo>
                    <a:pt x="7974" y="1650"/>
                  </a:lnTo>
                  <a:lnTo>
                    <a:pt x="7974" y="1662"/>
                  </a:lnTo>
                  <a:lnTo>
                    <a:pt x="7968" y="1674"/>
                  </a:lnTo>
                  <a:lnTo>
                    <a:pt x="7968" y="1686"/>
                  </a:lnTo>
                  <a:lnTo>
                    <a:pt x="7974" y="1704"/>
                  </a:lnTo>
                  <a:lnTo>
                    <a:pt x="7992" y="1722"/>
                  </a:lnTo>
                  <a:lnTo>
                    <a:pt x="8016" y="1752"/>
                  </a:lnTo>
                  <a:lnTo>
                    <a:pt x="8046" y="1776"/>
                  </a:lnTo>
                  <a:lnTo>
                    <a:pt x="8070" y="1800"/>
                  </a:lnTo>
                  <a:lnTo>
                    <a:pt x="8082" y="1806"/>
                  </a:lnTo>
                  <a:lnTo>
                    <a:pt x="8142" y="1872"/>
                  </a:lnTo>
                  <a:lnTo>
                    <a:pt x="8154" y="1866"/>
                  </a:lnTo>
                  <a:lnTo>
                    <a:pt x="8238" y="1962"/>
                  </a:lnTo>
                  <a:lnTo>
                    <a:pt x="8286" y="1980"/>
                  </a:lnTo>
                  <a:lnTo>
                    <a:pt x="8310" y="2004"/>
                  </a:lnTo>
                  <a:lnTo>
                    <a:pt x="8316" y="2016"/>
                  </a:lnTo>
                  <a:lnTo>
                    <a:pt x="8328" y="2022"/>
                  </a:lnTo>
                  <a:lnTo>
                    <a:pt x="8334" y="2034"/>
                  </a:lnTo>
                  <a:lnTo>
                    <a:pt x="8388" y="2088"/>
                  </a:lnTo>
                  <a:lnTo>
                    <a:pt x="8406" y="2088"/>
                  </a:lnTo>
                  <a:lnTo>
                    <a:pt x="8406" y="2106"/>
                  </a:lnTo>
                  <a:lnTo>
                    <a:pt x="8418" y="2106"/>
                  </a:lnTo>
                  <a:lnTo>
                    <a:pt x="8430" y="2100"/>
                  </a:lnTo>
                  <a:lnTo>
                    <a:pt x="8436" y="2094"/>
                  </a:lnTo>
                  <a:lnTo>
                    <a:pt x="8442" y="2082"/>
                  </a:lnTo>
                  <a:lnTo>
                    <a:pt x="8442" y="2076"/>
                  </a:lnTo>
                  <a:lnTo>
                    <a:pt x="8430" y="2064"/>
                  </a:lnTo>
                  <a:lnTo>
                    <a:pt x="8436" y="2058"/>
                  </a:lnTo>
                  <a:lnTo>
                    <a:pt x="8442" y="2046"/>
                  </a:lnTo>
                  <a:lnTo>
                    <a:pt x="8448" y="2040"/>
                  </a:lnTo>
                  <a:lnTo>
                    <a:pt x="8448" y="2022"/>
                  </a:lnTo>
                  <a:lnTo>
                    <a:pt x="8430" y="2004"/>
                  </a:lnTo>
                  <a:lnTo>
                    <a:pt x="8418" y="1998"/>
                  </a:lnTo>
                  <a:lnTo>
                    <a:pt x="8406" y="1974"/>
                  </a:lnTo>
                  <a:lnTo>
                    <a:pt x="8406" y="1962"/>
                  </a:lnTo>
                  <a:lnTo>
                    <a:pt x="8412" y="1950"/>
                  </a:lnTo>
                  <a:lnTo>
                    <a:pt x="8430" y="1932"/>
                  </a:lnTo>
                  <a:lnTo>
                    <a:pt x="8442" y="1932"/>
                  </a:lnTo>
                  <a:lnTo>
                    <a:pt x="8454" y="1938"/>
                  </a:lnTo>
                  <a:lnTo>
                    <a:pt x="8460" y="1938"/>
                  </a:lnTo>
                  <a:lnTo>
                    <a:pt x="8466" y="1944"/>
                  </a:lnTo>
                  <a:lnTo>
                    <a:pt x="8472" y="1944"/>
                  </a:lnTo>
                  <a:lnTo>
                    <a:pt x="8466" y="1938"/>
                  </a:lnTo>
                  <a:lnTo>
                    <a:pt x="8460" y="1926"/>
                  </a:lnTo>
                  <a:lnTo>
                    <a:pt x="8448" y="1920"/>
                  </a:lnTo>
                  <a:lnTo>
                    <a:pt x="8442" y="1908"/>
                  </a:lnTo>
                  <a:lnTo>
                    <a:pt x="8424" y="1890"/>
                  </a:lnTo>
                  <a:lnTo>
                    <a:pt x="8412" y="1890"/>
                  </a:lnTo>
                  <a:lnTo>
                    <a:pt x="8406" y="1884"/>
                  </a:lnTo>
                  <a:lnTo>
                    <a:pt x="8400" y="1872"/>
                  </a:lnTo>
                  <a:lnTo>
                    <a:pt x="8400" y="1860"/>
                  </a:lnTo>
                  <a:lnTo>
                    <a:pt x="8406" y="1848"/>
                  </a:lnTo>
                  <a:lnTo>
                    <a:pt x="8412" y="1842"/>
                  </a:lnTo>
                  <a:lnTo>
                    <a:pt x="8424" y="1836"/>
                  </a:lnTo>
                  <a:lnTo>
                    <a:pt x="8430" y="1830"/>
                  </a:lnTo>
                  <a:lnTo>
                    <a:pt x="8442" y="1836"/>
                  </a:lnTo>
                  <a:lnTo>
                    <a:pt x="8466" y="1836"/>
                  </a:lnTo>
                  <a:lnTo>
                    <a:pt x="8472" y="1830"/>
                  </a:lnTo>
                  <a:lnTo>
                    <a:pt x="8472" y="1812"/>
                  </a:lnTo>
                  <a:lnTo>
                    <a:pt x="8454" y="1794"/>
                  </a:lnTo>
                  <a:lnTo>
                    <a:pt x="8436" y="1788"/>
                  </a:lnTo>
                  <a:lnTo>
                    <a:pt x="8424" y="1782"/>
                  </a:lnTo>
                  <a:lnTo>
                    <a:pt x="8406" y="1770"/>
                  </a:lnTo>
                  <a:lnTo>
                    <a:pt x="8394" y="1758"/>
                  </a:lnTo>
                  <a:lnTo>
                    <a:pt x="8388" y="1740"/>
                  </a:lnTo>
                  <a:lnTo>
                    <a:pt x="8376" y="1716"/>
                  </a:lnTo>
                  <a:lnTo>
                    <a:pt x="8376" y="1704"/>
                  </a:lnTo>
                  <a:lnTo>
                    <a:pt x="8370" y="1698"/>
                  </a:lnTo>
                  <a:lnTo>
                    <a:pt x="8370" y="1692"/>
                  </a:lnTo>
                  <a:lnTo>
                    <a:pt x="8382" y="1686"/>
                  </a:lnTo>
                  <a:lnTo>
                    <a:pt x="8406" y="1710"/>
                  </a:lnTo>
                  <a:lnTo>
                    <a:pt x="8418" y="1716"/>
                  </a:lnTo>
                  <a:lnTo>
                    <a:pt x="8430" y="1716"/>
                  </a:lnTo>
                  <a:lnTo>
                    <a:pt x="8430" y="1710"/>
                  </a:lnTo>
                  <a:lnTo>
                    <a:pt x="8424" y="1704"/>
                  </a:lnTo>
                  <a:lnTo>
                    <a:pt x="8418" y="1692"/>
                  </a:lnTo>
                  <a:lnTo>
                    <a:pt x="8412" y="1686"/>
                  </a:lnTo>
                  <a:lnTo>
                    <a:pt x="8406" y="1674"/>
                  </a:lnTo>
                  <a:lnTo>
                    <a:pt x="8400" y="1668"/>
                  </a:lnTo>
                  <a:lnTo>
                    <a:pt x="8364" y="1668"/>
                  </a:lnTo>
                  <a:lnTo>
                    <a:pt x="8316" y="1626"/>
                  </a:lnTo>
                  <a:lnTo>
                    <a:pt x="8316" y="1596"/>
                  </a:lnTo>
                  <a:lnTo>
                    <a:pt x="8310" y="1590"/>
                  </a:lnTo>
                  <a:lnTo>
                    <a:pt x="8298" y="1584"/>
                  </a:lnTo>
                  <a:lnTo>
                    <a:pt x="8280" y="1578"/>
                  </a:lnTo>
                  <a:lnTo>
                    <a:pt x="8268" y="1572"/>
                  </a:lnTo>
                  <a:lnTo>
                    <a:pt x="8256" y="1572"/>
                  </a:lnTo>
                  <a:lnTo>
                    <a:pt x="8256" y="1590"/>
                  </a:lnTo>
                  <a:lnTo>
                    <a:pt x="8250" y="1590"/>
                  </a:lnTo>
                  <a:lnTo>
                    <a:pt x="8244" y="1584"/>
                  </a:lnTo>
                  <a:lnTo>
                    <a:pt x="8232" y="1584"/>
                  </a:lnTo>
                  <a:lnTo>
                    <a:pt x="8214" y="1572"/>
                  </a:lnTo>
                  <a:lnTo>
                    <a:pt x="8202" y="1566"/>
                  </a:lnTo>
                  <a:lnTo>
                    <a:pt x="8196" y="1560"/>
                  </a:lnTo>
                  <a:lnTo>
                    <a:pt x="8190" y="1548"/>
                  </a:lnTo>
                  <a:lnTo>
                    <a:pt x="8190" y="1536"/>
                  </a:lnTo>
                  <a:lnTo>
                    <a:pt x="8196" y="1524"/>
                  </a:lnTo>
                  <a:lnTo>
                    <a:pt x="8196" y="1500"/>
                  </a:lnTo>
                  <a:lnTo>
                    <a:pt x="8184" y="1476"/>
                  </a:lnTo>
                  <a:lnTo>
                    <a:pt x="8166" y="1458"/>
                  </a:lnTo>
                  <a:lnTo>
                    <a:pt x="8154" y="1452"/>
                  </a:lnTo>
                  <a:lnTo>
                    <a:pt x="8154" y="1434"/>
                  </a:lnTo>
                  <a:lnTo>
                    <a:pt x="8160" y="1428"/>
                  </a:lnTo>
                  <a:lnTo>
                    <a:pt x="8172" y="1428"/>
                  </a:lnTo>
                  <a:lnTo>
                    <a:pt x="8184" y="1434"/>
                  </a:lnTo>
                  <a:lnTo>
                    <a:pt x="8196" y="1416"/>
                  </a:lnTo>
                  <a:lnTo>
                    <a:pt x="8232" y="1446"/>
                  </a:lnTo>
                  <a:lnTo>
                    <a:pt x="8238" y="1440"/>
                  </a:lnTo>
                  <a:lnTo>
                    <a:pt x="8226" y="1428"/>
                  </a:lnTo>
                  <a:lnTo>
                    <a:pt x="8226" y="1422"/>
                  </a:lnTo>
                  <a:lnTo>
                    <a:pt x="8232" y="1416"/>
                  </a:lnTo>
                  <a:lnTo>
                    <a:pt x="8232" y="1404"/>
                  </a:lnTo>
                  <a:lnTo>
                    <a:pt x="8238" y="1392"/>
                  </a:lnTo>
                  <a:lnTo>
                    <a:pt x="8250" y="1386"/>
                  </a:lnTo>
                  <a:lnTo>
                    <a:pt x="8256" y="1386"/>
                  </a:lnTo>
                  <a:lnTo>
                    <a:pt x="8274" y="1404"/>
                  </a:lnTo>
                  <a:lnTo>
                    <a:pt x="8280" y="1416"/>
                  </a:lnTo>
                  <a:lnTo>
                    <a:pt x="8292" y="1428"/>
                  </a:lnTo>
                  <a:lnTo>
                    <a:pt x="8304" y="1434"/>
                  </a:lnTo>
                  <a:lnTo>
                    <a:pt x="8310" y="1446"/>
                  </a:lnTo>
                  <a:lnTo>
                    <a:pt x="8322" y="1398"/>
                  </a:lnTo>
                  <a:lnTo>
                    <a:pt x="8334" y="1398"/>
                  </a:lnTo>
                  <a:lnTo>
                    <a:pt x="8364" y="1392"/>
                  </a:lnTo>
                  <a:lnTo>
                    <a:pt x="8400" y="1386"/>
                  </a:lnTo>
                  <a:lnTo>
                    <a:pt x="8430" y="1386"/>
                  </a:lnTo>
                  <a:lnTo>
                    <a:pt x="8478" y="1410"/>
                  </a:lnTo>
                  <a:lnTo>
                    <a:pt x="8484" y="1416"/>
                  </a:lnTo>
                  <a:lnTo>
                    <a:pt x="8490" y="1416"/>
                  </a:lnTo>
                  <a:lnTo>
                    <a:pt x="8532" y="1434"/>
                  </a:lnTo>
                  <a:lnTo>
                    <a:pt x="8502" y="1374"/>
                  </a:lnTo>
                  <a:lnTo>
                    <a:pt x="8526" y="1374"/>
                  </a:lnTo>
                  <a:lnTo>
                    <a:pt x="8538" y="1368"/>
                  </a:lnTo>
                  <a:lnTo>
                    <a:pt x="8550" y="1356"/>
                  </a:lnTo>
                  <a:lnTo>
                    <a:pt x="8550" y="1332"/>
                  </a:lnTo>
                  <a:lnTo>
                    <a:pt x="8544" y="1326"/>
                  </a:lnTo>
                  <a:lnTo>
                    <a:pt x="8538" y="1314"/>
                  </a:lnTo>
                  <a:lnTo>
                    <a:pt x="8562" y="1314"/>
                  </a:lnTo>
                  <a:lnTo>
                    <a:pt x="8562" y="1290"/>
                  </a:lnTo>
                  <a:lnTo>
                    <a:pt x="8574" y="1290"/>
                  </a:lnTo>
                  <a:lnTo>
                    <a:pt x="8586" y="1296"/>
                  </a:lnTo>
                  <a:lnTo>
                    <a:pt x="8616" y="1296"/>
                  </a:lnTo>
                  <a:lnTo>
                    <a:pt x="8628" y="1290"/>
                  </a:lnTo>
                  <a:lnTo>
                    <a:pt x="8634" y="1284"/>
                  </a:lnTo>
                  <a:lnTo>
                    <a:pt x="8640" y="1272"/>
                  </a:lnTo>
                  <a:lnTo>
                    <a:pt x="8652" y="1260"/>
                  </a:lnTo>
                  <a:lnTo>
                    <a:pt x="8658" y="1248"/>
                  </a:lnTo>
                  <a:lnTo>
                    <a:pt x="8664" y="1242"/>
                  </a:lnTo>
                  <a:lnTo>
                    <a:pt x="8670" y="1242"/>
                  </a:lnTo>
                  <a:lnTo>
                    <a:pt x="8652" y="1218"/>
                  </a:lnTo>
                  <a:lnTo>
                    <a:pt x="8682" y="1218"/>
                  </a:lnTo>
                  <a:lnTo>
                    <a:pt x="8688" y="1236"/>
                  </a:lnTo>
                  <a:lnTo>
                    <a:pt x="8748" y="1242"/>
                  </a:lnTo>
                  <a:lnTo>
                    <a:pt x="8760" y="1242"/>
                  </a:lnTo>
                  <a:lnTo>
                    <a:pt x="8772" y="1248"/>
                  </a:lnTo>
                  <a:lnTo>
                    <a:pt x="8808" y="1248"/>
                  </a:lnTo>
                  <a:lnTo>
                    <a:pt x="8808" y="1230"/>
                  </a:lnTo>
                  <a:lnTo>
                    <a:pt x="8802" y="1218"/>
                  </a:lnTo>
                  <a:lnTo>
                    <a:pt x="8766" y="1218"/>
                  </a:lnTo>
                  <a:lnTo>
                    <a:pt x="8760" y="1194"/>
                  </a:lnTo>
                  <a:lnTo>
                    <a:pt x="8754" y="1194"/>
                  </a:lnTo>
                  <a:lnTo>
                    <a:pt x="8748" y="1188"/>
                  </a:lnTo>
                  <a:lnTo>
                    <a:pt x="8736" y="1188"/>
                  </a:lnTo>
                  <a:lnTo>
                    <a:pt x="8712" y="1176"/>
                  </a:lnTo>
                  <a:lnTo>
                    <a:pt x="8700" y="1176"/>
                  </a:lnTo>
                  <a:lnTo>
                    <a:pt x="8688" y="1170"/>
                  </a:lnTo>
                  <a:lnTo>
                    <a:pt x="8658" y="1170"/>
                  </a:lnTo>
                  <a:lnTo>
                    <a:pt x="8664" y="1152"/>
                  </a:lnTo>
                  <a:lnTo>
                    <a:pt x="8592" y="1104"/>
                  </a:lnTo>
                  <a:lnTo>
                    <a:pt x="8574" y="1122"/>
                  </a:lnTo>
                  <a:lnTo>
                    <a:pt x="8568" y="1122"/>
                  </a:lnTo>
                  <a:lnTo>
                    <a:pt x="8562" y="1116"/>
                  </a:lnTo>
                  <a:lnTo>
                    <a:pt x="8550" y="1116"/>
                  </a:lnTo>
                  <a:lnTo>
                    <a:pt x="8538" y="1110"/>
                  </a:lnTo>
                  <a:lnTo>
                    <a:pt x="8532" y="1110"/>
                  </a:lnTo>
                  <a:lnTo>
                    <a:pt x="8520" y="1104"/>
                  </a:lnTo>
                  <a:lnTo>
                    <a:pt x="8508" y="1092"/>
                  </a:lnTo>
                  <a:lnTo>
                    <a:pt x="8502" y="1092"/>
                  </a:lnTo>
                  <a:lnTo>
                    <a:pt x="8466" y="1098"/>
                  </a:lnTo>
                  <a:lnTo>
                    <a:pt x="8442" y="1092"/>
                  </a:lnTo>
                  <a:lnTo>
                    <a:pt x="8430" y="1086"/>
                  </a:lnTo>
                  <a:lnTo>
                    <a:pt x="8412" y="1068"/>
                  </a:lnTo>
                  <a:lnTo>
                    <a:pt x="8406" y="1068"/>
                  </a:lnTo>
                  <a:lnTo>
                    <a:pt x="8412" y="1062"/>
                  </a:lnTo>
                  <a:lnTo>
                    <a:pt x="8436" y="1062"/>
                  </a:lnTo>
                  <a:lnTo>
                    <a:pt x="8460" y="1074"/>
                  </a:lnTo>
                  <a:lnTo>
                    <a:pt x="8478" y="1074"/>
                  </a:lnTo>
                  <a:lnTo>
                    <a:pt x="8496" y="1080"/>
                  </a:lnTo>
                  <a:lnTo>
                    <a:pt x="8514" y="1080"/>
                  </a:lnTo>
                  <a:lnTo>
                    <a:pt x="8526" y="1086"/>
                  </a:lnTo>
                  <a:lnTo>
                    <a:pt x="8544" y="1086"/>
                  </a:lnTo>
                  <a:lnTo>
                    <a:pt x="8550" y="1080"/>
                  </a:lnTo>
                  <a:lnTo>
                    <a:pt x="8562" y="1080"/>
                  </a:lnTo>
                  <a:lnTo>
                    <a:pt x="8580" y="1074"/>
                  </a:lnTo>
                  <a:lnTo>
                    <a:pt x="8604" y="1062"/>
                  </a:lnTo>
                  <a:lnTo>
                    <a:pt x="8616" y="1050"/>
                  </a:lnTo>
                  <a:lnTo>
                    <a:pt x="8604" y="1038"/>
                  </a:lnTo>
                  <a:lnTo>
                    <a:pt x="8592" y="1032"/>
                  </a:lnTo>
                  <a:lnTo>
                    <a:pt x="8586" y="1026"/>
                  </a:lnTo>
                  <a:lnTo>
                    <a:pt x="8574" y="1020"/>
                  </a:lnTo>
                  <a:lnTo>
                    <a:pt x="8568" y="1014"/>
                  </a:lnTo>
                  <a:lnTo>
                    <a:pt x="8562" y="1014"/>
                  </a:lnTo>
                  <a:lnTo>
                    <a:pt x="8556" y="1008"/>
                  </a:lnTo>
                  <a:lnTo>
                    <a:pt x="8520" y="990"/>
                  </a:lnTo>
                  <a:lnTo>
                    <a:pt x="8508" y="978"/>
                  </a:lnTo>
                  <a:lnTo>
                    <a:pt x="8514" y="972"/>
                  </a:lnTo>
                  <a:lnTo>
                    <a:pt x="8538" y="972"/>
                  </a:lnTo>
                  <a:lnTo>
                    <a:pt x="8556" y="978"/>
                  </a:lnTo>
                  <a:lnTo>
                    <a:pt x="8562" y="984"/>
                  </a:lnTo>
                  <a:lnTo>
                    <a:pt x="8574" y="990"/>
                  </a:lnTo>
                  <a:lnTo>
                    <a:pt x="8580" y="990"/>
                  </a:lnTo>
                  <a:lnTo>
                    <a:pt x="8586" y="996"/>
                  </a:lnTo>
                  <a:lnTo>
                    <a:pt x="8610" y="1008"/>
                  </a:lnTo>
                  <a:lnTo>
                    <a:pt x="8628" y="1020"/>
                  </a:lnTo>
                  <a:lnTo>
                    <a:pt x="8652" y="1032"/>
                  </a:lnTo>
                  <a:lnTo>
                    <a:pt x="8664" y="1032"/>
                  </a:lnTo>
                  <a:lnTo>
                    <a:pt x="8676" y="1026"/>
                  </a:lnTo>
                  <a:lnTo>
                    <a:pt x="8682" y="1026"/>
                  </a:lnTo>
                  <a:lnTo>
                    <a:pt x="8688" y="1020"/>
                  </a:lnTo>
                  <a:lnTo>
                    <a:pt x="8730" y="1020"/>
                  </a:lnTo>
                  <a:lnTo>
                    <a:pt x="8754" y="1026"/>
                  </a:lnTo>
                  <a:lnTo>
                    <a:pt x="8808" y="1044"/>
                  </a:lnTo>
                  <a:lnTo>
                    <a:pt x="8850" y="1062"/>
                  </a:lnTo>
                  <a:lnTo>
                    <a:pt x="8880" y="1068"/>
                  </a:lnTo>
                  <a:lnTo>
                    <a:pt x="8886" y="1074"/>
                  </a:lnTo>
                  <a:lnTo>
                    <a:pt x="8898" y="1074"/>
                  </a:lnTo>
                  <a:lnTo>
                    <a:pt x="8934" y="1086"/>
                  </a:lnTo>
                  <a:lnTo>
                    <a:pt x="8946" y="1086"/>
                  </a:lnTo>
                  <a:lnTo>
                    <a:pt x="8952" y="1092"/>
                  </a:lnTo>
                  <a:lnTo>
                    <a:pt x="8958" y="1092"/>
                  </a:lnTo>
                  <a:lnTo>
                    <a:pt x="8970" y="1098"/>
                  </a:lnTo>
                  <a:lnTo>
                    <a:pt x="8976" y="1104"/>
                  </a:lnTo>
                  <a:lnTo>
                    <a:pt x="8988" y="1110"/>
                  </a:lnTo>
                  <a:lnTo>
                    <a:pt x="9000" y="1110"/>
                  </a:lnTo>
                  <a:lnTo>
                    <a:pt x="9018" y="1116"/>
                  </a:lnTo>
                  <a:lnTo>
                    <a:pt x="9024" y="1122"/>
                  </a:lnTo>
                  <a:lnTo>
                    <a:pt x="9042" y="1122"/>
                  </a:lnTo>
                  <a:lnTo>
                    <a:pt x="9042" y="1116"/>
                  </a:lnTo>
                  <a:lnTo>
                    <a:pt x="9036" y="1098"/>
                  </a:lnTo>
                  <a:lnTo>
                    <a:pt x="9012" y="1074"/>
                  </a:lnTo>
                  <a:lnTo>
                    <a:pt x="9006" y="1074"/>
                  </a:lnTo>
                  <a:lnTo>
                    <a:pt x="9024" y="1056"/>
                  </a:lnTo>
                  <a:lnTo>
                    <a:pt x="8976" y="1038"/>
                  </a:lnTo>
                  <a:lnTo>
                    <a:pt x="8988" y="1032"/>
                  </a:lnTo>
                  <a:lnTo>
                    <a:pt x="8940" y="1008"/>
                  </a:lnTo>
                  <a:lnTo>
                    <a:pt x="8994" y="1020"/>
                  </a:lnTo>
                  <a:lnTo>
                    <a:pt x="8988" y="996"/>
                  </a:lnTo>
                  <a:lnTo>
                    <a:pt x="9000" y="996"/>
                  </a:lnTo>
                  <a:lnTo>
                    <a:pt x="9012" y="1002"/>
                  </a:lnTo>
                  <a:lnTo>
                    <a:pt x="9048" y="1002"/>
                  </a:lnTo>
                  <a:lnTo>
                    <a:pt x="9048" y="996"/>
                  </a:lnTo>
                  <a:close/>
                </a:path>
              </a:pathLst>
            </a:cu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2700000" scaled="1"/>
              <a:tileRect/>
            </a:gra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83" name="Romania" descr="© INSCALE GmbH, 05.05.2010&#10;http://www.presentationload.com/"/>
            <p:cNvSpPr>
              <a:spLocks/>
            </p:cNvSpPr>
            <p:nvPr/>
          </p:nvSpPr>
          <p:spPr bwMode="gray">
            <a:xfrm>
              <a:off x="4760917" y="2517775"/>
              <a:ext cx="247651" cy="147639"/>
            </a:xfrm>
            <a:custGeom>
              <a:avLst/>
              <a:gdLst>
                <a:gd name="T0" fmla="*/ 2147483647 w 612"/>
                <a:gd name="T1" fmla="*/ 2147483647 h 366"/>
                <a:gd name="T2" fmla="*/ 2147483647 w 612"/>
                <a:gd name="T3" fmla="*/ 2147483647 h 366"/>
                <a:gd name="T4" fmla="*/ 2147483647 w 612"/>
                <a:gd name="T5" fmla="*/ 2147483647 h 366"/>
                <a:gd name="T6" fmla="*/ 2147483647 w 612"/>
                <a:gd name="T7" fmla="*/ 2147483647 h 366"/>
                <a:gd name="T8" fmla="*/ 2147483647 w 612"/>
                <a:gd name="T9" fmla="*/ 2147483647 h 366"/>
                <a:gd name="T10" fmla="*/ 2147483647 w 612"/>
                <a:gd name="T11" fmla="*/ 2147483647 h 366"/>
                <a:gd name="T12" fmla="*/ 2147483647 w 612"/>
                <a:gd name="T13" fmla="*/ 2147483647 h 366"/>
                <a:gd name="T14" fmla="*/ 2147483647 w 612"/>
                <a:gd name="T15" fmla="*/ 2147483647 h 366"/>
                <a:gd name="T16" fmla="*/ 2147483647 w 612"/>
                <a:gd name="T17" fmla="*/ 2147483647 h 366"/>
                <a:gd name="T18" fmla="*/ 2147483647 w 612"/>
                <a:gd name="T19" fmla="*/ 2147483647 h 366"/>
                <a:gd name="T20" fmla="*/ 2147483647 w 612"/>
                <a:gd name="T21" fmla="*/ 2147483647 h 366"/>
                <a:gd name="T22" fmla="*/ 2147483647 w 612"/>
                <a:gd name="T23" fmla="*/ 2147483647 h 366"/>
                <a:gd name="T24" fmla="*/ 2147483647 w 612"/>
                <a:gd name="T25" fmla="*/ 2147483647 h 366"/>
                <a:gd name="T26" fmla="*/ 2147483647 w 612"/>
                <a:gd name="T27" fmla="*/ 0 h 366"/>
                <a:gd name="T28" fmla="*/ 2147483647 w 612"/>
                <a:gd name="T29" fmla="*/ 2147483647 h 366"/>
                <a:gd name="T30" fmla="*/ 2147483647 w 612"/>
                <a:gd name="T31" fmla="*/ 2147483647 h 366"/>
                <a:gd name="T32" fmla="*/ 2147483647 w 612"/>
                <a:gd name="T33" fmla="*/ 2147483647 h 366"/>
                <a:gd name="T34" fmla="*/ 2147483647 w 612"/>
                <a:gd name="T35" fmla="*/ 2147483647 h 366"/>
                <a:gd name="T36" fmla="*/ 2147483647 w 612"/>
                <a:gd name="T37" fmla="*/ 2147483647 h 366"/>
                <a:gd name="T38" fmla="*/ 2147483647 w 612"/>
                <a:gd name="T39" fmla="*/ 2147483647 h 366"/>
                <a:gd name="T40" fmla="*/ 2147483647 w 612"/>
                <a:gd name="T41" fmla="*/ 2147483647 h 366"/>
                <a:gd name="T42" fmla="*/ 2147483647 w 612"/>
                <a:gd name="T43" fmla="*/ 2147483647 h 366"/>
                <a:gd name="T44" fmla="*/ 2147483647 w 612"/>
                <a:gd name="T45" fmla="*/ 2147483647 h 366"/>
                <a:gd name="T46" fmla="*/ 2147483647 w 612"/>
                <a:gd name="T47" fmla="*/ 2147483647 h 366"/>
                <a:gd name="T48" fmla="*/ 0 w 612"/>
                <a:gd name="T49" fmla="*/ 2147483647 h 366"/>
                <a:gd name="T50" fmla="*/ 2147483647 w 612"/>
                <a:gd name="T51" fmla="*/ 2147483647 h 366"/>
                <a:gd name="T52" fmla="*/ 2147483647 w 612"/>
                <a:gd name="T53" fmla="*/ 2147483647 h 366"/>
                <a:gd name="T54" fmla="*/ 2147483647 w 612"/>
                <a:gd name="T55" fmla="*/ 2147483647 h 366"/>
                <a:gd name="T56" fmla="*/ 2147483647 w 612"/>
                <a:gd name="T57" fmla="*/ 2147483647 h 366"/>
                <a:gd name="T58" fmla="*/ 2147483647 w 612"/>
                <a:gd name="T59" fmla="*/ 2147483647 h 366"/>
                <a:gd name="T60" fmla="*/ 2147483647 w 612"/>
                <a:gd name="T61" fmla="*/ 2147483647 h 366"/>
                <a:gd name="T62" fmla="*/ 2147483647 w 612"/>
                <a:gd name="T63" fmla="*/ 2147483647 h 366"/>
                <a:gd name="T64" fmla="*/ 2147483647 w 612"/>
                <a:gd name="T65" fmla="*/ 2147483647 h 366"/>
                <a:gd name="T66" fmla="*/ 2147483647 w 612"/>
                <a:gd name="T67" fmla="*/ 2147483647 h 366"/>
                <a:gd name="T68" fmla="*/ 2147483647 w 612"/>
                <a:gd name="T69" fmla="*/ 2147483647 h 366"/>
                <a:gd name="T70" fmla="*/ 2147483647 w 612"/>
                <a:gd name="T71" fmla="*/ 2147483647 h 366"/>
                <a:gd name="T72" fmla="*/ 2147483647 w 612"/>
                <a:gd name="T73" fmla="*/ 2147483647 h 366"/>
                <a:gd name="T74" fmla="*/ 2147483647 w 612"/>
                <a:gd name="T75" fmla="*/ 2147483647 h 366"/>
                <a:gd name="T76" fmla="*/ 2147483647 w 612"/>
                <a:gd name="T77" fmla="*/ 2147483647 h 366"/>
                <a:gd name="T78" fmla="*/ 2147483647 w 612"/>
                <a:gd name="T79" fmla="*/ 2147483647 h 366"/>
                <a:gd name="T80" fmla="*/ 2147483647 w 612"/>
                <a:gd name="T81" fmla="*/ 2147483647 h 366"/>
                <a:gd name="T82" fmla="*/ 2147483647 w 612"/>
                <a:gd name="T83" fmla="*/ 2147483647 h 366"/>
                <a:gd name="T84" fmla="*/ 2147483647 w 612"/>
                <a:gd name="T85" fmla="*/ 2147483647 h 36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12"/>
                <a:gd name="T130" fmla="*/ 0 h 366"/>
                <a:gd name="T131" fmla="*/ 612 w 612"/>
                <a:gd name="T132" fmla="*/ 366 h 36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12" h="366">
                  <a:moveTo>
                    <a:pt x="516" y="354"/>
                  </a:moveTo>
                  <a:lnTo>
                    <a:pt x="522" y="360"/>
                  </a:lnTo>
                  <a:lnTo>
                    <a:pt x="540" y="360"/>
                  </a:lnTo>
                  <a:lnTo>
                    <a:pt x="540" y="318"/>
                  </a:lnTo>
                  <a:lnTo>
                    <a:pt x="546" y="312"/>
                  </a:lnTo>
                  <a:lnTo>
                    <a:pt x="558" y="294"/>
                  </a:lnTo>
                  <a:lnTo>
                    <a:pt x="564" y="282"/>
                  </a:lnTo>
                  <a:lnTo>
                    <a:pt x="570" y="276"/>
                  </a:lnTo>
                  <a:lnTo>
                    <a:pt x="606" y="276"/>
                  </a:lnTo>
                  <a:lnTo>
                    <a:pt x="612" y="270"/>
                  </a:lnTo>
                  <a:lnTo>
                    <a:pt x="612" y="258"/>
                  </a:lnTo>
                  <a:lnTo>
                    <a:pt x="600" y="222"/>
                  </a:lnTo>
                  <a:lnTo>
                    <a:pt x="600" y="216"/>
                  </a:lnTo>
                  <a:lnTo>
                    <a:pt x="594" y="216"/>
                  </a:lnTo>
                  <a:lnTo>
                    <a:pt x="588" y="222"/>
                  </a:lnTo>
                  <a:lnTo>
                    <a:pt x="570" y="222"/>
                  </a:lnTo>
                  <a:lnTo>
                    <a:pt x="564" y="228"/>
                  </a:lnTo>
                  <a:lnTo>
                    <a:pt x="558" y="228"/>
                  </a:lnTo>
                  <a:lnTo>
                    <a:pt x="552" y="234"/>
                  </a:lnTo>
                  <a:lnTo>
                    <a:pt x="522" y="234"/>
                  </a:lnTo>
                  <a:lnTo>
                    <a:pt x="510" y="222"/>
                  </a:lnTo>
                  <a:lnTo>
                    <a:pt x="510" y="198"/>
                  </a:lnTo>
                  <a:lnTo>
                    <a:pt x="504" y="192"/>
                  </a:lnTo>
                  <a:lnTo>
                    <a:pt x="498" y="180"/>
                  </a:lnTo>
                  <a:lnTo>
                    <a:pt x="498" y="168"/>
                  </a:lnTo>
                  <a:lnTo>
                    <a:pt x="504" y="162"/>
                  </a:lnTo>
                  <a:lnTo>
                    <a:pt x="504" y="150"/>
                  </a:lnTo>
                  <a:lnTo>
                    <a:pt x="510" y="144"/>
                  </a:lnTo>
                  <a:lnTo>
                    <a:pt x="504" y="144"/>
                  </a:lnTo>
                  <a:lnTo>
                    <a:pt x="504" y="102"/>
                  </a:lnTo>
                  <a:lnTo>
                    <a:pt x="498" y="96"/>
                  </a:lnTo>
                  <a:lnTo>
                    <a:pt x="480" y="96"/>
                  </a:lnTo>
                  <a:lnTo>
                    <a:pt x="474" y="78"/>
                  </a:lnTo>
                  <a:lnTo>
                    <a:pt x="462" y="78"/>
                  </a:lnTo>
                  <a:lnTo>
                    <a:pt x="456" y="54"/>
                  </a:lnTo>
                  <a:lnTo>
                    <a:pt x="432" y="42"/>
                  </a:lnTo>
                  <a:lnTo>
                    <a:pt x="432" y="30"/>
                  </a:lnTo>
                  <a:lnTo>
                    <a:pt x="426" y="24"/>
                  </a:lnTo>
                  <a:lnTo>
                    <a:pt x="420" y="12"/>
                  </a:lnTo>
                  <a:lnTo>
                    <a:pt x="414" y="6"/>
                  </a:lnTo>
                  <a:lnTo>
                    <a:pt x="396" y="0"/>
                  </a:lnTo>
                  <a:lnTo>
                    <a:pt x="384" y="0"/>
                  </a:lnTo>
                  <a:lnTo>
                    <a:pt x="378" y="6"/>
                  </a:lnTo>
                  <a:lnTo>
                    <a:pt x="378" y="12"/>
                  </a:lnTo>
                  <a:lnTo>
                    <a:pt x="366" y="24"/>
                  </a:lnTo>
                  <a:lnTo>
                    <a:pt x="348" y="24"/>
                  </a:lnTo>
                  <a:lnTo>
                    <a:pt x="342" y="18"/>
                  </a:lnTo>
                  <a:lnTo>
                    <a:pt x="336" y="30"/>
                  </a:lnTo>
                  <a:lnTo>
                    <a:pt x="312" y="24"/>
                  </a:lnTo>
                  <a:lnTo>
                    <a:pt x="312" y="30"/>
                  </a:lnTo>
                  <a:lnTo>
                    <a:pt x="300" y="42"/>
                  </a:lnTo>
                  <a:lnTo>
                    <a:pt x="288" y="42"/>
                  </a:lnTo>
                  <a:lnTo>
                    <a:pt x="264" y="18"/>
                  </a:lnTo>
                  <a:lnTo>
                    <a:pt x="258" y="18"/>
                  </a:lnTo>
                  <a:lnTo>
                    <a:pt x="246" y="24"/>
                  </a:lnTo>
                  <a:lnTo>
                    <a:pt x="240" y="24"/>
                  </a:lnTo>
                  <a:lnTo>
                    <a:pt x="228" y="30"/>
                  </a:lnTo>
                  <a:lnTo>
                    <a:pt x="222" y="24"/>
                  </a:lnTo>
                  <a:lnTo>
                    <a:pt x="198" y="24"/>
                  </a:lnTo>
                  <a:lnTo>
                    <a:pt x="192" y="18"/>
                  </a:lnTo>
                  <a:lnTo>
                    <a:pt x="168" y="18"/>
                  </a:lnTo>
                  <a:lnTo>
                    <a:pt x="150" y="36"/>
                  </a:lnTo>
                  <a:lnTo>
                    <a:pt x="120" y="36"/>
                  </a:lnTo>
                  <a:lnTo>
                    <a:pt x="108" y="48"/>
                  </a:lnTo>
                  <a:lnTo>
                    <a:pt x="108" y="90"/>
                  </a:lnTo>
                  <a:lnTo>
                    <a:pt x="90" y="108"/>
                  </a:lnTo>
                  <a:lnTo>
                    <a:pt x="78" y="114"/>
                  </a:lnTo>
                  <a:lnTo>
                    <a:pt x="72" y="120"/>
                  </a:lnTo>
                  <a:lnTo>
                    <a:pt x="72" y="138"/>
                  </a:lnTo>
                  <a:lnTo>
                    <a:pt x="66" y="144"/>
                  </a:lnTo>
                  <a:lnTo>
                    <a:pt x="54" y="150"/>
                  </a:lnTo>
                  <a:lnTo>
                    <a:pt x="48" y="156"/>
                  </a:lnTo>
                  <a:lnTo>
                    <a:pt x="30" y="150"/>
                  </a:lnTo>
                  <a:lnTo>
                    <a:pt x="30" y="168"/>
                  </a:lnTo>
                  <a:lnTo>
                    <a:pt x="0" y="174"/>
                  </a:lnTo>
                  <a:lnTo>
                    <a:pt x="6" y="174"/>
                  </a:lnTo>
                  <a:lnTo>
                    <a:pt x="30" y="192"/>
                  </a:lnTo>
                  <a:lnTo>
                    <a:pt x="36" y="192"/>
                  </a:lnTo>
                  <a:lnTo>
                    <a:pt x="48" y="228"/>
                  </a:lnTo>
                  <a:lnTo>
                    <a:pt x="54" y="234"/>
                  </a:lnTo>
                  <a:lnTo>
                    <a:pt x="60" y="234"/>
                  </a:lnTo>
                  <a:lnTo>
                    <a:pt x="66" y="228"/>
                  </a:lnTo>
                  <a:lnTo>
                    <a:pt x="72" y="228"/>
                  </a:lnTo>
                  <a:lnTo>
                    <a:pt x="84" y="234"/>
                  </a:lnTo>
                  <a:lnTo>
                    <a:pt x="84" y="252"/>
                  </a:lnTo>
                  <a:lnTo>
                    <a:pt x="78" y="258"/>
                  </a:lnTo>
                  <a:lnTo>
                    <a:pt x="90" y="276"/>
                  </a:lnTo>
                  <a:lnTo>
                    <a:pt x="114" y="282"/>
                  </a:lnTo>
                  <a:lnTo>
                    <a:pt x="120" y="288"/>
                  </a:lnTo>
                  <a:lnTo>
                    <a:pt x="144" y="282"/>
                  </a:lnTo>
                  <a:lnTo>
                    <a:pt x="168" y="288"/>
                  </a:lnTo>
                  <a:lnTo>
                    <a:pt x="162" y="294"/>
                  </a:lnTo>
                  <a:lnTo>
                    <a:pt x="156" y="306"/>
                  </a:lnTo>
                  <a:lnTo>
                    <a:pt x="162" y="312"/>
                  </a:lnTo>
                  <a:lnTo>
                    <a:pt x="162" y="324"/>
                  </a:lnTo>
                  <a:lnTo>
                    <a:pt x="186" y="324"/>
                  </a:lnTo>
                  <a:lnTo>
                    <a:pt x="192" y="330"/>
                  </a:lnTo>
                  <a:lnTo>
                    <a:pt x="186" y="336"/>
                  </a:lnTo>
                  <a:lnTo>
                    <a:pt x="186" y="342"/>
                  </a:lnTo>
                  <a:lnTo>
                    <a:pt x="180" y="348"/>
                  </a:lnTo>
                  <a:lnTo>
                    <a:pt x="186" y="354"/>
                  </a:lnTo>
                  <a:lnTo>
                    <a:pt x="204" y="354"/>
                  </a:lnTo>
                  <a:lnTo>
                    <a:pt x="216" y="342"/>
                  </a:lnTo>
                  <a:lnTo>
                    <a:pt x="240" y="354"/>
                  </a:lnTo>
                  <a:lnTo>
                    <a:pt x="252" y="354"/>
                  </a:lnTo>
                  <a:lnTo>
                    <a:pt x="258" y="360"/>
                  </a:lnTo>
                  <a:lnTo>
                    <a:pt x="282" y="360"/>
                  </a:lnTo>
                  <a:lnTo>
                    <a:pt x="288" y="354"/>
                  </a:lnTo>
                  <a:lnTo>
                    <a:pt x="288" y="348"/>
                  </a:lnTo>
                  <a:lnTo>
                    <a:pt x="306" y="354"/>
                  </a:lnTo>
                  <a:lnTo>
                    <a:pt x="330" y="354"/>
                  </a:lnTo>
                  <a:lnTo>
                    <a:pt x="336" y="360"/>
                  </a:lnTo>
                  <a:lnTo>
                    <a:pt x="348" y="366"/>
                  </a:lnTo>
                  <a:lnTo>
                    <a:pt x="366" y="366"/>
                  </a:lnTo>
                  <a:lnTo>
                    <a:pt x="372" y="360"/>
                  </a:lnTo>
                  <a:lnTo>
                    <a:pt x="372" y="348"/>
                  </a:lnTo>
                  <a:lnTo>
                    <a:pt x="378" y="342"/>
                  </a:lnTo>
                  <a:lnTo>
                    <a:pt x="384" y="342"/>
                  </a:lnTo>
                  <a:lnTo>
                    <a:pt x="396" y="336"/>
                  </a:lnTo>
                  <a:lnTo>
                    <a:pt x="402" y="336"/>
                  </a:lnTo>
                  <a:lnTo>
                    <a:pt x="402" y="330"/>
                  </a:lnTo>
                  <a:lnTo>
                    <a:pt x="432" y="336"/>
                  </a:lnTo>
                  <a:lnTo>
                    <a:pt x="432" y="324"/>
                  </a:lnTo>
                  <a:lnTo>
                    <a:pt x="438" y="324"/>
                  </a:lnTo>
                  <a:lnTo>
                    <a:pt x="450" y="330"/>
                  </a:lnTo>
                  <a:lnTo>
                    <a:pt x="462" y="330"/>
                  </a:lnTo>
                  <a:lnTo>
                    <a:pt x="474" y="336"/>
                  </a:lnTo>
                  <a:lnTo>
                    <a:pt x="498" y="336"/>
                  </a:lnTo>
                  <a:lnTo>
                    <a:pt x="516" y="354"/>
                  </a:lnTo>
                  <a:close/>
                </a:path>
              </a:pathLst>
            </a:custGeom>
            <a:solidFill>
              <a:srgbClr val="00508C"/>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84" name="Qatar" descr="© INSCALE GmbH, 05.05.2010&#10;http://www.presentationload.com/"/>
            <p:cNvSpPr>
              <a:spLocks/>
            </p:cNvSpPr>
            <p:nvPr/>
          </p:nvSpPr>
          <p:spPr bwMode="gray">
            <a:xfrm>
              <a:off x="5641980" y="3227388"/>
              <a:ext cx="26987" cy="57150"/>
            </a:xfrm>
            <a:custGeom>
              <a:avLst/>
              <a:gdLst>
                <a:gd name="T0" fmla="*/ 2147483647 w 66"/>
                <a:gd name="T1" fmla="*/ 2147483647 h 144"/>
                <a:gd name="T2" fmla="*/ 2147483647 w 66"/>
                <a:gd name="T3" fmla="*/ 2147483647 h 144"/>
                <a:gd name="T4" fmla="*/ 2147483647 w 66"/>
                <a:gd name="T5" fmla="*/ 2147483647 h 144"/>
                <a:gd name="T6" fmla="*/ 2147483647 w 66"/>
                <a:gd name="T7" fmla="*/ 2147483647 h 144"/>
                <a:gd name="T8" fmla="*/ 2147483647 w 66"/>
                <a:gd name="T9" fmla="*/ 2147483647 h 144"/>
                <a:gd name="T10" fmla="*/ 2147483647 w 66"/>
                <a:gd name="T11" fmla="*/ 2147483647 h 144"/>
                <a:gd name="T12" fmla="*/ 2147483647 w 66"/>
                <a:gd name="T13" fmla="*/ 2147483647 h 144"/>
                <a:gd name="T14" fmla="*/ 2147483647 w 66"/>
                <a:gd name="T15" fmla="*/ 2147483647 h 144"/>
                <a:gd name="T16" fmla="*/ 2147483647 w 66"/>
                <a:gd name="T17" fmla="*/ 2147483647 h 144"/>
                <a:gd name="T18" fmla="*/ 2147483647 w 66"/>
                <a:gd name="T19" fmla="*/ 0 h 144"/>
                <a:gd name="T20" fmla="*/ 2147483647 w 66"/>
                <a:gd name="T21" fmla="*/ 0 h 144"/>
                <a:gd name="T22" fmla="*/ 2147483647 w 66"/>
                <a:gd name="T23" fmla="*/ 2147483647 h 144"/>
                <a:gd name="T24" fmla="*/ 2147483647 w 66"/>
                <a:gd name="T25" fmla="*/ 2147483647 h 144"/>
                <a:gd name="T26" fmla="*/ 2147483647 w 66"/>
                <a:gd name="T27" fmla="*/ 2147483647 h 144"/>
                <a:gd name="T28" fmla="*/ 2147483647 w 66"/>
                <a:gd name="T29" fmla="*/ 2147483647 h 144"/>
                <a:gd name="T30" fmla="*/ 0 w 66"/>
                <a:gd name="T31" fmla="*/ 2147483647 h 144"/>
                <a:gd name="T32" fmla="*/ 2147483647 w 66"/>
                <a:gd name="T33" fmla="*/ 2147483647 h 144"/>
                <a:gd name="T34" fmla="*/ 2147483647 w 66"/>
                <a:gd name="T35" fmla="*/ 2147483647 h 1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6"/>
                <a:gd name="T55" fmla="*/ 0 h 144"/>
                <a:gd name="T56" fmla="*/ 66 w 66"/>
                <a:gd name="T57" fmla="*/ 144 h 14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6" h="144">
                  <a:moveTo>
                    <a:pt x="24" y="132"/>
                  </a:moveTo>
                  <a:lnTo>
                    <a:pt x="36" y="144"/>
                  </a:lnTo>
                  <a:lnTo>
                    <a:pt x="48" y="132"/>
                  </a:lnTo>
                  <a:lnTo>
                    <a:pt x="54" y="114"/>
                  </a:lnTo>
                  <a:lnTo>
                    <a:pt x="60" y="102"/>
                  </a:lnTo>
                  <a:lnTo>
                    <a:pt x="66" y="84"/>
                  </a:lnTo>
                  <a:lnTo>
                    <a:pt x="66" y="30"/>
                  </a:lnTo>
                  <a:lnTo>
                    <a:pt x="54" y="18"/>
                  </a:lnTo>
                  <a:lnTo>
                    <a:pt x="48" y="6"/>
                  </a:lnTo>
                  <a:lnTo>
                    <a:pt x="36" y="0"/>
                  </a:lnTo>
                  <a:lnTo>
                    <a:pt x="30" y="0"/>
                  </a:lnTo>
                  <a:lnTo>
                    <a:pt x="24" y="6"/>
                  </a:lnTo>
                  <a:lnTo>
                    <a:pt x="18" y="18"/>
                  </a:lnTo>
                  <a:lnTo>
                    <a:pt x="12" y="36"/>
                  </a:lnTo>
                  <a:lnTo>
                    <a:pt x="12" y="108"/>
                  </a:lnTo>
                  <a:lnTo>
                    <a:pt x="0" y="120"/>
                  </a:lnTo>
                  <a:lnTo>
                    <a:pt x="6" y="132"/>
                  </a:lnTo>
                  <a:lnTo>
                    <a:pt x="24" y="132"/>
                  </a:lnTo>
                  <a:close/>
                </a:path>
              </a:pathLst>
            </a:custGeom>
            <a:solidFill>
              <a:srgbClr val="FFC000"/>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85" name="Puerto Rico" descr="© INSCALE GmbH, 05.05.2010&#10;http://www.presentationload.com/"/>
            <p:cNvSpPr>
              <a:spLocks/>
            </p:cNvSpPr>
            <p:nvPr/>
          </p:nvSpPr>
          <p:spPr bwMode="gray">
            <a:xfrm>
              <a:off x="2322514" y="3481387"/>
              <a:ext cx="55562" cy="23813"/>
            </a:xfrm>
            <a:custGeom>
              <a:avLst/>
              <a:gdLst>
                <a:gd name="T0" fmla="*/ 2147483647 w 138"/>
                <a:gd name="T1" fmla="*/ 2147483647 h 60"/>
                <a:gd name="T2" fmla="*/ 2147483647 w 138"/>
                <a:gd name="T3" fmla="*/ 2147483647 h 60"/>
                <a:gd name="T4" fmla="*/ 2147483647 w 138"/>
                <a:gd name="T5" fmla="*/ 0 h 60"/>
                <a:gd name="T6" fmla="*/ 2147483647 w 138"/>
                <a:gd name="T7" fmla="*/ 0 h 60"/>
                <a:gd name="T8" fmla="*/ 2147483647 w 138"/>
                <a:gd name="T9" fmla="*/ 2147483647 h 60"/>
                <a:gd name="T10" fmla="*/ 0 w 138"/>
                <a:gd name="T11" fmla="*/ 2147483647 h 60"/>
                <a:gd name="T12" fmla="*/ 0 w 138"/>
                <a:gd name="T13" fmla="*/ 2147483647 h 60"/>
                <a:gd name="T14" fmla="*/ 2147483647 w 138"/>
                <a:gd name="T15" fmla="*/ 2147483647 h 60"/>
                <a:gd name="T16" fmla="*/ 2147483647 w 138"/>
                <a:gd name="T17" fmla="*/ 2147483647 h 60"/>
                <a:gd name="T18" fmla="*/ 2147483647 w 138"/>
                <a:gd name="T19" fmla="*/ 2147483647 h 60"/>
                <a:gd name="T20" fmla="*/ 2147483647 w 138"/>
                <a:gd name="T21" fmla="*/ 2147483647 h 60"/>
                <a:gd name="T22" fmla="*/ 2147483647 w 138"/>
                <a:gd name="T23" fmla="*/ 2147483647 h 60"/>
                <a:gd name="T24" fmla="*/ 2147483647 w 138"/>
                <a:gd name="T25" fmla="*/ 2147483647 h 60"/>
                <a:gd name="T26" fmla="*/ 2147483647 w 138"/>
                <a:gd name="T27" fmla="*/ 2147483647 h 60"/>
                <a:gd name="T28" fmla="*/ 2147483647 w 138"/>
                <a:gd name="T29" fmla="*/ 2147483647 h 60"/>
                <a:gd name="T30" fmla="*/ 2147483647 w 138"/>
                <a:gd name="T31" fmla="*/ 2147483647 h 60"/>
                <a:gd name="T32" fmla="*/ 2147483647 w 138"/>
                <a:gd name="T33" fmla="*/ 2147483647 h 60"/>
                <a:gd name="T34" fmla="*/ 2147483647 w 138"/>
                <a:gd name="T35" fmla="*/ 2147483647 h 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8"/>
                <a:gd name="T55" fmla="*/ 0 h 60"/>
                <a:gd name="T56" fmla="*/ 138 w 138"/>
                <a:gd name="T57" fmla="*/ 60 h 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8" h="60">
                  <a:moveTo>
                    <a:pt x="84" y="12"/>
                  </a:moveTo>
                  <a:lnTo>
                    <a:pt x="72" y="12"/>
                  </a:lnTo>
                  <a:lnTo>
                    <a:pt x="36" y="0"/>
                  </a:lnTo>
                  <a:lnTo>
                    <a:pt x="12" y="0"/>
                  </a:lnTo>
                  <a:lnTo>
                    <a:pt x="6" y="12"/>
                  </a:lnTo>
                  <a:lnTo>
                    <a:pt x="0" y="18"/>
                  </a:lnTo>
                  <a:lnTo>
                    <a:pt x="0" y="48"/>
                  </a:lnTo>
                  <a:lnTo>
                    <a:pt x="36" y="60"/>
                  </a:lnTo>
                  <a:lnTo>
                    <a:pt x="48" y="48"/>
                  </a:lnTo>
                  <a:lnTo>
                    <a:pt x="102" y="48"/>
                  </a:lnTo>
                  <a:lnTo>
                    <a:pt x="120" y="36"/>
                  </a:lnTo>
                  <a:lnTo>
                    <a:pt x="132" y="30"/>
                  </a:lnTo>
                  <a:lnTo>
                    <a:pt x="138" y="18"/>
                  </a:lnTo>
                  <a:lnTo>
                    <a:pt x="138" y="12"/>
                  </a:lnTo>
                  <a:lnTo>
                    <a:pt x="132" y="6"/>
                  </a:lnTo>
                  <a:lnTo>
                    <a:pt x="114" y="6"/>
                  </a:lnTo>
                  <a:lnTo>
                    <a:pt x="102" y="12"/>
                  </a:lnTo>
                  <a:lnTo>
                    <a:pt x="84" y="12"/>
                  </a:lnTo>
                  <a:close/>
                </a:path>
              </a:pathLst>
            </a:custGeom>
            <a:solidFill>
              <a:srgbClr val="658B26"/>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86" name="Portugal" descr="© INSCALE GmbH, 05.05.2010&#10;http://www.presentationload.com/"/>
            <p:cNvSpPr>
              <a:spLocks/>
            </p:cNvSpPr>
            <p:nvPr/>
          </p:nvSpPr>
          <p:spPr bwMode="gray">
            <a:xfrm>
              <a:off x="3983041" y="2714625"/>
              <a:ext cx="92074" cy="165100"/>
            </a:xfrm>
            <a:custGeom>
              <a:avLst/>
              <a:gdLst>
                <a:gd name="T0" fmla="*/ 2147483647 w 228"/>
                <a:gd name="T1" fmla="*/ 2147483647 h 414"/>
                <a:gd name="T2" fmla="*/ 2147483647 w 228"/>
                <a:gd name="T3" fmla="*/ 2147483647 h 414"/>
                <a:gd name="T4" fmla="*/ 2147483647 w 228"/>
                <a:gd name="T5" fmla="*/ 2147483647 h 414"/>
                <a:gd name="T6" fmla="*/ 2147483647 w 228"/>
                <a:gd name="T7" fmla="*/ 2147483647 h 414"/>
                <a:gd name="T8" fmla="*/ 2147483647 w 228"/>
                <a:gd name="T9" fmla="*/ 2147483647 h 414"/>
                <a:gd name="T10" fmla="*/ 2147483647 w 228"/>
                <a:gd name="T11" fmla="*/ 2147483647 h 414"/>
                <a:gd name="T12" fmla="*/ 2147483647 w 228"/>
                <a:gd name="T13" fmla="*/ 0 h 414"/>
                <a:gd name="T14" fmla="*/ 2147483647 w 228"/>
                <a:gd name="T15" fmla="*/ 2147483647 h 414"/>
                <a:gd name="T16" fmla="*/ 2147483647 w 228"/>
                <a:gd name="T17" fmla="*/ 2147483647 h 414"/>
                <a:gd name="T18" fmla="*/ 2147483647 w 228"/>
                <a:gd name="T19" fmla="*/ 2147483647 h 414"/>
                <a:gd name="T20" fmla="*/ 2147483647 w 228"/>
                <a:gd name="T21" fmla="*/ 2147483647 h 414"/>
                <a:gd name="T22" fmla="*/ 2147483647 w 228"/>
                <a:gd name="T23" fmla="*/ 2147483647 h 414"/>
                <a:gd name="T24" fmla="*/ 2147483647 w 228"/>
                <a:gd name="T25" fmla="*/ 2147483647 h 414"/>
                <a:gd name="T26" fmla="*/ 0 w 228"/>
                <a:gd name="T27" fmla="*/ 2147483647 h 414"/>
                <a:gd name="T28" fmla="*/ 2147483647 w 228"/>
                <a:gd name="T29" fmla="*/ 2147483647 h 414"/>
                <a:gd name="T30" fmla="*/ 2147483647 w 228"/>
                <a:gd name="T31" fmla="*/ 2147483647 h 414"/>
                <a:gd name="T32" fmla="*/ 2147483647 w 228"/>
                <a:gd name="T33" fmla="*/ 2147483647 h 414"/>
                <a:gd name="T34" fmla="*/ 2147483647 w 228"/>
                <a:gd name="T35" fmla="*/ 2147483647 h 414"/>
                <a:gd name="T36" fmla="*/ 2147483647 w 228"/>
                <a:gd name="T37" fmla="*/ 2147483647 h 414"/>
                <a:gd name="T38" fmla="*/ 2147483647 w 228"/>
                <a:gd name="T39" fmla="*/ 2147483647 h 414"/>
                <a:gd name="T40" fmla="*/ 2147483647 w 228"/>
                <a:gd name="T41" fmla="*/ 2147483647 h 414"/>
                <a:gd name="T42" fmla="*/ 2147483647 w 228"/>
                <a:gd name="T43" fmla="*/ 2147483647 h 414"/>
                <a:gd name="T44" fmla="*/ 2147483647 w 228"/>
                <a:gd name="T45" fmla="*/ 2147483647 h 414"/>
                <a:gd name="T46" fmla="*/ 2147483647 w 228"/>
                <a:gd name="T47" fmla="*/ 2147483647 h 414"/>
                <a:gd name="T48" fmla="*/ 2147483647 w 228"/>
                <a:gd name="T49" fmla="*/ 2147483647 h 414"/>
                <a:gd name="T50" fmla="*/ 2147483647 w 228"/>
                <a:gd name="T51" fmla="*/ 2147483647 h 414"/>
                <a:gd name="T52" fmla="*/ 2147483647 w 228"/>
                <a:gd name="T53" fmla="*/ 2147483647 h 414"/>
                <a:gd name="T54" fmla="*/ 2147483647 w 228"/>
                <a:gd name="T55" fmla="*/ 2147483647 h 414"/>
                <a:gd name="T56" fmla="*/ 2147483647 w 228"/>
                <a:gd name="T57" fmla="*/ 2147483647 h 414"/>
                <a:gd name="T58" fmla="*/ 2147483647 w 228"/>
                <a:gd name="T59" fmla="*/ 2147483647 h 414"/>
                <a:gd name="T60" fmla="*/ 2147483647 w 228"/>
                <a:gd name="T61" fmla="*/ 2147483647 h 414"/>
                <a:gd name="T62" fmla="*/ 2147483647 w 228"/>
                <a:gd name="T63" fmla="*/ 2147483647 h 414"/>
                <a:gd name="T64" fmla="*/ 2147483647 w 228"/>
                <a:gd name="T65" fmla="*/ 2147483647 h 414"/>
                <a:gd name="T66" fmla="*/ 2147483647 w 228"/>
                <a:gd name="T67" fmla="*/ 2147483647 h 414"/>
                <a:gd name="T68" fmla="*/ 2147483647 w 228"/>
                <a:gd name="T69" fmla="*/ 2147483647 h 414"/>
                <a:gd name="T70" fmla="*/ 2147483647 w 228"/>
                <a:gd name="T71" fmla="*/ 2147483647 h 414"/>
                <a:gd name="T72" fmla="*/ 2147483647 w 228"/>
                <a:gd name="T73" fmla="*/ 2147483647 h 414"/>
                <a:gd name="T74" fmla="*/ 2147483647 w 228"/>
                <a:gd name="T75" fmla="*/ 2147483647 h 414"/>
                <a:gd name="T76" fmla="*/ 2147483647 w 228"/>
                <a:gd name="T77" fmla="*/ 2147483647 h 414"/>
                <a:gd name="T78" fmla="*/ 2147483647 w 228"/>
                <a:gd name="T79" fmla="*/ 2147483647 h 414"/>
                <a:gd name="T80" fmla="*/ 2147483647 w 228"/>
                <a:gd name="T81" fmla="*/ 2147483647 h 414"/>
                <a:gd name="T82" fmla="*/ 2147483647 w 228"/>
                <a:gd name="T83" fmla="*/ 2147483647 h 41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28"/>
                <a:gd name="T127" fmla="*/ 0 h 414"/>
                <a:gd name="T128" fmla="*/ 228 w 228"/>
                <a:gd name="T129" fmla="*/ 414 h 41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28" h="414">
                  <a:moveTo>
                    <a:pt x="210" y="30"/>
                  </a:moveTo>
                  <a:lnTo>
                    <a:pt x="210" y="12"/>
                  </a:lnTo>
                  <a:lnTo>
                    <a:pt x="156" y="12"/>
                  </a:lnTo>
                  <a:lnTo>
                    <a:pt x="156" y="18"/>
                  </a:lnTo>
                  <a:lnTo>
                    <a:pt x="150" y="24"/>
                  </a:lnTo>
                  <a:lnTo>
                    <a:pt x="138" y="24"/>
                  </a:lnTo>
                  <a:lnTo>
                    <a:pt x="132" y="18"/>
                  </a:lnTo>
                  <a:lnTo>
                    <a:pt x="114" y="18"/>
                  </a:lnTo>
                  <a:lnTo>
                    <a:pt x="108" y="24"/>
                  </a:lnTo>
                  <a:lnTo>
                    <a:pt x="96" y="24"/>
                  </a:lnTo>
                  <a:lnTo>
                    <a:pt x="96" y="18"/>
                  </a:lnTo>
                  <a:lnTo>
                    <a:pt x="102" y="18"/>
                  </a:lnTo>
                  <a:lnTo>
                    <a:pt x="114" y="6"/>
                  </a:lnTo>
                  <a:lnTo>
                    <a:pt x="114" y="0"/>
                  </a:lnTo>
                  <a:lnTo>
                    <a:pt x="90" y="0"/>
                  </a:lnTo>
                  <a:lnTo>
                    <a:pt x="66" y="12"/>
                  </a:lnTo>
                  <a:lnTo>
                    <a:pt x="60" y="18"/>
                  </a:lnTo>
                  <a:lnTo>
                    <a:pt x="60" y="36"/>
                  </a:lnTo>
                  <a:lnTo>
                    <a:pt x="66" y="60"/>
                  </a:lnTo>
                  <a:lnTo>
                    <a:pt x="66" y="78"/>
                  </a:lnTo>
                  <a:lnTo>
                    <a:pt x="60" y="108"/>
                  </a:lnTo>
                  <a:lnTo>
                    <a:pt x="48" y="138"/>
                  </a:lnTo>
                  <a:lnTo>
                    <a:pt x="30" y="174"/>
                  </a:lnTo>
                  <a:lnTo>
                    <a:pt x="12" y="222"/>
                  </a:lnTo>
                  <a:lnTo>
                    <a:pt x="6" y="234"/>
                  </a:lnTo>
                  <a:lnTo>
                    <a:pt x="6" y="240"/>
                  </a:lnTo>
                  <a:lnTo>
                    <a:pt x="0" y="252"/>
                  </a:lnTo>
                  <a:lnTo>
                    <a:pt x="0" y="264"/>
                  </a:lnTo>
                  <a:lnTo>
                    <a:pt x="18" y="282"/>
                  </a:lnTo>
                  <a:lnTo>
                    <a:pt x="30" y="288"/>
                  </a:lnTo>
                  <a:lnTo>
                    <a:pt x="42" y="342"/>
                  </a:lnTo>
                  <a:lnTo>
                    <a:pt x="42" y="348"/>
                  </a:lnTo>
                  <a:lnTo>
                    <a:pt x="36" y="354"/>
                  </a:lnTo>
                  <a:lnTo>
                    <a:pt x="36" y="366"/>
                  </a:lnTo>
                  <a:lnTo>
                    <a:pt x="30" y="384"/>
                  </a:lnTo>
                  <a:lnTo>
                    <a:pt x="24" y="396"/>
                  </a:lnTo>
                  <a:lnTo>
                    <a:pt x="24" y="408"/>
                  </a:lnTo>
                  <a:lnTo>
                    <a:pt x="48" y="408"/>
                  </a:lnTo>
                  <a:lnTo>
                    <a:pt x="60" y="402"/>
                  </a:lnTo>
                  <a:lnTo>
                    <a:pt x="72" y="402"/>
                  </a:lnTo>
                  <a:lnTo>
                    <a:pt x="84" y="414"/>
                  </a:lnTo>
                  <a:lnTo>
                    <a:pt x="96" y="414"/>
                  </a:lnTo>
                  <a:lnTo>
                    <a:pt x="108" y="408"/>
                  </a:lnTo>
                  <a:lnTo>
                    <a:pt x="114" y="402"/>
                  </a:lnTo>
                  <a:lnTo>
                    <a:pt x="120" y="402"/>
                  </a:lnTo>
                  <a:lnTo>
                    <a:pt x="126" y="396"/>
                  </a:lnTo>
                  <a:lnTo>
                    <a:pt x="126" y="348"/>
                  </a:lnTo>
                  <a:lnTo>
                    <a:pt x="132" y="342"/>
                  </a:lnTo>
                  <a:lnTo>
                    <a:pt x="138" y="330"/>
                  </a:lnTo>
                  <a:lnTo>
                    <a:pt x="150" y="330"/>
                  </a:lnTo>
                  <a:lnTo>
                    <a:pt x="162" y="318"/>
                  </a:lnTo>
                  <a:lnTo>
                    <a:pt x="162" y="312"/>
                  </a:lnTo>
                  <a:lnTo>
                    <a:pt x="150" y="312"/>
                  </a:lnTo>
                  <a:lnTo>
                    <a:pt x="144" y="306"/>
                  </a:lnTo>
                  <a:lnTo>
                    <a:pt x="138" y="294"/>
                  </a:lnTo>
                  <a:lnTo>
                    <a:pt x="138" y="288"/>
                  </a:lnTo>
                  <a:lnTo>
                    <a:pt x="132" y="282"/>
                  </a:lnTo>
                  <a:lnTo>
                    <a:pt x="132" y="276"/>
                  </a:lnTo>
                  <a:lnTo>
                    <a:pt x="144" y="264"/>
                  </a:lnTo>
                  <a:lnTo>
                    <a:pt x="156" y="258"/>
                  </a:lnTo>
                  <a:lnTo>
                    <a:pt x="168" y="246"/>
                  </a:lnTo>
                  <a:lnTo>
                    <a:pt x="168" y="240"/>
                  </a:lnTo>
                  <a:lnTo>
                    <a:pt x="156" y="234"/>
                  </a:lnTo>
                  <a:lnTo>
                    <a:pt x="150" y="228"/>
                  </a:lnTo>
                  <a:lnTo>
                    <a:pt x="150" y="216"/>
                  </a:lnTo>
                  <a:lnTo>
                    <a:pt x="126" y="192"/>
                  </a:lnTo>
                  <a:lnTo>
                    <a:pt x="162" y="192"/>
                  </a:lnTo>
                  <a:lnTo>
                    <a:pt x="174" y="180"/>
                  </a:lnTo>
                  <a:lnTo>
                    <a:pt x="174" y="168"/>
                  </a:lnTo>
                  <a:lnTo>
                    <a:pt x="168" y="162"/>
                  </a:lnTo>
                  <a:lnTo>
                    <a:pt x="168" y="150"/>
                  </a:lnTo>
                  <a:lnTo>
                    <a:pt x="174" y="144"/>
                  </a:lnTo>
                  <a:lnTo>
                    <a:pt x="180" y="144"/>
                  </a:lnTo>
                  <a:lnTo>
                    <a:pt x="180" y="126"/>
                  </a:lnTo>
                  <a:lnTo>
                    <a:pt x="186" y="108"/>
                  </a:lnTo>
                  <a:lnTo>
                    <a:pt x="186" y="96"/>
                  </a:lnTo>
                  <a:lnTo>
                    <a:pt x="180" y="90"/>
                  </a:lnTo>
                  <a:lnTo>
                    <a:pt x="174" y="90"/>
                  </a:lnTo>
                  <a:lnTo>
                    <a:pt x="174" y="84"/>
                  </a:lnTo>
                  <a:lnTo>
                    <a:pt x="180" y="78"/>
                  </a:lnTo>
                  <a:lnTo>
                    <a:pt x="204" y="66"/>
                  </a:lnTo>
                  <a:lnTo>
                    <a:pt x="228" y="42"/>
                  </a:lnTo>
                  <a:lnTo>
                    <a:pt x="228" y="36"/>
                  </a:lnTo>
                  <a:lnTo>
                    <a:pt x="216" y="30"/>
                  </a:lnTo>
                  <a:lnTo>
                    <a:pt x="210" y="30"/>
                  </a:lnTo>
                  <a:close/>
                </a:path>
              </a:pathLst>
            </a:custGeom>
            <a:solidFill>
              <a:srgbClr val="005995"/>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87" name="Poland" descr="© INSCALE GmbH, 05.05.2010&#10;http://www.presentationload.com/"/>
            <p:cNvSpPr>
              <a:spLocks/>
            </p:cNvSpPr>
            <p:nvPr/>
          </p:nvSpPr>
          <p:spPr bwMode="gray">
            <a:xfrm>
              <a:off x="4602166" y="2312988"/>
              <a:ext cx="250825" cy="180975"/>
            </a:xfrm>
            <a:custGeom>
              <a:avLst/>
              <a:gdLst>
                <a:gd name="T0" fmla="*/ 2147483647 w 624"/>
                <a:gd name="T1" fmla="*/ 2147483647 h 450"/>
                <a:gd name="T2" fmla="*/ 2147483647 w 624"/>
                <a:gd name="T3" fmla="*/ 2147483647 h 450"/>
                <a:gd name="T4" fmla="*/ 2147483647 w 624"/>
                <a:gd name="T5" fmla="*/ 2147483647 h 450"/>
                <a:gd name="T6" fmla="*/ 2147483647 w 624"/>
                <a:gd name="T7" fmla="*/ 2147483647 h 450"/>
                <a:gd name="T8" fmla="*/ 2147483647 w 624"/>
                <a:gd name="T9" fmla="*/ 2147483647 h 450"/>
                <a:gd name="T10" fmla="*/ 2147483647 w 624"/>
                <a:gd name="T11" fmla="*/ 2147483647 h 450"/>
                <a:gd name="T12" fmla="*/ 2147483647 w 624"/>
                <a:gd name="T13" fmla="*/ 2147483647 h 450"/>
                <a:gd name="T14" fmla="*/ 2147483647 w 624"/>
                <a:gd name="T15" fmla="*/ 2147483647 h 450"/>
                <a:gd name="T16" fmla="*/ 2147483647 w 624"/>
                <a:gd name="T17" fmla="*/ 2147483647 h 450"/>
                <a:gd name="T18" fmla="*/ 2147483647 w 624"/>
                <a:gd name="T19" fmla="*/ 2147483647 h 450"/>
                <a:gd name="T20" fmla="*/ 2147483647 w 624"/>
                <a:gd name="T21" fmla="*/ 2147483647 h 450"/>
                <a:gd name="T22" fmla="*/ 2147483647 w 624"/>
                <a:gd name="T23" fmla="*/ 2147483647 h 450"/>
                <a:gd name="T24" fmla="*/ 2147483647 w 624"/>
                <a:gd name="T25" fmla="*/ 2147483647 h 450"/>
                <a:gd name="T26" fmla="*/ 2147483647 w 624"/>
                <a:gd name="T27" fmla="*/ 2147483647 h 450"/>
                <a:gd name="T28" fmla="*/ 2147483647 w 624"/>
                <a:gd name="T29" fmla="*/ 2147483647 h 450"/>
                <a:gd name="T30" fmla="*/ 2147483647 w 624"/>
                <a:gd name="T31" fmla="*/ 2147483647 h 450"/>
                <a:gd name="T32" fmla="*/ 2147483647 w 624"/>
                <a:gd name="T33" fmla="*/ 2147483647 h 450"/>
                <a:gd name="T34" fmla="*/ 2147483647 w 624"/>
                <a:gd name="T35" fmla="*/ 2147483647 h 450"/>
                <a:gd name="T36" fmla="*/ 2147483647 w 624"/>
                <a:gd name="T37" fmla="*/ 2147483647 h 450"/>
                <a:gd name="T38" fmla="*/ 2147483647 w 624"/>
                <a:gd name="T39" fmla="*/ 2147483647 h 450"/>
                <a:gd name="T40" fmla="*/ 2147483647 w 624"/>
                <a:gd name="T41" fmla="*/ 2147483647 h 450"/>
                <a:gd name="T42" fmla="*/ 2147483647 w 624"/>
                <a:gd name="T43" fmla="*/ 2147483647 h 450"/>
                <a:gd name="T44" fmla="*/ 2147483647 w 624"/>
                <a:gd name="T45" fmla="*/ 2147483647 h 450"/>
                <a:gd name="T46" fmla="*/ 2147483647 w 624"/>
                <a:gd name="T47" fmla="*/ 2147483647 h 450"/>
                <a:gd name="T48" fmla="*/ 2147483647 w 624"/>
                <a:gd name="T49" fmla="*/ 2147483647 h 450"/>
                <a:gd name="T50" fmla="*/ 2147483647 w 624"/>
                <a:gd name="T51" fmla="*/ 2147483647 h 450"/>
                <a:gd name="T52" fmla="*/ 2147483647 w 624"/>
                <a:gd name="T53" fmla="*/ 2147483647 h 450"/>
                <a:gd name="T54" fmla="*/ 2147483647 w 624"/>
                <a:gd name="T55" fmla="*/ 2147483647 h 450"/>
                <a:gd name="T56" fmla="*/ 2147483647 w 624"/>
                <a:gd name="T57" fmla="*/ 2147483647 h 450"/>
                <a:gd name="T58" fmla="*/ 0 w 624"/>
                <a:gd name="T59" fmla="*/ 2147483647 h 450"/>
                <a:gd name="T60" fmla="*/ 2147483647 w 624"/>
                <a:gd name="T61" fmla="*/ 2147483647 h 450"/>
                <a:gd name="T62" fmla="*/ 2147483647 w 624"/>
                <a:gd name="T63" fmla="*/ 2147483647 h 450"/>
                <a:gd name="T64" fmla="*/ 2147483647 w 624"/>
                <a:gd name="T65" fmla="*/ 2147483647 h 450"/>
                <a:gd name="T66" fmla="*/ 2147483647 w 624"/>
                <a:gd name="T67" fmla="*/ 2147483647 h 450"/>
                <a:gd name="T68" fmla="*/ 2147483647 w 624"/>
                <a:gd name="T69" fmla="*/ 2147483647 h 450"/>
                <a:gd name="T70" fmla="*/ 2147483647 w 624"/>
                <a:gd name="T71" fmla="*/ 2147483647 h 450"/>
                <a:gd name="T72" fmla="*/ 2147483647 w 624"/>
                <a:gd name="T73" fmla="*/ 2147483647 h 450"/>
                <a:gd name="T74" fmla="*/ 2147483647 w 624"/>
                <a:gd name="T75" fmla="*/ 2147483647 h 450"/>
                <a:gd name="T76" fmla="*/ 2147483647 w 624"/>
                <a:gd name="T77" fmla="*/ 2147483647 h 450"/>
                <a:gd name="T78" fmla="*/ 2147483647 w 624"/>
                <a:gd name="T79" fmla="*/ 2147483647 h 450"/>
                <a:gd name="T80" fmla="*/ 2147483647 w 624"/>
                <a:gd name="T81" fmla="*/ 2147483647 h 450"/>
                <a:gd name="T82" fmla="*/ 2147483647 w 624"/>
                <a:gd name="T83" fmla="*/ 2147483647 h 450"/>
                <a:gd name="T84" fmla="*/ 2147483647 w 624"/>
                <a:gd name="T85" fmla="*/ 2147483647 h 450"/>
                <a:gd name="T86" fmla="*/ 2147483647 w 624"/>
                <a:gd name="T87" fmla="*/ 2147483647 h 450"/>
                <a:gd name="T88" fmla="*/ 2147483647 w 624"/>
                <a:gd name="T89" fmla="*/ 2147483647 h 450"/>
                <a:gd name="T90" fmla="*/ 2147483647 w 624"/>
                <a:gd name="T91" fmla="*/ 2147483647 h 450"/>
                <a:gd name="T92" fmla="*/ 2147483647 w 624"/>
                <a:gd name="T93" fmla="*/ 2147483647 h 450"/>
                <a:gd name="T94" fmla="*/ 2147483647 w 624"/>
                <a:gd name="T95" fmla="*/ 2147483647 h 450"/>
                <a:gd name="T96" fmla="*/ 2147483647 w 624"/>
                <a:gd name="T97" fmla="*/ 2147483647 h 450"/>
                <a:gd name="T98" fmla="*/ 2147483647 w 624"/>
                <a:gd name="T99" fmla="*/ 2147483647 h 450"/>
                <a:gd name="T100" fmla="*/ 2147483647 w 624"/>
                <a:gd name="T101" fmla="*/ 2147483647 h 450"/>
                <a:gd name="T102" fmla="*/ 2147483647 w 624"/>
                <a:gd name="T103" fmla="*/ 2147483647 h 450"/>
                <a:gd name="T104" fmla="*/ 2147483647 w 624"/>
                <a:gd name="T105" fmla="*/ 2147483647 h 450"/>
                <a:gd name="T106" fmla="*/ 2147483647 w 624"/>
                <a:gd name="T107" fmla="*/ 2147483647 h 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24"/>
                <a:gd name="T163" fmla="*/ 0 h 450"/>
                <a:gd name="T164" fmla="*/ 624 w 624"/>
                <a:gd name="T165" fmla="*/ 450 h 45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24" h="450">
                  <a:moveTo>
                    <a:pt x="426" y="426"/>
                  </a:moveTo>
                  <a:lnTo>
                    <a:pt x="432" y="426"/>
                  </a:lnTo>
                  <a:lnTo>
                    <a:pt x="444" y="420"/>
                  </a:lnTo>
                  <a:lnTo>
                    <a:pt x="450" y="414"/>
                  </a:lnTo>
                  <a:lnTo>
                    <a:pt x="474" y="414"/>
                  </a:lnTo>
                  <a:lnTo>
                    <a:pt x="498" y="438"/>
                  </a:lnTo>
                  <a:lnTo>
                    <a:pt x="528" y="438"/>
                  </a:lnTo>
                  <a:lnTo>
                    <a:pt x="528" y="450"/>
                  </a:lnTo>
                  <a:lnTo>
                    <a:pt x="552" y="450"/>
                  </a:lnTo>
                  <a:lnTo>
                    <a:pt x="540" y="438"/>
                  </a:lnTo>
                  <a:lnTo>
                    <a:pt x="540" y="396"/>
                  </a:lnTo>
                  <a:lnTo>
                    <a:pt x="594" y="348"/>
                  </a:lnTo>
                  <a:lnTo>
                    <a:pt x="606" y="348"/>
                  </a:lnTo>
                  <a:lnTo>
                    <a:pt x="612" y="342"/>
                  </a:lnTo>
                  <a:lnTo>
                    <a:pt x="618" y="342"/>
                  </a:lnTo>
                  <a:lnTo>
                    <a:pt x="624" y="336"/>
                  </a:lnTo>
                  <a:lnTo>
                    <a:pt x="618" y="330"/>
                  </a:lnTo>
                  <a:lnTo>
                    <a:pt x="618" y="324"/>
                  </a:lnTo>
                  <a:lnTo>
                    <a:pt x="612" y="318"/>
                  </a:lnTo>
                  <a:lnTo>
                    <a:pt x="618" y="306"/>
                  </a:lnTo>
                  <a:lnTo>
                    <a:pt x="612" y="300"/>
                  </a:lnTo>
                  <a:lnTo>
                    <a:pt x="600" y="294"/>
                  </a:lnTo>
                  <a:lnTo>
                    <a:pt x="600" y="288"/>
                  </a:lnTo>
                  <a:lnTo>
                    <a:pt x="582" y="270"/>
                  </a:lnTo>
                  <a:lnTo>
                    <a:pt x="576" y="252"/>
                  </a:lnTo>
                  <a:lnTo>
                    <a:pt x="582" y="252"/>
                  </a:lnTo>
                  <a:lnTo>
                    <a:pt x="576" y="240"/>
                  </a:lnTo>
                  <a:lnTo>
                    <a:pt x="576" y="210"/>
                  </a:lnTo>
                  <a:lnTo>
                    <a:pt x="564" y="198"/>
                  </a:lnTo>
                  <a:lnTo>
                    <a:pt x="558" y="198"/>
                  </a:lnTo>
                  <a:lnTo>
                    <a:pt x="552" y="192"/>
                  </a:lnTo>
                  <a:lnTo>
                    <a:pt x="552" y="186"/>
                  </a:lnTo>
                  <a:lnTo>
                    <a:pt x="564" y="186"/>
                  </a:lnTo>
                  <a:lnTo>
                    <a:pt x="564" y="168"/>
                  </a:lnTo>
                  <a:lnTo>
                    <a:pt x="588" y="162"/>
                  </a:lnTo>
                  <a:lnTo>
                    <a:pt x="588" y="150"/>
                  </a:lnTo>
                  <a:lnTo>
                    <a:pt x="594" y="144"/>
                  </a:lnTo>
                  <a:lnTo>
                    <a:pt x="594" y="138"/>
                  </a:lnTo>
                  <a:lnTo>
                    <a:pt x="588" y="132"/>
                  </a:lnTo>
                  <a:lnTo>
                    <a:pt x="576" y="108"/>
                  </a:lnTo>
                  <a:lnTo>
                    <a:pt x="570" y="102"/>
                  </a:lnTo>
                  <a:lnTo>
                    <a:pt x="570" y="90"/>
                  </a:lnTo>
                  <a:lnTo>
                    <a:pt x="564" y="84"/>
                  </a:lnTo>
                  <a:lnTo>
                    <a:pt x="558" y="72"/>
                  </a:lnTo>
                  <a:lnTo>
                    <a:pt x="558" y="48"/>
                  </a:lnTo>
                  <a:lnTo>
                    <a:pt x="546" y="42"/>
                  </a:lnTo>
                  <a:lnTo>
                    <a:pt x="540" y="42"/>
                  </a:lnTo>
                  <a:lnTo>
                    <a:pt x="522" y="36"/>
                  </a:lnTo>
                  <a:lnTo>
                    <a:pt x="498" y="36"/>
                  </a:lnTo>
                  <a:lnTo>
                    <a:pt x="498" y="42"/>
                  </a:lnTo>
                  <a:lnTo>
                    <a:pt x="408" y="42"/>
                  </a:lnTo>
                  <a:lnTo>
                    <a:pt x="402" y="36"/>
                  </a:lnTo>
                  <a:lnTo>
                    <a:pt x="390" y="36"/>
                  </a:lnTo>
                  <a:lnTo>
                    <a:pt x="384" y="30"/>
                  </a:lnTo>
                  <a:lnTo>
                    <a:pt x="360" y="30"/>
                  </a:lnTo>
                  <a:lnTo>
                    <a:pt x="354" y="36"/>
                  </a:lnTo>
                  <a:lnTo>
                    <a:pt x="348" y="36"/>
                  </a:lnTo>
                  <a:lnTo>
                    <a:pt x="342" y="30"/>
                  </a:lnTo>
                  <a:lnTo>
                    <a:pt x="312" y="30"/>
                  </a:lnTo>
                  <a:lnTo>
                    <a:pt x="300" y="36"/>
                  </a:lnTo>
                  <a:lnTo>
                    <a:pt x="282" y="36"/>
                  </a:lnTo>
                  <a:lnTo>
                    <a:pt x="276" y="30"/>
                  </a:lnTo>
                  <a:lnTo>
                    <a:pt x="270" y="18"/>
                  </a:lnTo>
                  <a:lnTo>
                    <a:pt x="264" y="12"/>
                  </a:lnTo>
                  <a:lnTo>
                    <a:pt x="264" y="6"/>
                  </a:lnTo>
                  <a:lnTo>
                    <a:pt x="258" y="6"/>
                  </a:lnTo>
                  <a:lnTo>
                    <a:pt x="252" y="0"/>
                  </a:lnTo>
                  <a:lnTo>
                    <a:pt x="210" y="0"/>
                  </a:lnTo>
                  <a:lnTo>
                    <a:pt x="192" y="6"/>
                  </a:lnTo>
                  <a:lnTo>
                    <a:pt x="180" y="12"/>
                  </a:lnTo>
                  <a:lnTo>
                    <a:pt x="162" y="12"/>
                  </a:lnTo>
                  <a:lnTo>
                    <a:pt x="150" y="18"/>
                  </a:lnTo>
                  <a:lnTo>
                    <a:pt x="144" y="24"/>
                  </a:lnTo>
                  <a:lnTo>
                    <a:pt x="138" y="24"/>
                  </a:lnTo>
                  <a:lnTo>
                    <a:pt x="120" y="42"/>
                  </a:lnTo>
                  <a:lnTo>
                    <a:pt x="60" y="48"/>
                  </a:lnTo>
                  <a:lnTo>
                    <a:pt x="54" y="48"/>
                  </a:lnTo>
                  <a:lnTo>
                    <a:pt x="48" y="54"/>
                  </a:lnTo>
                  <a:lnTo>
                    <a:pt x="24" y="66"/>
                  </a:lnTo>
                  <a:lnTo>
                    <a:pt x="18" y="66"/>
                  </a:lnTo>
                  <a:lnTo>
                    <a:pt x="12" y="72"/>
                  </a:lnTo>
                  <a:lnTo>
                    <a:pt x="18" y="78"/>
                  </a:lnTo>
                  <a:lnTo>
                    <a:pt x="18" y="96"/>
                  </a:lnTo>
                  <a:lnTo>
                    <a:pt x="6" y="90"/>
                  </a:lnTo>
                  <a:lnTo>
                    <a:pt x="6" y="108"/>
                  </a:lnTo>
                  <a:lnTo>
                    <a:pt x="12" y="108"/>
                  </a:lnTo>
                  <a:lnTo>
                    <a:pt x="18" y="114"/>
                  </a:lnTo>
                  <a:lnTo>
                    <a:pt x="18" y="132"/>
                  </a:lnTo>
                  <a:lnTo>
                    <a:pt x="6" y="144"/>
                  </a:lnTo>
                  <a:lnTo>
                    <a:pt x="0" y="144"/>
                  </a:lnTo>
                  <a:lnTo>
                    <a:pt x="0" y="156"/>
                  </a:lnTo>
                  <a:lnTo>
                    <a:pt x="6" y="162"/>
                  </a:lnTo>
                  <a:lnTo>
                    <a:pt x="12" y="162"/>
                  </a:lnTo>
                  <a:lnTo>
                    <a:pt x="18" y="168"/>
                  </a:lnTo>
                  <a:lnTo>
                    <a:pt x="30" y="168"/>
                  </a:lnTo>
                  <a:lnTo>
                    <a:pt x="30" y="186"/>
                  </a:lnTo>
                  <a:lnTo>
                    <a:pt x="24" y="186"/>
                  </a:lnTo>
                  <a:lnTo>
                    <a:pt x="24" y="198"/>
                  </a:lnTo>
                  <a:lnTo>
                    <a:pt x="36" y="198"/>
                  </a:lnTo>
                  <a:lnTo>
                    <a:pt x="36" y="204"/>
                  </a:lnTo>
                  <a:lnTo>
                    <a:pt x="30" y="210"/>
                  </a:lnTo>
                  <a:lnTo>
                    <a:pt x="36" y="210"/>
                  </a:lnTo>
                  <a:lnTo>
                    <a:pt x="42" y="216"/>
                  </a:lnTo>
                  <a:lnTo>
                    <a:pt x="36" y="222"/>
                  </a:lnTo>
                  <a:lnTo>
                    <a:pt x="24" y="228"/>
                  </a:lnTo>
                  <a:lnTo>
                    <a:pt x="24" y="234"/>
                  </a:lnTo>
                  <a:lnTo>
                    <a:pt x="30" y="240"/>
                  </a:lnTo>
                  <a:lnTo>
                    <a:pt x="36" y="240"/>
                  </a:lnTo>
                  <a:lnTo>
                    <a:pt x="42" y="246"/>
                  </a:lnTo>
                  <a:lnTo>
                    <a:pt x="42" y="264"/>
                  </a:lnTo>
                  <a:lnTo>
                    <a:pt x="48" y="258"/>
                  </a:lnTo>
                  <a:lnTo>
                    <a:pt x="54" y="258"/>
                  </a:lnTo>
                  <a:lnTo>
                    <a:pt x="54" y="270"/>
                  </a:lnTo>
                  <a:lnTo>
                    <a:pt x="48" y="276"/>
                  </a:lnTo>
                  <a:lnTo>
                    <a:pt x="60" y="276"/>
                  </a:lnTo>
                  <a:lnTo>
                    <a:pt x="60" y="282"/>
                  </a:lnTo>
                  <a:lnTo>
                    <a:pt x="54" y="282"/>
                  </a:lnTo>
                  <a:lnTo>
                    <a:pt x="54" y="294"/>
                  </a:lnTo>
                  <a:lnTo>
                    <a:pt x="72" y="294"/>
                  </a:lnTo>
                  <a:lnTo>
                    <a:pt x="78" y="312"/>
                  </a:lnTo>
                  <a:lnTo>
                    <a:pt x="96" y="312"/>
                  </a:lnTo>
                  <a:lnTo>
                    <a:pt x="108" y="318"/>
                  </a:lnTo>
                  <a:lnTo>
                    <a:pt x="114" y="318"/>
                  </a:lnTo>
                  <a:lnTo>
                    <a:pt x="114" y="324"/>
                  </a:lnTo>
                  <a:lnTo>
                    <a:pt x="138" y="324"/>
                  </a:lnTo>
                  <a:lnTo>
                    <a:pt x="144" y="330"/>
                  </a:lnTo>
                  <a:lnTo>
                    <a:pt x="132" y="336"/>
                  </a:lnTo>
                  <a:lnTo>
                    <a:pt x="144" y="342"/>
                  </a:lnTo>
                  <a:lnTo>
                    <a:pt x="144" y="354"/>
                  </a:lnTo>
                  <a:lnTo>
                    <a:pt x="150" y="354"/>
                  </a:lnTo>
                  <a:lnTo>
                    <a:pt x="156" y="360"/>
                  </a:lnTo>
                  <a:lnTo>
                    <a:pt x="174" y="360"/>
                  </a:lnTo>
                  <a:lnTo>
                    <a:pt x="174" y="354"/>
                  </a:lnTo>
                  <a:lnTo>
                    <a:pt x="180" y="354"/>
                  </a:lnTo>
                  <a:lnTo>
                    <a:pt x="192" y="348"/>
                  </a:lnTo>
                  <a:lnTo>
                    <a:pt x="210" y="348"/>
                  </a:lnTo>
                  <a:lnTo>
                    <a:pt x="204" y="354"/>
                  </a:lnTo>
                  <a:lnTo>
                    <a:pt x="222" y="354"/>
                  </a:lnTo>
                  <a:lnTo>
                    <a:pt x="228" y="360"/>
                  </a:lnTo>
                  <a:lnTo>
                    <a:pt x="234" y="372"/>
                  </a:lnTo>
                  <a:lnTo>
                    <a:pt x="240" y="378"/>
                  </a:lnTo>
                  <a:lnTo>
                    <a:pt x="246" y="366"/>
                  </a:lnTo>
                  <a:lnTo>
                    <a:pt x="252" y="372"/>
                  </a:lnTo>
                  <a:lnTo>
                    <a:pt x="252" y="378"/>
                  </a:lnTo>
                  <a:lnTo>
                    <a:pt x="270" y="378"/>
                  </a:lnTo>
                  <a:lnTo>
                    <a:pt x="282" y="384"/>
                  </a:lnTo>
                  <a:lnTo>
                    <a:pt x="282" y="390"/>
                  </a:lnTo>
                  <a:lnTo>
                    <a:pt x="288" y="402"/>
                  </a:lnTo>
                  <a:lnTo>
                    <a:pt x="306" y="420"/>
                  </a:lnTo>
                  <a:lnTo>
                    <a:pt x="318" y="420"/>
                  </a:lnTo>
                  <a:lnTo>
                    <a:pt x="330" y="408"/>
                  </a:lnTo>
                  <a:lnTo>
                    <a:pt x="342" y="408"/>
                  </a:lnTo>
                  <a:lnTo>
                    <a:pt x="354" y="420"/>
                  </a:lnTo>
                  <a:lnTo>
                    <a:pt x="360" y="420"/>
                  </a:lnTo>
                  <a:lnTo>
                    <a:pt x="360" y="426"/>
                  </a:lnTo>
                  <a:lnTo>
                    <a:pt x="366" y="432"/>
                  </a:lnTo>
                  <a:lnTo>
                    <a:pt x="378" y="432"/>
                  </a:lnTo>
                  <a:lnTo>
                    <a:pt x="384" y="426"/>
                  </a:lnTo>
                  <a:lnTo>
                    <a:pt x="384" y="420"/>
                  </a:lnTo>
                  <a:lnTo>
                    <a:pt x="414" y="420"/>
                  </a:lnTo>
                  <a:lnTo>
                    <a:pt x="420" y="426"/>
                  </a:lnTo>
                  <a:lnTo>
                    <a:pt x="426" y="426"/>
                  </a:lnTo>
                  <a:close/>
                </a:path>
              </a:pathLst>
            </a:custGeom>
            <a:solidFill>
              <a:srgbClr val="00508C"/>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88" name="Philippines" descr="© INSCALE GmbH, 05.05.2010&#10;http://www.presentationload.com/"/>
            <p:cNvSpPr>
              <a:spLocks noEditPoints="1"/>
            </p:cNvSpPr>
            <p:nvPr/>
          </p:nvSpPr>
          <p:spPr bwMode="gray">
            <a:xfrm>
              <a:off x="7562857" y="3470275"/>
              <a:ext cx="287337" cy="484188"/>
            </a:xfrm>
            <a:custGeom>
              <a:avLst/>
              <a:gdLst>
                <a:gd name="T0" fmla="*/ 2147483647 w 714"/>
                <a:gd name="T1" fmla="*/ 2147483647 h 1200"/>
                <a:gd name="T2" fmla="*/ 2147483647 w 714"/>
                <a:gd name="T3" fmla="*/ 2147483647 h 1200"/>
                <a:gd name="T4" fmla="*/ 2147483647 w 714"/>
                <a:gd name="T5" fmla="*/ 2147483647 h 1200"/>
                <a:gd name="T6" fmla="*/ 2147483647 w 714"/>
                <a:gd name="T7" fmla="*/ 2147483647 h 1200"/>
                <a:gd name="T8" fmla="*/ 2147483647 w 714"/>
                <a:gd name="T9" fmla="*/ 2147483647 h 1200"/>
                <a:gd name="T10" fmla="*/ 2147483647 w 714"/>
                <a:gd name="T11" fmla="*/ 2147483647 h 1200"/>
                <a:gd name="T12" fmla="*/ 2147483647 w 714"/>
                <a:gd name="T13" fmla="*/ 2147483647 h 1200"/>
                <a:gd name="T14" fmla="*/ 2147483647 w 714"/>
                <a:gd name="T15" fmla="*/ 2147483647 h 1200"/>
                <a:gd name="T16" fmla="*/ 2147483647 w 714"/>
                <a:gd name="T17" fmla="*/ 2147483647 h 1200"/>
                <a:gd name="T18" fmla="*/ 2147483647 w 714"/>
                <a:gd name="T19" fmla="*/ 2147483647 h 1200"/>
                <a:gd name="T20" fmla="*/ 2147483647 w 714"/>
                <a:gd name="T21" fmla="*/ 2147483647 h 1200"/>
                <a:gd name="T22" fmla="*/ 2147483647 w 714"/>
                <a:gd name="T23" fmla="*/ 2147483647 h 1200"/>
                <a:gd name="T24" fmla="*/ 2147483647 w 714"/>
                <a:gd name="T25" fmla="*/ 2147483647 h 1200"/>
                <a:gd name="T26" fmla="*/ 2147483647 w 714"/>
                <a:gd name="T27" fmla="*/ 2147483647 h 1200"/>
                <a:gd name="T28" fmla="*/ 2147483647 w 714"/>
                <a:gd name="T29" fmla="*/ 2147483647 h 1200"/>
                <a:gd name="T30" fmla="*/ 2147483647 w 714"/>
                <a:gd name="T31" fmla="*/ 2147483647 h 1200"/>
                <a:gd name="T32" fmla="*/ 2147483647 w 714"/>
                <a:gd name="T33" fmla="*/ 2147483647 h 1200"/>
                <a:gd name="T34" fmla="*/ 2147483647 w 714"/>
                <a:gd name="T35" fmla="*/ 2147483647 h 1200"/>
                <a:gd name="T36" fmla="*/ 2147483647 w 714"/>
                <a:gd name="T37" fmla="*/ 2147483647 h 1200"/>
                <a:gd name="T38" fmla="*/ 2147483647 w 714"/>
                <a:gd name="T39" fmla="*/ 2147483647 h 1200"/>
                <a:gd name="T40" fmla="*/ 2147483647 w 714"/>
                <a:gd name="T41" fmla="*/ 2147483647 h 1200"/>
                <a:gd name="T42" fmla="*/ 2147483647 w 714"/>
                <a:gd name="T43" fmla="*/ 2147483647 h 1200"/>
                <a:gd name="T44" fmla="*/ 2147483647 w 714"/>
                <a:gd name="T45" fmla="*/ 2147483647 h 1200"/>
                <a:gd name="T46" fmla="*/ 2147483647 w 714"/>
                <a:gd name="T47" fmla="*/ 2147483647 h 1200"/>
                <a:gd name="T48" fmla="*/ 2147483647 w 714"/>
                <a:gd name="T49" fmla="*/ 2147483647 h 1200"/>
                <a:gd name="T50" fmla="*/ 2147483647 w 714"/>
                <a:gd name="T51" fmla="*/ 2147483647 h 1200"/>
                <a:gd name="T52" fmla="*/ 2147483647 w 714"/>
                <a:gd name="T53" fmla="*/ 2147483647 h 1200"/>
                <a:gd name="T54" fmla="*/ 2147483647 w 714"/>
                <a:gd name="T55" fmla="*/ 2147483647 h 1200"/>
                <a:gd name="T56" fmla="*/ 2147483647 w 714"/>
                <a:gd name="T57" fmla="*/ 2147483647 h 1200"/>
                <a:gd name="T58" fmla="*/ 2147483647 w 714"/>
                <a:gd name="T59" fmla="*/ 2147483647 h 1200"/>
                <a:gd name="T60" fmla="*/ 2147483647 w 714"/>
                <a:gd name="T61" fmla="*/ 2147483647 h 1200"/>
                <a:gd name="T62" fmla="*/ 2147483647 w 714"/>
                <a:gd name="T63" fmla="*/ 2147483647 h 1200"/>
                <a:gd name="T64" fmla="*/ 2147483647 w 714"/>
                <a:gd name="T65" fmla="*/ 2147483647 h 1200"/>
                <a:gd name="T66" fmla="*/ 2147483647 w 714"/>
                <a:gd name="T67" fmla="*/ 2147483647 h 1200"/>
                <a:gd name="T68" fmla="*/ 2147483647 w 714"/>
                <a:gd name="T69" fmla="*/ 2147483647 h 1200"/>
                <a:gd name="T70" fmla="*/ 2147483647 w 714"/>
                <a:gd name="T71" fmla="*/ 2147483647 h 1200"/>
                <a:gd name="T72" fmla="*/ 2147483647 w 714"/>
                <a:gd name="T73" fmla="*/ 2147483647 h 1200"/>
                <a:gd name="T74" fmla="*/ 2147483647 w 714"/>
                <a:gd name="T75" fmla="*/ 2147483647 h 1200"/>
                <a:gd name="T76" fmla="*/ 2147483647 w 714"/>
                <a:gd name="T77" fmla="*/ 2147483647 h 1200"/>
                <a:gd name="T78" fmla="*/ 2147483647 w 714"/>
                <a:gd name="T79" fmla="*/ 0 h 1200"/>
                <a:gd name="T80" fmla="*/ 2147483647 w 714"/>
                <a:gd name="T81" fmla="*/ 2147483647 h 1200"/>
                <a:gd name="T82" fmla="*/ 2147483647 w 714"/>
                <a:gd name="T83" fmla="*/ 2147483647 h 1200"/>
                <a:gd name="T84" fmla="*/ 2147483647 w 714"/>
                <a:gd name="T85" fmla="*/ 2147483647 h 1200"/>
                <a:gd name="T86" fmla="*/ 2147483647 w 714"/>
                <a:gd name="T87" fmla="*/ 2147483647 h 1200"/>
                <a:gd name="T88" fmla="*/ 2147483647 w 714"/>
                <a:gd name="T89" fmla="*/ 2147483647 h 1200"/>
                <a:gd name="T90" fmla="*/ 2147483647 w 714"/>
                <a:gd name="T91" fmla="*/ 2147483647 h 1200"/>
                <a:gd name="T92" fmla="*/ 2147483647 w 714"/>
                <a:gd name="T93" fmla="*/ 2147483647 h 1200"/>
                <a:gd name="T94" fmla="*/ 2147483647 w 714"/>
                <a:gd name="T95" fmla="*/ 2147483647 h 1200"/>
                <a:gd name="T96" fmla="*/ 2147483647 w 714"/>
                <a:gd name="T97" fmla="*/ 2147483647 h 1200"/>
                <a:gd name="T98" fmla="*/ 2147483647 w 714"/>
                <a:gd name="T99" fmla="*/ 2147483647 h 1200"/>
                <a:gd name="T100" fmla="*/ 2147483647 w 714"/>
                <a:gd name="T101" fmla="*/ 2147483647 h 1200"/>
                <a:gd name="T102" fmla="*/ 2147483647 w 714"/>
                <a:gd name="T103" fmla="*/ 2147483647 h 1200"/>
                <a:gd name="T104" fmla="*/ 2147483647 w 714"/>
                <a:gd name="T105" fmla="*/ 2147483647 h 1200"/>
                <a:gd name="T106" fmla="*/ 2147483647 w 714"/>
                <a:gd name="T107" fmla="*/ 2147483647 h 1200"/>
                <a:gd name="T108" fmla="*/ 2147483647 w 714"/>
                <a:gd name="T109" fmla="*/ 2147483647 h 1200"/>
                <a:gd name="T110" fmla="*/ 2147483647 w 714"/>
                <a:gd name="T111" fmla="*/ 2147483647 h 1200"/>
                <a:gd name="T112" fmla="*/ 2147483647 w 714"/>
                <a:gd name="T113" fmla="*/ 2147483647 h 1200"/>
                <a:gd name="T114" fmla="*/ 2147483647 w 714"/>
                <a:gd name="T115" fmla="*/ 2147483647 h 1200"/>
                <a:gd name="T116" fmla="*/ 2147483647 w 714"/>
                <a:gd name="T117" fmla="*/ 2147483647 h 12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14"/>
                <a:gd name="T178" fmla="*/ 0 h 1200"/>
                <a:gd name="T179" fmla="*/ 714 w 714"/>
                <a:gd name="T180" fmla="*/ 1200 h 12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14" h="1200">
                  <a:moveTo>
                    <a:pt x="702" y="1140"/>
                  </a:moveTo>
                  <a:lnTo>
                    <a:pt x="690" y="1170"/>
                  </a:lnTo>
                  <a:lnTo>
                    <a:pt x="696" y="1200"/>
                  </a:lnTo>
                  <a:lnTo>
                    <a:pt x="714" y="1182"/>
                  </a:lnTo>
                  <a:lnTo>
                    <a:pt x="714" y="1140"/>
                  </a:lnTo>
                  <a:lnTo>
                    <a:pt x="702" y="1140"/>
                  </a:lnTo>
                  <a:close/>
                  <a:moveTo>
                    <a:pt x="582" y="1176"/>
                  </a:moveTo>
                  <a:lnTo>
                    <a:pt x="600" y="1140"/>
                  </a:lnTo>
                  <a:lnTo>
                    <a:pt x="576" y="1134"/>
                  </a:lnTo>
                  <a:lnTo>
                    <a:pt x="582" y="1176"/>
                  </a:lnTo>
                  <a:close/>
                  <a:moveTo>
                    <a:pt x="246" y="1038"/>
                  </a:moveTo>
                  <a:lnTo>
                    <a:pt x="264" y="1050"/>
                  </a:lnTo>
                  <a:lnTo>
                    <a:pt x="282" y="1020"/>
                  </a:lnTo>
                  <a:lnTo>
                    <a:pt x="258" y="1008"/>
                  </a:lnTo>
                  <a:lnTo>
                    <a:pt x="246" y="1038"/>
                  </a:lnTo>
                  <a:close/>
                  <a:moveTo>
                    <a:pt x="504" y="558"/>
                  </a:moveTo>
                  <a:lnTo>
                    <a:pt x="540" y="576"/>
                  </a:lnTo>
                  <a:lnTo>
                    <a:pt x="540" y="582"/>
                  </a:lnTo>
                  <a:lnTo>
                    <a:pt x="534" y="588"/>
                  </a:lnTo>
                  <a:lnTo>
                    <a:pt x="504" y="588"/>
                  </a:lnTo>
                  <a:lnTo>
                    <a:pt x="570" y="642"/>
                  </a:lnTo>
                  <a:lnTo>
                    <a:pt x="570" y="618"/>
                  </a:lnTo>
                  <a:lnTo>
                    <a:pt x="600" y="624"/>
                  </a:lnTo>
                  <a:lnTo>
                    <a:pt x="576" y="588"/>
                  </a:lnTo>
                  <a:lnTo>
                    <a:pt x="576" y="582"/>
                  </a:lnTo>
                  <a:lnTo>
                    <a:pt x="570" y="576"/>
                  </a:lnTo>
                  <a:lnTo>
                    <a:pt x="570" y="558"/>
                  </a:lnTo>
                  <a:lnTo>
                    <a:pt x="564" y="546"/>
                  </a:lnTo>
                  <a:lnTo>
                    <a:pt x="534" y="516"/>
                  </a:lnTo>
                  <a:lnTo>
                    <a:pt x="522" y="510"/>
                  </a:lnTo>
                  <a:lnTo>
                    <a:pt x="504" y="504"/>
                  </a:lnTo>
                  <a:lnTo>
                    <a:pt x="492" y="498"/>
                  </a:lnTo>
                  <a:lnTo>
                    <a:pt x="474" y="498"/>
                  </a:lnTo>
                  <a:lnTo>
                    <a:pt x="468" y="504"/>
                  </a:lnTo>
                  <a:lnTo>
                    <a:pt x="468" y="528"/>
                  </a:lnTo>
                  <a:lnTo>
                    <a:pt x="492" y="552"/>
                  </a:lnTo>
                  <a:lnTo>
                    <a:pt x="504" y="558"/>
                  </a:lnTo>
                  <a:close/>
                  <a:moveTo>
                    <a:pt x="462" y="666"/>
                  </a:moveTo>
                  <a:lnTo>
                    <a:pt x="474" y="750"/>
                  </a:lnTo>
                  <a:lnTo>
                    <a:pt x="486" y="672"/>
                  </a:lnTo>
                  <a:lnTo>
                    <a:pt x="462" y="618"/>
                  </a:lnTo>
                  <a:lnTo>
                    <a:pt x="438" y="618"/>
                  </a:lnTo>
                  <a:lnTo>
                    <a:pt x="462" y="666"/>
                  </a:lnTo>
                  <a:close/>
                  <a:moveTo>
                    <a:pt x="492" y="738"/>
                  </a:moveTo>
                  <a:lnTo>
                    <a:pt x="522" y="738"/>
                  </a:lnTo>
                  <a:lnTo>
                    <a:pt x="528" y="708"/>
                  </a:lnTo>
                  <a:lnTo>
                    <a:pt x="498" y="702"/>
                  </a:lnTo>
                  <a:lnTo>
                    <a:pt x="492" y="738"/>
                  </a:lnTo>
                  <a:close/>
                  <a:moveTo>
                    <a:pt x="570" y="660"/>
                  </a:moveTo>
                  <a:lnTo>
                    <a:pt x="546" y="648"/>
                  </a:lnTo>
                  <a:lnTo>
                    <a:pt x="528" y="630"/>
                  </a:lnTo>
                  <a:lnTo>
                    <a:pt x="528" y="624"/>
                  </a:lnTo>
                  <a:lnTo>
                    <a:pt x="522" y="618"/>
                  </a:lnTo>
                  <a:lnTo>
                    <a:pt x="486" y="618"/>
                  </a:lnTo>
                  <a:lnTo>
                    <a:pt x="492" y="660"/>
                  </a:lnTo>
                  <a:lnTo>
                    <a:pt x="510" y="654"/>
                  </a:lnTo>
                  <a:lnTo>
                    <a:pt x="522" y="678"/>
                  </a:lnTo>
                  <a:lnTo>
                    <a:pt x="570" y="714"/>
                  </a:lnTo>
                  <a:lnTo>
                    <a:pt x="570" y="660"/>
                  </a:lnTo>
                  <a:close/>
                  <a:moveTo>
                    <a:pt x="162" y="600"/>
                  </a:moveTo>
                  <a:lnTo>
                    <a:pt x="144" y="582"/>
                  </a:lnTo>
                  <a:lnTo>
                    <a:pt x="138" y="606"/>
                  </a:lnTo>
                  <a:lnTo>
                    <a:pt x="132" y="618"/>
                  </a:lnTo>
                  <a:lnTo>
                    <a:pt x="126" y="624"/>
                  </a:lnTo>
                  <a:lnTo>
                    <a:pt x="120" y="642"/>
                  </a:lnTo>
                  <a:lnTo>
                    <a:pt x="120" y="654"/>
                  </a:lnTo>
                  <a:lnTo>
                    <a:pt x="126" y="660"/>
                  </a:lnTo>
                  <a:lnTo>
                    <a:pt x="138" y="666"/>
                  </a:lnTo>
                  <a:lnTo>
                    <a:pt x="150" y="678"/>
                  </a:lnTo>
                  <a:lnTo>
                    <a:pt x="144" y="684"/>
                  </a:lnTo>
                  <a:lnTo>
                    <a:pt x="120" y="696"/>
                  </a:lnTo>
                  <a:lnTo>
                    <a:pt x="114" y="702"/>
                  </a:lnTo>
                  <a:lnTo>
                    <a:pt x="102" y="708"/>
                  </a:lnTo>
                  <a:lnTo>
                    <a:pt x="96" y="732"/>
                  </a:lnTo>
                  <a:lnTo>
                    <a:pt x="72" y="750"/>
                  </a:lnTo>
                  <a:lnTo>
                    <a:pt x="72" y="762"/>
                  </a:lnTo>
                  <a:lnTo>
                    <a:pt x="60" y="774"/>
                  </a:lnTo>
                  <a:lnTo>
                    <a:pt x="48" y="780"/>
                  </a:lnTo>
                  <a:lnTo>
                    <a:pt x="42" y="786"/>
                  </a:lnTo>
                  <a:lnTo>
                    <a:pt x="30" y="792"/>
                  </a:lnTo>
                  <a:lnTo>
                    <a:pt x="24" y="798"/>
                  </a:lnTo>
                  <a:lnTo>
                    <a:pt x="18" y="798"/>
                  </a:lnTo>
                  <a:lnTo>
                    <a:pt x="18" y="804"/>
                  </a:lnTo>
                  <a:lnTo>
                    <a:pt x="12" y="810"/>
                  </a:lnTo>
                  <a:lnTo>
                    <a:pt x="0" y="834"/>
                  </a:lnTo>
                  <a:lnTo>
                    <a:pt x="0" y="864"/>
                  </a:lnTo>
                  <a:lnTo>
                    <a:pt x="30" y="834"/>
                  </a:lnTo>
                  <a:lnTo>
                    <a:pt x="30" y="816"/>
                  </a:lnTo>
                  <a:lnTo>
                    <a:pt x="36" y="810"/>
                  </a:lnTo>
                  <a:lnTo>
                    <a:pt x="42" y="810"/>
                  </a:lnTo>
                  <a:lnTo>
                    <a:pt x="78" y="798"/>
                  </a:lnTo>
                  <a:lnTo>
                    <a:pt x="84" y="792"/>
                  </a:lnTo>
                  <a:lnTo>
                    <a:pt x="84" y="762"/>
                  </a:lnTo>
                  <a:lnTo>
                    <a:pt x="90" y="750"/>
                  </a:lnTo>
                  <a:lnTo>
                    <a:pt x="96" y="744"/>
                  </a:lnTo>
                  <a:lnTo>
                    <a:pt x="114" y="738"/>
                  </a:lnTo>
                  <a:lnTo>
                    <a:pt x="126" y="732"/>
                  </a:lnTo>
                  <a:lnTo>
                    <a:pt x="144" y="720"/>
                  </a:lnTo>
                  <a:lnTo>
                    <a:pt x="162" y="714"/>
                  </a:lnTo>
                  <a:lnTo>
                    <a:pt x="168" y="702"/>
                  </a:lnTo>
                  <a:lnTo>
                    <a:pt x="174" y="696"/>
                  </a:lnTo>
                  <a:lnTo>
                    <a:pt x="174" y="684"/>
                  </a:lnTo>
                  <a:lnTo>
                    <a:pt x="156" y="648"/>
                  </a:lnTo>
                  <a:lnTo>
                    <a:pt x="156" y="624"/>
                  </a:lnTo>
                  <a:lnTo>
                    <a:pt x="162" y="612"/>
                  </a:lnTo>
                  <a:lnTo>
                    <a:pt x="162" y="600"/>
                  </a:lnTo>
                  <a:close/>
                  <a:moveTo>
                    <a:pt x="330" y="1026"/>
                  </a:moveTo>
                  <a:lnTo>
                    <a:pt x="372" y="1056"/>
                  </a:lnTo>
                  <a:lnTo>
                    <a:pt x="372" y="1020"/>
                  </a:lnTo>
                  <a:lnTo>
                    <a:pt x="348" y="1002"/>
                  </a:lnTo>
                  <a:lnTo>
                    <a:pt x="330" y="1026"/>
                  </a:lnTo>
                  <a:close/>
                  <a:moveTo>
                    <a:pt x="660" y="840"/>
                  </a:moveTo>
                  <a:lnTo>
                    <a:pt x="660" y="816"/>
                  </a:lnTo>
                  <a:lnTo>
                    <a:pt x="654" y="804"/>
                  </a:lnTo>
                  <a:lnTo>
                    <a:pt x="654" y="792"/>
                  </a:lnTo>
                  <a:lnTo>
                    <a:pt x="642" y="780"/>
                  </a:lnTo>
                  <a:lnTo>
                    <a:pt x="630" y="774"/>
                  </a:lnTo>
                  <a:lnTo>
                    <a:pt x="600" y="744"/>
                  </a:lnTo>
                  <a:lnTo>
                    <a:pt x="588" y="738"/>
                  </a:lnTo>
                  <a:lnTo>
                    <a:pt x="582" y="738"/>
                  </a:lnTo>
                  <a:lnTo>
                    <a:pt x="576" y="744"/>
                  </a:lnTo>
                  <a:lnTo>
                    <a:pt x="582" y="750"/>
                  </a:lnTo>
                  <a:lnTo>
                    <a:pt x="588" y="762"/>
                  </a:lnTo>
                  <a:lnTo>
                    <a:pt x="594" y="768"/>
                  </a:lnTo>
                  <a:lnTo>
                    <a:pt x="606" y="774"/>
                  </a:lnTo>
                  <a:lnTo>
                    <a:pt x="606" y="786"/>
                  </a:lnTo>
                  <a:lnTo>
                    <a:pt x="600" y="786"/>
                  </a:lnTo>
                  <a:lnTo>
                    <a:pt x="588" y="792"/>
                  </a:lnTo>
                  <a:lnTo>
                    <a:pt x="570" y="792"/>
                  </a:lnTo>
                  <a:lnTo>
                    <a:pt x="558" y="798"/>
                  </a:lnTo>
                  <a:lnTo>
                    <a:pt x="546" y="798"/>
                  </a:lnTo>
                  <a:lnTo>
                    <a:pt x="546" y="828"/>
                  </a:lnTo>
                  <a:lnTo>
                    <a:pt x="528" y="828"/>
                  </a:lnTo>
                  <a:lnTo>
                    <a:pt x="522" y="846"/>
                  </a:lnTo>
                  <a:lnTo>
                    <a:pt x="498" y="864"/>
                  </a:lnTo>
                  <a:lnTo>
                    <a:pt x="492" y="864"/>
                  </a:lnTo>
                  <a:lnTo>
                    <a:pt x="486" y="858"/>
                  </a:lnTo>
                  <a:lnTo>
                    <a:pt x="474" y="852"/>
                  </a:lnTo>
                  <a:lnTo>
                    <a:pt x="462" y="852"/>
                  </a:lnTo>
                  <a:lnTo>
                    <a:pt x="450" y="846"/>
                  </a:lnTo>
                  <a:lnTo>
                    <a:pt x="438" y="858"/>
                  </a:lnTo>
                  <a:lnTo>
                    <a:pt x="432" y="870"/>
                  </a:lnTo>
                  <a:lnTo>
                    <a:pt x="420" y="882"/>
                  </a:lnTo>
                  <a:lnTo>
                    <a:pt x="414" y="894"/>
                  </a:lnTo>
                  <a:lnTo>
                    <a:pt x="408" y="900"/>
                  </a:lnTo>
                  <a:lnTo>
                    <a:pt x="408" y="906"/>
                  </a:lnTo>
                  <a:lnTo>
                    <a:pt x="408" y="900"/>
                  </a:lnTo>
                  <a:lnTo>
                    <a:pt x="396" y="888"/>
                  </a:lnTo>
                  <a:lnTo>
                    <a:pt x="384" y="888"/>
                  </a:lnTo>
                  <a:lnTo>
                    <a:pt x="378" y="900"/>
                  </a:lnTo>
                  <a:lnTo>
                    <a:pt x="378" y="912"/>
                  </a:lnTo>
                  <a:lnTo>
                    <a:pt x="372" y="924"/>
                  </a:lnTo>
                  <a:lnTo>
                    <a:pt x="366" y="930"/>
                  </a:lnTo>
                  <a:lnTo>
                    <a:pt x="360" y="942"/>
                  </a:lnTo>
                  <a:lnTo>
                    <a:pt x="384" y="960"/>
                  </a:lnTo>
                  <a:lnTo>
                    <a:pt x="402" y="942"/>
                  </a:lnTo>
                  <a:lnTo>
                    <a:pt x="414" y="966"/>
                  </a:lnTo>
                  <a:lnTo>
                    <a:pt x="420" y="960"/>
                  </a:lnTo>
                  <a:lnTo>
                    <a:pt x="432" y="954"/>
                  </a:lnTo>
                  <a:lnTo>
                    <a:pt x="450" y="936"/>
                  </a:lnTo>
                  <a:lnTo>
                    <a:pt x="462" y="930"/>
                  </a:lnTo>
                  <a:lnTo>
                    <a:pt x="474" y="930"/>
                  </a:lnTo>
                  <a:lnTo>
                    <a:pt x="498" y="954"/>
                  </a:lnTo>
                  <a:lnTo>
                    <a:pt x="510" y="960"/>
                  </a:lnTo>
                  <a:lnTo>
                    <a:pt x="492" y="978"/>
                  </a:lnTo>
                  <a:lnTo>
                    <a:pt x="492" y="990"/>
                  </a:lnTo>
                  <a:lnTo>
                    <a:pt x="510" y="1026"/>
                  </a:lnTo>
                  <a:lnTo>
                    <a:pt x="522" y="1044"/>
                  </a:lnTo>
                  <a:lnTo>
                    <a:pt x="534" y="1056"/>
                  </a:lnTo>
                  <a:lnTo>
                    <a:pt x="546" y="1062"/>
                  </a:lnTo>
                  <a:lnTo>
                    <a:pt x="558" y="1062"/>
                  </a:lnTo>
                  <a:lnTo>
                    <a:pt x="570" y="1068"/>
                  </a:lnTo>
                  <a:lnTo>
                    <a:pt x="582" y="1068"/>
                  </a:lnTo>
                  <a:lnTo>
                    <a:pt x="606" y="1050"/>
                  </a:lnTo>
                  <a:lnTo>
                    <a:pt x="606" y="1074"/>
                  </a:lnTo>
                  <a:lnTo>
                    <a:pt x="630" y="1074"/>
                  </a:lnTo>
                  <a:lnTo>
                    <a:pt x="630" y="1038"/>
                  </a:lnTo>
                  <a:lnTo>
                    <a:pt x="624" y="1032"/>
                  </a:lnTo>
                  <a:lnTo>
                    <a:pt x="606" y="996"/>
                  </a:lnTo>
                  <a:lnTo>
                    <a:pt x="606" y="984"/>
                  </a:lnTo>
                  <a:lnTo>
                    <a:pt x="612" y="972"/>
                  </a:lnTo>
                  <a:lnTo>
                    <a:pt x="624" y="960"/>
                  </a:lnTo>
                  <a:lnTo>
                    <a:pt x="654" y="1014"/>
                  </a:lnTo>
                  <a:lnTo>
                    <a:pt x="654" y="1008"/>
                  </a:lnTo>
                  <a:lnTo>
                    <a:pt x="660" y="1002"/>
                  </a:lnTo>
                  <a:lnTo>
                    <a:pt x="672" y="978"/>
                  </a:lnTo>
                  <a:lnTo>
                    <a:pt x="678" y="960"/>
                  </a:lnTo>
                  <a:lnTo>
                    <a:pt x="678" y="936"/>
                  </a:lnTo>
                  <a:lnTo>
                    <a:pt x="672" y="918"/>
                  </a:lnTo>
                  <a:lnTo>
                    <a:pt x="666" y="912"/>
                  </a:lnTo>
                  <a:lnTo>
                    <a:pt x="660" y="900"/>
                  </a:lnTo>
                  <a:lnTo>
                    <a:pt x="660" y="840"/>
                  </a:lnTo>
                  <a:close/>
                  <a:moveTo>
                    <a:pt x="330" y="384"/>
                  </a:moveTo>
                  <a:lnTo>
                    <a:pt x="348" y="384"/>
                  </a:lnTo>
                  <a:lnTo>
                    <a:pt x="354" y="390"/>
                  </a:lnTo>
                  <a:lnTo>
                    <a:pt x="366" y="396"/>
                  </a:lnTo>
                  <a:lnTo>
                    <a:pt x="366" y="408"/>
                  </a:lnTo>
                  <a:lnTo>
                    <a:pt x="372" y="420"/>
                  </a:lnTo>
                  <a:lnTo>
                    <a:pt x="384" y="438"/>
                  </a:lnTo>
                  <a:lnTo>
                    <a:pt x="396" y="450"/>
                  </a:lnTo>
                  <a:lnTo>
                    <a:pt x="414" y="462"/>
                  </a:lnTo>
                  <a:lnTo>
                    <a:pt x="432" y="462"/>
                  </a:lnTo>
                  <a:lnTo>
                    <a:pt x="444" y="438"/>
                  </a:lnTo>
                  <a:lnTo>
                    <a:pt x="444" y="426"/>
                  </a:lnTo>
                  <a:lnTo>
                    <a:pt x="432" y="402"/>
                  </a:lnTo>
                  <a:lnTo>
                    <a:pt x="420" y="396"/>
                  </a:lnTo>
                  <a:lnTo>
                    <a:pt x="408" y="396"/>
                  </a:lnTo>
                  <a:lnTo>
                    <a:pt x="408" y="390"/>
                  </a:lnTo>
                  <a:lnTo>
                    <a:pt x="414" y="384"/>
                  </a:lnTo>
                  <a:lnTo>
                    <a:pt x="414" y="378"/>
                  </a:lnTo>
                  <a:lnTo>
                    <a:pt x="420" y="372"/>
                  </a:lnTo>
                  <a:lnTo>
                    <a:pt x="408" y="372"/>
                  </a:lnTo>
                  <a:lnTo>
                    <a:pt x="396" y="366"/>
                  </a:lnTo>
                  <a:lnTo>
                    <a:pt x="390" y="360"/>
                  </a:lnTo>
                  <a:lnTo>
                    <a:pt x="372" y="360"/>
                  </a:lnTo>
                  <a:lnTo>
                    <a:pt x="366" y="366"/>
                  </a:lnTo>
                  <a:lnTo>
                    <a:pt x="354" y="372"/>
                  </a:lnTo>
                  <a:lnTo>
                    <a:pt x="342" y="360"/>
                  </a:lnTo>
                  <a:lnTo>
                    <a:pt x="330" y="354"/>
                  </a:lnTo>
                  <a:lnTo>
                    <a:pt x="312" y="354"/>
                  </a:lnTo>
                  <a:lnTo>
                    <a:pt x="300" y="366"/>
                  </a:lnTo>
                  <a:lnTo>
                    <a:pt x="288" y="372"/>
                  </a:lnTo>
                  <a:lnTo>
                    <a:pt x="282" y="372"/>
                  </a:lnTo>
                  <a:lnTo>
                    <a:pt x="264" y="354"/>
                  </a:lnTo>
                  <a:lnTo>
                    <a:pt x="258" y="342"/>
                  </a:lnTo>
                  <a:lnTo>
                    <a:pt x="258" y="252"/>
                  </a:lnTo>
                  <a:lnTo>
                    <a:pt x="270" y="228"/>
                  </a:lnTo>
                  <a:lnTo>
                    <a:pt x="270" y="222"/>
                  </a:lnTo>
                  <a:lnTo>
                    <a:pt x="288" y="204"/>
                  </a:lnTo>
                  <a:lnTo>
                    <a:pt x="288" y="174"/>
                  </a:lnTo>
                  <a:lnTo>
                    <a:pt x="276" y="150"/>
                  </a:lnTo>
                  <a:lnTo>
                    <a:pt x="276" y="126"/>
                  </a:lnTo>
                  <a:lnTo>
                    <a:pt x="282" y="108"/>
                  </a:lnTo>
                  <a:lnTo>
                    <a:pt x="282" y="72"/>
                  </a:lnTo>
                  <a:lnTo>
                    <a:pt x="264" y="54"/>
                  </a:lnTo>
                  <a:lnTo>
                    <a:pt x="264" y="36"/>
                  </a:lnTo>
                  <a:lnTo>
                    <a:pt x="258" y="30"/>
                  </a:lnTo>
                  <a:lnTo>
                    <a:pt x="258" y="6"/>
                  </a:lnTo>
                  <a:lnTo>
                    <a:pt x="252" y="0"/>
                  </a:lnTo>
                  <a:lnTo>
                    <a:pt x="240" y="0"/>
                  </a:lnTo>
                  <a:lnTo>
                    <a:pt x="234" y="6"/>
                  </a:lnTo>
                  <a:lnTo>
                    <a:pt x="234" y="12"/>
                  </a:lnTo>
                  <a:lnTo>
                    <a:pt x="228" y="18"/>
                  </a:lnTo>
                  <a:lnTo>
                    <a:pt x="216" y="24"/>
                  </a:lnTo>
                  <a:lnTo>
                    <a:pt x="204" y="24"/>
                  </a:lnTo>
                  <a:lnTo>
                    <a:pt x="192" y="18"/>
                  </a:lnTo>
                  <a:lnTo>
                    <a:pt x="186" y="12"/>
                  </a:lnTo>
                  <a:lnTo>
                    <a:pt x="174" y="12"/>
                  </a:lnTo>
                  <a:lnTo>
                    <a:pt x="162" y="18"/>
                  </a:lnTo>
                  <a:lnTo>
                    <a:pt x="162" y="36"/>
                  </a:lnTo>
                  <a:lnTo>
                    <a:pt x="156" y="42"/>
                  </a:lnTo>
                  <a:lnTo>
                    <a:pt x="156" y="48"/>
                  </a:lnTo>
                  <a:lnTo>
                    <a:pt x="144" y="72"/>
                  </a:lnTo>
                  <a:lnTo>
                    <a:pt x="132" y="84"/>
                  </a:lnTo>
                  <a:lnTo>
                    <a:pt x="132" y="96"/>
                  </a:lnTo>
                  <a:lnTo>
                    <a:pt x="138" y="102"/>
                  </a:lnTo>
                  <a:lnTo>
                    <a:pt x="144" y="114"/>
                  </a:lnTo>
                  <a:lnTo>
                    <a:pt x="150" y="132"/>
                  </a:lnTo>
                  <a:lnTo>
                    <a:pt x="156" y="138"/>
                  </a:lnTo>
                  <a:lnTo>
                    <a:pt x="156" y="150"/>
                  </a:lnTo>
                  <a:lnTo>
                    <a:pt x="150" y="162"/>
                  </a:lnTo>
                  <a:lnTo>
                    <a:pt x="150" y="168"/>
                  </a:lnTo>
                  <a:lnTo>
                    <a:pt x="144" y="174"/>
                  </a:lnTo>
                  <a:lnTo>
                    <a:pt x="138" y="186"/>
                  </a:lnTo>
                  <a:lnTo>
                    <a:pt x="138" y="198"/>
                  </a:lnTo>
                  <a:lnTo>
                    <a:pt x="150" y="210"/>
                  </a:lnTo>
                  <a:lnTo>
                    <a:pt x="150" y="216"/>
                  </a:lnTo>
                  <a:lnTo>
                    <a:pt x="144" y="222"/>
                  </a:lnTo>
                  <a:lnTo>
                    <a:pt x="138" y="222"/>
                  </a:lnTo>
                  <a:lnTo>
                    <a:pt x="126" y="228"/>
                  </a:lnTo>
                  <a:lnTo>
                    <a:pt x="120" y="228"/>
                  </a:lnTo>
                  <a:lnTo>
                    <a:pt x="120" y="210"/>
                  </a:lnTo>
                  <a:lnTo>
                    <a:pt x="114" y="204"/>
                  </a:lnTo>
                  <a:lnTo>
                    <a:pt x="114" y="252"/>
                  </a:lnTo>
                  <a:lnTo>
                    <a:pt x="150" y="306"/>
                  </a:lnTo>
                  <a:lnTo>
                    <a:pt x="174" y="330"/>
                  </a:lnTo>
                  <a:lnTo>
                    <a:pt x="186" y="348"/>
                  </a:lnTo>
                  <a:lnTo>
                    <a:pt x="204" y="384"/>
                  </a:lnTo>
                  <a:lnTo>
                    <a:pt x="216" y="402"/>
                  </a:lnTo>
                  <a:lnTo>
                    <a:pt x="228" y="408"/>
                  </a:lnTo>
                  <a:lnTo>
                    <a:pt x="252" y="408"/>
                  </a:lnTo>
                  <a:lnTo>
                    <a:pt x="258" y="396"/>
                  </a:lnTo>
                  <a:lnTo>
                    <a:pt x="270" y="390"/>
                  </a:lnTo>
                  <a:lnTo>
                    <a:pt x="276" y="384"/>
                  </a:lnTo>
                  <a:lnTo>
                    <a:pt x="288" y="384"/>
                  </a:lnTo>
                  <a:lnTo>
                    <a:pt x="294" y="396"/>
                  </a:lnTo>
                  <a:lnTo>
                    <a:pt x="306" y="402"/>
                  </a:lnTo>
                  <a:lnTo>
                    <a:pt x="324" y="420"/>
                  </a:lnTo>
                  <a:lnTo>
                    <a:pt x="342" y="420"/>
                  </a:lnTo>
                  <a:lnTo>
                    <a:pt x="342" y="402"/>
                  </a:lnTo>
                  <a:lnTo>
                    <a:pt x="336" y="396"/>
                  </a:lnTo>
                  <a:lnTo>
                    <a:pt x="330" y="384"/>
                  </a:lnTo>
                  <a:close/>
                  <a:moveTo>
                    <a:pt x="258" y="432"/>
                  </a:moveTo>
                  <a:lnTo>
                    <a:pt x="246" y="426"/>
                  </a:lnTo>
                  <a:lnTo>
                    <a:pt x="204" y="426"/>
                  </a:lnTo>
                  <a:lnTo>
                    <a:pt x="234" y="468"/>
                  </a:lnTo>
                  <a:lnTo>
                    <a:pt x="258" y="534"/>
                  </a:lnTo>
                  <a:lnTo>
                    <a:pt x="270" y="528"/>
                  </a:lnTo>
                  <a:lnTo>
                    <a:pt x="276" y="516"/>
                  </a:lnTo>
                  <a:lnTo>
                    <a:pt x="282" y="510"/>
                  </a:lnTo>
                  <a:lnTo>
                    <a:pt x="282" y="486"/>
                  </a:lnTo>
                  <a:lnTo>
                    <a:pt x="276" y="480"/>
                  </a:lnTo>
                  <a:lnTo>
                    <a:pt x="270" y="468"/>
                  </a:lnTo>
                  <a:lnTo>
                    <a:pt x="270" y="450"/>
                  </a:lnTo>
                  <a:lnTo>
                    <a:pt x="264" y="438"/>
                  </a:lnTo>
                  <a:lnTo>
                    <a:pt x="258" y="432"/>
                  </a:lnTo>
                  <a:close/>
                  <a:moveTo>
                    <a:pt x="330" y="648"/>
                  </a:moveTo>
                  <a:lnTo>
                    <a:pt x="336" y="660"/>
                  </a:lnTo>
                  <a:lnTo>
                    <a:pt x="354" y="678"/>
                  </a:lnTo>
                  <a:lnTo>
                    <a:pt x="360" y="672"/>
                  </a:lnTo>
                  <a:lnTo>
                    <a:pt x="372" y="666"/>
                  </a:lnTo>
                  <a:lnTo>
                    <a:pt x="378" y="660"/>
                  </a:lnTo>
                  <a:lnTo>
                    <a:pt x="384" y="660"/>
                  </a:lnTo>
                  <a:lnTo>
                    <a:pt x="390" y="666"/>
                  </a:lnTo>
                  <a:lnTo>
                    <a:pt x="390" y="696"/>
                  </a:lnTo>
                  <a:lnTo>
                    <a:pt x="402" y="708"/>
                  </a:lnTo>
                  <a:lnTo>
                    <a:pt x="396" y="720"/>
                  </a:lnTo>
                  <a:lnTo>
                    <a:pt x="390" y="726"/>
                  </a:lnTo>
                  <a:lnTo>
                    <a:pt x="372" y="762"/>
                  </a:lnTo>
                  <a:lnTo>
                    <a:pt x="372" y="786"/>
                  </a:lnTo>
                  <a:lnTo>
                    <a:pt x="378" y="792"/>
                  </a:lnTo>
                  <a:lnTo>
                    <a:pt x="384" y="804"/>
                  </a:lnTo>
                  <a:lnTo>
                    <a:pt x="396" y="804"/>
                  </a:lnTo>
                  <a:lnTo>
                    <a:pt x="408" y="798"/>
                  </a:lnTo>
                  <a:lnTo>
                    <a:pt x="420" y="798"/>
                  </a:lnTo>
                  <a:lnTo>
                    <a:pt x="432" y="792"/>
                  </a:lnTo>
                  <a:lnTo>
                    <a:pt x="438" y="786"/>
                  </a:lnTo>
                  <a:lnTo>
                    <a:pt x="438" y="768"/>
                  </a:lnTo>
                  <a:lnTo>
                    <a:pt x="432" y="756"/>
                  </a:lnTo>
                  <a:lnTo>
                    <a:pt x="426" y="738"/>
                  </a:lnTo>
                  <a:lnTo>
                    <a:pt x="426" y="726"/>
                  </a:lnTo>
                  <a:lnTo>
                    <a:pt x="432" y="714"/>
                  </a:lnTo>
                  <a:lnTo>
                    <a:pt x="444" y="678"/>
                  </a:lnTo>
                  <a:lnTo>
                    <a:pt x="444" y="660"/>
                  </a:lnTo>
                  <a:lnTo>
                    <a:pt x="438" y="648"/>
                  </a:lnTo>
                  <a:lnTo>
                    <a:pt x="432" y="642"/>
                  </a:lnTo>
                  <a:lnTo>
                    <a:pt x="426" y="642"/>
                  </a:lnTo>
                  <a:lnTo>
                    <a:pt x="414" y="654"/>
                  </a:lnTo>
                  <a:lnTo>
                    <a:pt x="402" y="660"/>
                  </a:lnTo>
                  <a:lnTo>
                    <a:pt x="396" y="660"/>
                  </a:lnTo>
                  <a:lnTo>
                    <a:pt x="396" y="648"/>
                  </a:lnTo>
                  <a:lnTo>
                    <a:pt x="408" y="624"/>
                  </a:lnTo>
                  <a:lnTo>
                    <a:pt x="408" y="612"/>
                  </a:lnTo>
                  <a:lnTo>
                    <a:pt x="414" y="600"/>
                  </a:lnTo>
                  <a:lnTo>
                    <a:pt x="414" y="594"/>
                  </a:lnTo>
                  <a:lnTo>
                    <a:pt x="408" y="588"/>
                  </a:lnTo>
                  <a:lnTo>
                    <a:pt x="372" y="570"/>
                  </a:lnTo>
                  <a:lnTo>
                    <a:pt x="366" y="564"/>
                  </a:lnTo>
                  <a:lnTo>
                    <a:pt x="330" y="564"/>
                  </a:lnTo>
                  <a:lnTo>
                    <a:pt x="324" y="570"/>
                  </a:lnTo>
                  <a:lnTo>
                    <a:pt x="324" y="576"/>
                  </a:lnTo>
                  <a:lnTo>
                    <a:pt x="330" y="582"/>
                  </a:lnTo>
                  <a:lnTo>
                    <a:pt x="336" y="582"/>
                  </a:lnTo>
                  <a:lnTo>
                    <a:pt x="342" y="594"/>
                  </a:lnTo>
                  <a:lnTo>
                    <a:pt x="342" y="600"/>
                  </a:lnTo>
                  <a:lnTo>
                    <a:pt x="336" y="606"/>
                  </a:lnTo>
                  <a:lnTo>
                    <a:pt x="336" y="618"/>
                  </a:lnTo>
                  <a:lnTo>
                    <a:pt x="330" y="630"/>
                  </a:lnTo>
                  <a:lnTo>
                    <a:pt x="330" y="648"/>
                  </a:lnTo>
                  <a:close/>
                </a:path>
              </a:pathLst>
            </a:custGeom>
            <a:solidFill>
              <a:srgbClr val="FFC000"/>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89" name="Peru" descr="© INSCALE GmbH, 05.05.2010&#10;http://www.presentationload.com/"/>
            <p:cNvSpPr>
              <a:spLocks/>
            </p:cNvSpPr>
            <p:nvPr/>
          </p:nvSpPr>
          <p:spPr bwMode="gray">
            <a:xfrm>
              <a:off x="1885952" y="4076701"/>
              <a:ext cx="377824" cy="600075"/>
            </a:xfrm>
            <a:custGeom>
              <a:avLst/>
              <a:gdLst>
                <a:gd name="T0" fmla="*/ 2147483647 w 942"/>
                <a:gd name="T1" fmla="*/ 2147483647 h 1488"/>
                <a:gd name="T2" fmla="*/ 2147483647 w 942"/>
                <a:gd name="T3" fmla="*/ 2147483647 h 1488"/>
                <a:gd name="T4" fmla="*/ 2147483647 w 942"/>
                <a:gd name="T5" fmla="*/ 2147483647 h 1488"/>
                <a:gd name="T6" fmla="*/ 2147483647 w 942"/>
                <a:gd name="T7" fmla="*/ 2147483647 h 1488"/>
                <a:gd name="T8" fmla="*/ 2147483647 w 942"/>
                <a:gd name="T9" fmla="*/ 2147483647 h 1488"/>
                <a:gd name="T10" fmla="*/ 2147483647 w 942"/>
                <a:gd name="T11" fmla="*/ 2147483647 h 1488"/>
                <a:gd name="T12" fmla="*/ 2147483647 w 942"/>
                <a:gd name="T13" fmla="*/ 2147483647 h 1488"/>
                <a:gd name="T14" fmla="*/ 2147483647 w 942"/>
                <a:gd name="T15" fmla="*/ 2147483647 h 1488"/>
                <a:gd name="T16" fmla="*/ 2147483647 w 942"/>
                <a:gd name="T17" fmla="*/ 2147483647 h 1488"/>
                <a:gd name="T18" fmla="*/ 2147483647 w 942"/>
                <a:gd name="T19" fmla="*/ 2147483647 h 1488"/>
                <a:gd name="T20" fmla="*/ 2147483647 w 942"/>
                <a:gd name="T21" fmla="*/ 2147483647 h 1488"/>
                <a:gd name="T22" fmla="*/ 2147483647 w 942"/>
                <a:gd name="T23" fmla="*/ 2147483647 h 1488"/>
                <a:gd name="T24" fmla="*/ 2147483647 w 942"/>
                <a:gd name="T25" fmla="*/ 2147483647 h 1488"/>
                <a:gd name="T26" fmla="*/ 2147483647 w 942"/>
                <a:gd name="T27" fmla="*/ 2147483647 h 1488"/>
                <a:gd name="T28" fmla="*/ 2147483647 w 942"/>
                <a:gd name="T29" fmla="*/ 2147483647 h 1488"/>
                <a:gd name="T30" fmla="*/ 2147483647 w 942"/>
                <a:gd name="T31" fmla="*/ 2147483647 h 1488"/>
                <a:gd name="T32" fmla="*/ 2147483647 w 942"/>
                <a:gd name="T33" fmla="*/ 2147483647 h 1488"/>
                <a:gd name="T34" fmla="*/ 2147483647 w 942"/>
                <a:gd name="T35" fmla="*/ 2147483647 h 1488"/>
                <a:gd name="T36" fmla="*/ 2147483647 w 942"/>
                <a:gd name="T37" fmla="*/ 2147483647 h 1488"/>
                <a:gd name="T38" fmla="*/ 2147483647 w 942"/>
                <a:gd name="T39" fmla="*/ 2147483647 h 1488"/>
                <a:gd name="T40" fmla="*/ 2147483647 w 942"/>
                <a:gd name="T41" fmla="*/ 2147483647 h 1488"/>
                <a:gd name="T42" fmla="*/ 2147483647 w 942"/>
                <a:gd name="T43" fmla="*/ 2147483647 h 1488"/>
                <a:gd name="T44" fmla="*/ 2147483647 w 942"/>
                <a:gd name="T45" fmla="*/ 2147483647 h 1488"/>
                <a:gd name="T46" fmla="*/ 2147483647 w 942"/>
                <a:gd name="T47" fmla="*/ 2147483647 h 1488"/>
                <a:gd name="T48" fmla="*/ 2147483647 w 942"/>
                <a:gd name="T49" fmla="*/ 2147483647 h 1488"/>
                <a:gd name="T50" fmla="*/ 2147483647 w 942"/>
                <a:gd name="T51" fmla="*/ 2147483647 h 1488"/>
                <a:gd name="T52" fmla="*/ 2147483647 w 942"/>
                <a:gd name="T53" fmla="*/ 2147483647 h 1488"/>
                <a:gd name="T54" fmla="*/ 2147483647 w 942"/>
                <a:gd name="T55" fmla="*/ 2147483647 h 1488"/>
                <a:gd name="T56" fmla="*/ 2147483647 w 942"/>
                <a:gd name="T57" fmla="*/ 2147483647 h 1488"/>
                <a:gd name="T58" fmla="*/ 2147483647 w 942"/>
                <a:gd name="T59" fmla="*/ 2147483647 h 1488"/>
                <a:gd name="T60" fmla="*/ 2147483647 w 942"/>
                <a:gd name="T61" fmla="*/ 2147483647 h 1488"/>
                <a:gd name="T62" fmla="*/ 2147483647 w 942"/>
                <a:gd name="T63" fmla="*/ 0 h 1488"/>
                <a:gd name="T64" fmla="*/ 2147483647 w 942"/>
                <a:gd name="T65" fmla="*/ 2147483647 h 1488"/>
                <a:gd name="T66" fmla="*/ 2147483647 w 942"/>
                <a:gd name="T67" fmla="*/ 2147483647 h 1488"/>
                <a:gd name="T68" fmla="*/ 2147483647 w 942"/>
                <a:gd name="T69" fmla="*/ 2147483647 h 1488"/>
                <a:gd name="T70" fmla="*/ 2147483647 w 942"/>
                <a:gd name="T71" fmla="*/ 2147483647 h 1488"/>
                <a:gd name="T72" fmla="*/ 2147483647 w 942"/>
                <a:gd name="T73" fmla="*/ 2147483647 h 1488"/>
                <a:gd name="T74" fmla="*/ 2147483647 w 942"/>
                <a:gd name="T75" fmla="*/ 2147483647 h 1488"/>
                <a:gd name="T76" fmla="*/ 2147483647 w 942"/>
                <a:gd name="T77" fmla="*/ 2147483647 h 1488"/>
                <a:gd name="T78" fmla="*/ 2147483647 w 942"/>
                <a:gd name="T79" fmla="*/ 2147483647 h 1488"/>
                <a:gd name="T80" fmla="*/ 2147483647 w 942"/>
                <a:gd name="T81" fmla="*/ 2147483647 h 1488"/>
                <a:gd name="T82" fmla="*/ 2147483647 w 942"/>
                <a:gd name="T83" fmla="*/ 2147483647 h 1488"/>
                <a:gd name="T84" fmla="*/ 0 w 942"/>
                <a:gd name="T85" fmla="*/ 2147483647 h 1488"/>
                <a:gd name="T86" fmla="*/ 2147483647 w 942"/>
                <a:gd name="T87" fmla="*/ 2147483647 h 1488"/>
                <a:gd name="T88" fmla="*/ 2147483647 w 942"/>
                <a:gd name="T89" fmla="*/ 2147483647 h 1488"/>
                <a:gd name="T90" fmla="*/ 2147483647 w 942"/>
                <a:gd name="T91" fmla="*/ 2147483647 h 1488"/>
                <a:gd name="T92" fmla="*/ 2147483647 w 942"/>
                <a:gd name="T93" fmla="*/ 2147483647 h 1488"/>
                <a:gd name="T94" fmla="*/ 2147483647 w 942"/>
                <a:gd name="T95" fmla="*/ 2147483647 h 1488"/>
                <a:gd name="T96" fmla="*/ 2147483647 w 942"/>
                <a:gd name="T97" fmla="*/ 2147483647 h 1488"/>
                <a:gd name="T98" fmla="*/ 2147483647 w 942"/>
                <a:gd name="T99" fmla="*/ 2147483647 h 1488"/>
                <a:gd name="T100" fmla="*/ 2147483647 w 942"/>
                <a:gd name="T101" fmla="*/ 2147483647 h 1488"/>
                <a:gd name="T102" fmla="*/ 2147483647 w 942"/>
                <a:gd name="T103" fmla="*/ 2147483647 h 1488"/>
                <a:gd name="T104" fmla="*/ 2147483647 w 942"/>
                <a:gd name="T105" fmla="*/ 2147483647 h 1488"/>
                <a:gd name="T106" fmla="*/ 2147483647 w 942"/>
                <a:gd name="T107" fmla="*/ 2147483647 h 1488"/>
                <a:gd name="T108" fmla="*/ 2147483647 w 942"/>
                <a:gd name="T109" fmla="*/ 2147483647 h 1488"/>
                <a:gd name="T110" fmla="*/ 2147483647 w 942"/>
                <a:gd name="T111" fmla="*/ 2147483647 h 1488"/>
                <a:gd name="T112" fmla="*/ 2147483647 w 942"/>
                <a:gd name="T113" fmla="*/ 2147483647 h 1488"/>
                <a:gd name="T114" fmla="*/ 2147483647 w 942"/>
                <a:gd name="T115" fmla="*/ 2147483647 h 1488"/>
                <a:gd name="T116" fmla="*/ 2147483647 w 942"/>
                <a:gd name="T117" fmla="*/ 2147483647 h 1488"/>
                <a:gd name="T118" fmla="*/ 2147483647 w 942"/>
                <a:gd name="T119" fmla="*/ 2147483647 h 1488"/>
                <a:gd name="T120" fmla="*/ 2147483647 w 942"/>
                <a:gd name="T121" fmla="*/ 2147483647 h 14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42"/>
                <a:gd name="T184" fmla="*/ 0 h 1488"/>
                <a:gd name="T185" fmla="*/ 942 w 942"/>
                <a:gd name="T186" fmla="*/ 1488 h 14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42" h="1488">
                  <a:moveTo>
                    <a:pt x="930" y="1320"/>
                  </a:moveTo>
                  <a:lnTo>
                    <a:pt x="924" y="1314"/>
                  </a:lnTo>
                  <a:lnTo>
                    <a:pt x="912" y="1308"/>
                  </a:lnTo>
                  <a:lnTo>
                    <a:pt x="888" y="1284"/>
                  </a:lnTo>
                  <a:lnTo>
                    <a:pt x="864" y="1284"/>
                  </a:lnTo>
                  <a:lnTo>
                    <a:pt x="858" y="1278"/>
                  </a:lnTo>
                  <a:lnTo>
                    <a:pt x="870" y="1260"/>
                  </a:lnTo>
                  <a:lnTo>
                    <a:pt x="870" y="1230"/>
                  </a:lnTo>
                  <a:lnTo>
                    <a:pt x="882" y="1230"/>
                  </a:lnTo>
                  <a:lnTo>
                    <a:pt x="906" y="1254"/>
                  </a:lnTo>
                  <a:lnTo>
                    <a:pt x="918" y="1236"/>
                  </a:lnTo>
                  <a:lnTo>
                    <a:pt x="918" y="1230"/>
                  </a:lnTo>
                  <a:lnTo>
                    <a:pt x="912" y="1224"/>
                  </a:lnTo>
                  <a:lnTo>
                    <a:pt x="906" y="1212"/>
                  </a:lnTo>
                  <a:lnTo>
                    <a:pt x="900" y="1194"/>
                  </a:lnTo>
                  <a:lnTo>
                    <a:pt x="912" y="1170"/>
                  </a:lnTo>
                  <a:lnTo>
                    <a:pt x="924" y="1158"/>
                  </a:lnTo>
                  <a:lnTo>
                    <a:pt x="930" y="1146"/>
                  </a:lnTo>
                  <a:lnTo>
                    <a:pt x="930" y="1140"/>
                  </a:lnTo>
                  <a:lnTo>
                    <a:pt x="924" y="1128"/>
                  </a:lnTo>
                  <a:lnTo>
                    <a:pt x="912" y="1116"/>
                  </a:lnTo>
                  <a:lnTo>
                    <a:pt x="906" y="1116"/>
                  </a:lnTo>
                  <a:lnTo>
                    <a:pt x="924" y="1086"/>
                  </a:lnTo>
                  <a:lnTo>
                    <a:pt x="912" y="1038"/>
                  </a:lnTo>
                  <a:lnTo>
                    <a:pt x="918" y="1032"/>
                  </a:lnTo>
                  <a:lnTo>
                    <a:pt x="924" y="1020"/>
                  </a:lnTo>
                  <a:lnTo>
                    <a:pt x="930" y="1014"/>
                  </a:lnTo>
                  <a:lnTo>
                    <a:pt x="930" y="1002"/>
                  </a:lnTo>
                  <a:lnTo>
                    <a:pt x="918" y="978"/>
                  </a:lnTo>
                  <a:lnTo>
                    <a:pt x="906" y="960"/>
                  </a:lnTo>
                  <a:lnTo>
                    <a:pt x="894" y="948"/>
                  </a:lnTo>
                  <a:lnTo>
                    <a:pt x="882" y="930"/>
                  </a:lnTo>
                  <a:lnTo>
                    <a:pt x="870" y="918"/>
                  </a:lnTo>
                  <a:lnTo>
                    <a:pt x="864" y="900"/>
                  </a:lnTo>
                  <a:lnTo>
                    <a:pt x="864" y="882"/>
                  </a:lnTo>
                  <a:lnTo>
                    <a:pt x="828" y="882"/>
                  </a:lnTo>
                  <a:lnTo>
                    <a:pt x="822" y="888"/>
                  </a:lnTo>
                  <a:lnTo>
                    <a:pt x="816" y="888"/>
                  </a:lnTo>
                  <a:lnTo>
                    <a:pt x="816" y="894"/>
                  </a:lnTo>
                  <a:lnTo>
                    <a:pt x="804" y="894"/>
                  </a:lnTo>
                  <a:lnTo>
                    <a:pt x="798" y="888"/>
                  </a:lnTo>
                  <a:lnTo>
                    <a:pt x="798" y="882"/>
                  </a:lnTo>
                  <a:lnTo>
                    <a:pt x="786" y="888"/>
                  </a:lnTo>
                  <a:lnTo>
                    <a:pt x="786" y="858"/>
                  </a:lnTo>
                  <a:lnTo>
                    <a:pt x="780" y="840"/>
                  </a:lnTo>
                  <a:lnTo>
                    <a:pt x="780" y="828"/>
                  </a:lnTo>
                  <a:lnTo>
                    <a:pt x="786" y="816"/>
                  </a:lnTo>
                  <a:lnTo>
                    <a:pt x="786" y="804"/>
                  </a:lnTo>
                  <a:lnTo>
                    <a:pt x="792" y="798"/>
                  </a:lnTo>
                  <a:lnTo>
                    <a:pt x="792" y="780"/>
                  </a:lnTo>
                  <a:lnTo>
                    <a:pt x="786" y="768"/>
                  </a:lnTo>
                  <a:lnTo>
                    <a:pt x="786" y="756"/>
                  </a:lnTo>
                  <a:lnTo>
                    <a:pt x="732" y="804"/>
                  </a:lnTo>
                  <a:lnTo>
                    <a:pt x="672" y="810"/>
                  </a:lnTo>
                  <a:lnTo>
                    <a:pt x="672" y="804"/>
                  </a:lnTo>
                  <a:lnTo>
                    <a:pt x="666" y="798"/>
                  </a:lnTo>
                  <a:lnTo>
                    <a:pt x="660" y="786"/>
                  </a:lnTo>
                  <a:lnTo>
                    <a:pt x="660" y="774"/>
                  </a:lnTo>
                  <a:lnTo>
                    <a:pt x="654" y="768"/>
                  </a:lnTo>
                  <a:lnTo>
                    <a:pt x="648" y="768"/>
                  </a:lnTo>
                  <a:lnTo>
                    <a:pt x="636" y="762"/>
                  </a:lnTo>
                  <a:lnTo>
                    <a:pt x="594" y="762"/>
                  </a:lnTo>
                  <a:lnTo>
                    <a:pt x="600" y="756"/>
                  </a:lnTo>
                  <a:lnTo>
                    <a:pt x="612" y="750"/>
                  </a:lnTo>
                  <a:lnTo>
                    <a:pt x="618" y="738"/>
                  </a:lnTo>
                  <a:lnTo>
                    <a:pt x="624" y="732"/>
                  </a:lnTo>
                  <a:lnTo>
                    <a:pt x="600" y="708"/>
                  </a:lnTo>
                  <a:lnTo>
                    <a:pt x="588" y="702"/>
                  </a:lnTo>
                  <a:lnTo>
                    <a:pt x="576" y="690"/>
                  </a:lnTo>
                  <a:lnTo>
                    <a:pt x="564" y="666"/>
                  </a:lnTo>
                  <a:lnTo>
                    <a:pt x="558" y="660"/>
                  </a:lnTo>
                  <a:lnTo>
                    <a:pt x="558" y="654"/>
                  </a:lnTo>
                  <a:lnTo>
                    <a:pt x="552" y="630"/>
                  </a:lnTo>
                  <a:lnTo>
                    <a:pt x="540" y="624"/>
                  </a:lnTo>
                  <a:lnTo>
                    <a:pt x="534" y="618"/>
                  </a:lnTo>
                  <a:lnTo>
                    <a:pt x="534" y="606"/>
                  </a:lnTo>
                  <a:lnTo>
                    <a:pt x="540" y="600"/>
                  </a:lnTo>
                  <a:lnTo>
                    <a:pt x="552" y="594"/>
                  </a:lnTo>
                  <a:lnTo>
                    <a:pt x="546" y="588"/>
                  </a:lnTo>
                  <a:lnTo>
                    <a:pt x="546" y="564"/>
                  </a:lnTo>
                  <a:lnTo>
                    <a:pt x="552" y="552"/>
                  </a:lnTo>
                  <a:lnTo>
                    <a:pt x="582" y="522"/>
                  </a:lnTo>
                  <a:lnTo>
                    <a:pt x="588" y="528"/>
                  </a:lnTo>
                  <a:lnTo>
                    <a:pt x="594" y="528"/>
                  </a:lnTo>
                  <a:lnTo>
                    <a:pt x="588" y="522"/>
                  </a:lnTo>
                  <a:lnTo>
                    <a:pt x="588" y="504"/>
                  </a:lnTo>
                  <a:lnTo>
                    <a:pt x="582" y="498"/>
                  </a:lnTo>
                  <a:lnTo>
                    <a:pt x="582" y="486"/>
                  </a:lnTo>
                  <a:lnTo>
                    <a:pt x="600" y="468"/>
                  </a:lnTo>
                  <a:lnTo>
                    <a:pt x="600" y="414"/>
                  </a:lnTo>
                  <a:lnTo>
                    <a:pt x="624" y="414"/>
                  </a:lnTo>
                  <a:lnTo>
                    <a:pt x="624" y="408"/>
                  </a:lnTo>
                  <a:lnTo>
                    <a:pt x="630" y="402"/>
                  </a:lnTo>
                  <a:lnTo>
                    <a:pt x="630" y="396"/>
                  </a:lnTo>
                  <a:lnTo>
                    <a:pt x="642" y="384"/>
                  </a:lnTo>
                  <a:lnTo>
                    <a:pt x="654" y="378"/>
                  </a:lnTo>
                  <a:lnTo>
                    <a:pt x="660" y="372"/>
                  </a:lnTo>
                  <a:lnTo>
                    <a:pt x="672" y="366"/>
                  </a:lnTo>
                  <a:lnTo>
                    <a:pt x="702" y="366"/>
                  </a:lnTo>
                  <a:lnTo>
                    <a:pt x="708" y="354"/>
                  </a:lnTo>
                  <a:lnTo>
                    <a:pt x="738" y="360"/>
                  </a:lnTo>
                  <a:lnTo>
                    <a:pt x="744" y="354"/>
                  </a:lnTo>
                  <a:lnTo>
                    <a:pt x="750" y="342"/>
                  </a:lnTo>
                  <a:lnTo>
                    <a:pt x="756" y="336"/>
                  </a:lnTo>
                  <a:lnTo>
                    <a:pt x="774" y="336"/>
                  </a:lnTo>
                  <a:lnTo>
                    <a:pt x="786" y="348"/>
                  </a:lnTo>
                  <a:lnTo>
                    <a:pt x="786" y="354"/>
                  </a:lnTo>
                  <a:lnTo>
                    <a:pt x="804" y="354"/>
                  </a:lnTo>
                  <a:lnTo>
                    <a:pt x="816" y="342"/>
                  </a:lnTo>
                  <a:lnTo>
                    <a:pt x="798" y="330"/>
                  </a:lnTo>
                  <a:lnTo>
                    <a:pt x="786" y="312"/>
                  </a:lnTo>
                  <a:lnTo>
                    <a:pt x="768" y="312"/>
                  </a:lnTo>
                  <a:lnTo>
                    <a:pt x="762" y="306"/>
                  </a:lnTo>
                  <a:lnTo>
                    <a:pt x="762" y="288"/>
                  </a:lnTo>
                  <a:lnTo>
                    <a:pt x="774" y="264"/>
                  </a:lnTo>
                  <a:lnTo>
                    <a:pt x="774" y="258"/>
                  </a:lnTo>
                  <a:lnTo>
                    <a:pt x="780" y="252"/>
                  </a:lnTo>
                  <a:lnTo>
                    <a:pt x="786" y="252"/>
                  </a:lnTo>
                  <a:lnTo>
                    <a:pt x="792" y="246"/>
                  </a:lnTo>
                  <a:lnTo>
                    <a:pt x="798" y="234"/>
                  </a:lnTo>
                  <a:lnTo>
                    <a:pt x="798" y="216"/>
                  </a:lnTo>
                  <a:lnTo>
                    <a:pt x="792" y="210"/>
                  </a:lnTo>
                  <a:lnTo>
                    <a:pt x="780" y="204"/>
                  </a:lnTo>
                  <a:lnTo>
                    <a:pt x="756" y="204"/>
                  </a:lnTo>
                  <a:lnTo>
                    <a:pt x="750" y="198"/>
                  </a:lnTo>
                  <a:lnTo>
                    <a:pt x="744" y="186"/>
                  </a:lnTo>
                  <a:lnTo>
                    <a:pt x="744" y="180"/>
                  </a:lnTo>
                  <a:lnTo>
                    <a:pt x="732" y="180"/>
                  </a:lnTo>
                  <a:lnTo>
                    <a:pt x="726" y="186"/>
                  </a:lnTo>
                  <a:lnTo>
                    <a:pt x="714" y="192"/>
                  </a:lnTo>
                  <a:lnTo>
                    <a:pt x="702" y="192"/>
                  </a:lnTo>
                  <a:lnTo>
                    <a:pt x="696" y="186"/>
                  </a:lnTo>
                  <a:lnTo>
                    <a:pt x="690" y="186"/>
                  </a:lnTo>
                  <a:lnTo>
                    <a:pt x="684" y="180"/>
                  </a:lnTo>
                  <a:lnTo>
                    <a:pt x="660" y="180"/>
                  </a:lnTo>
                  <a:lnTo>
                    <a:pt x="648" y="192"/>
                  </a:lnTo>
                  <a:lnTo>
                    <a:pt x="648" y="204"/>
                  </a:lnTo>
                  <a:lnTo>
                    <a:pt x="612" y="204"/>
                  </a:lnTo>
                  <a:lnTo>
                    <a:pt x="588" y="198"/>
                  </a:lnTo>
                  <a:lnTo>
                    <a:pt x="576" y="192"/>
                  </a:lnTo>
                  <a:lnTo>
                    <a:pt x="576" y="168"/>
                  </a:lnTo>
                  <a:lnTo>
                    <a:pt x="582" y="162"/>
                  </a:lnTo>
                  <a:lnTo>
                    <a:pt x="582" y="156"/>
                  </a:lnTo>
                  <a:lnTo>
                    <a:pt x="576" y="150"/>
                  </a:lnTo>
                  <a:lnTo>
                    <a:pt x="564" y="144"/>
                  </a:lnTo>
                  <a:lnTo>
                    <a:pt x="552" y="144"/>
                  </a:lnTo>
                  <a:lnTo>
                    <a:pt x="552" y="138"/>
                  </a:lnTo>
                  <a:lnTo>
                    <a:pt x="546" y="132"/>
                  </a:lnTo>
                  <a:lnTo>
                    <a:pt x="546" y="108"/>
                  </a:lnTo>
                  <a:lnTo>
                    <a:pt x="540" y="102"/>
                  </a:lnTo>
                  <a:lnTo>
                    <a:pt x="528" y="102"/>
                  </a:lnTo>
                  <a:lnTo>
                    <a:pt x="516" y="84"/>
                  </a:lnTo>
                  <a:lnTo>
                    <a:pt x="498" y="84"/>
                  </a:lnTo>
                  <a:lnTo>
                    <a:pt x="486" y="48"/>
                  </a:lnTo>
                  <a:lnTo>
                    <a:pt x="480" y="42"/>
                  </a:lnTo>
                  <a:lnTo>
                    <a:pt x="468" y="36"/>
                  </a:lnTo>
                  <a:lnTo>
                    <a:pt x="450" y="18"/>
                  </a:lnTo>
                  <a:lnTo>
                    <a:pt x="438" y="12"/>
                  </a:lnTo>
                  <a:lnTo>
                    <a:pt x="426" y="0"/>
                  </a:lnTo>
                  <a:lnTo>
                    <a:pt x="396" y="0"/>
                  </a:lnTo>
                  <a:lnTo>
                    <a:pt x="414" y="0"/>
                  </a:lnTo>
                  <a:lnTo>
                    <a:pt x="414" y="24"/>
                  </a:lnTo>
                  <a:lnTo>
                    <a:pt x="408" y="24"/>
                  </a:lnTo>
                  <a:lnTo>
                    <a:pt x="408" y="30"/>
                  </a:lnTo>
                  <a:lnTo>
                    <a:pt x="402" y="30"/>
                  </a:lnTo>
                  <a:lnTo>
                    <a:pt x="426" y="48"/>
                  </a:lnTo>
                  <a:lnTo>
                    <a:pt x="426" y="78"/>
                  </a:lnTo>
                  <a:lnTo>
                    <a:pt x="414" y="84"/>
                  </a:lnTo>
                  <a:lnTo>
                    <a:pt x="402" y="126"/>
                  </a:lnTo>
                  <a:lnTo>
                    <a:pt x="396" y="138"/>
                  </a:lnTo>
                  <a:lnTo>
                    <a:pt x="384" y="150"/>
                  </a:lnTo>
                  <a:lnTo>
                    <a:pt x="378" y="162"/>
                  </a:lnTo>
                  <a:lnTo>
                    <a:pt x="366" y="174"/>
                  </a:lnTo>
                  <a:lnTo>
                    <a:pt x="354" y="192"/>
                  </a:lnTo>
                  <a:lnTo>
                    <a:pt x="336" y="204"/>
                  </a:lnTo>
                  <a:lnTo>
                    <a:pt x="276" y="234"/>
                  </a:lnTo>
                  <a:lnTo>
                    <a:pt x="258" y="240"/>
                  </a:lnTo>
                  <a:lnTo>
                    <a:pt x="240" y="252"/>
                  </a:lnTo>
                  <a:lnTo>
                    <a:pt x="222" y="270"/>
                  </a:lnTo>
                  <a:lnTo>
                    <a:pt x="222" y="276"/>
                  </a:lnTo>
                  <a:lnTo>
                    <a:pt x="210" y="282"/>
                  </a:lnTo>
                  <a:lnTo>
                    <a:pt x="210" y="300"/>
                  </a:lnTo>
                  <a:lnTo>
                    <a:pt x="198" y="312"/>
                  </a:lnTo>
                  <a:lnTo>
                    <a:pt x="198" y="336"/>
                  </a:lnTo>
                  <a:lnTo>
                    <a:pt x="192" y="348"/>
                  </a:lnTo>
                  <a:lnTo>
                    <a:pt x="192" y="378"/>
                  </a:lnTo>
                  <a:lnTo>
                    <a:pt x="174" y="378"/>
                  </a:lnTo>
                  <a:lnTo>
                    <a:pt x="168" y="384"/>
                  </a:lnTo>
                  <a:lnTo>
                    <a:pt x="168" y="390"/>
                  </a:lnTo>
                  <a:lnTo>
                    <a:pt x="162" y="396"/>
                  </a:lnTo>
                  <a:lnTo>
                    <a:pt x="162" y="402"/>
                  </a:lnTo>
                  <a:lnTo>
                    <a:pt x="144" y="402"/>
                  </a:lnTo>
                  <a:lnTo>
                    <a:pt x="138" y="390"/>
                  </a:lnTo>
                  <a:lnTo>
                    <a:pt x="138" y="372"/>
                  </a:lnTo>
                  <a:lnTo>
                    <a:pt x="132" y="366"/>
                  </a:lnTo>
                  <a:lnTo>
                    <a:pt x="132" y="360"/>
                  </a:lnTo>
                  <a:lnTo>
                    <a:pt x="102" y="360"/>
                  </a:lnTo>
                  <a:lnTo>
                    <a:pt x="90" y="348"/>
                  </a:lnTo>
                  <a:lnTo>
                    <a:pt x="78" y="360"/>
                  </a:lnTo>
                  <a:lnTo>
                    <a:pt x="66" y="366"/>
                  </a:lnTo>
                  <a:lnTo>
                    <a:pt x="60" y="366"/>
                  </a:lnTo>
                  <a:lnTo>
                    <a:pt x="54" y="360"/>
                  </a:lnTo>
                  <a:lnTo>
                    <a:pt x="66" y="348"/>
                  </a:lnTo>
                  <a:lnTo>
                    <a:pt x="54" y="336"/>
                  </a:lnTo>
                  <a:lnTo>
                    <a:pt x="60" y="330"/>
                  </a:lnTo>
                  <a:lnTo>
                    <a:pt x="66" y="318"/>
                  </a:lnTo>
                  <a:lnTo>
                    <a:pt x="78" y="312"/>
                  </a:lnTo>
                  <a:lnTo>
                    <a:pt x="84" y="300"/>
                  </a:lnTo>
                  <a:lnTo>
                    <a:pt x="90" y="294"/>
                  </a:lnTo>
                  <a:lnTo>
                    <a:pt x="90" y="288"/>
                  </a:lnTo>
                  <a:lnTo>
                    <a:pt x="84" y="288"/>
                  </a:lnTo>
                  <a:lnTo>
                    <a:pt x="72" y="282"/>
                  </a:lnTo>
                  <a:lnTo>
                    <a:pt x="66" y="282"/>
                  </a:lnTo>
                  <a:lnTo>
                    <a:pt x="6" y="342"/>
                  </a:lnTo>
                  <a:lnTo>
                    <a:pt x="0" y="354"/>
                  </a:lnTo>
                  <a:lnTo>
                    <a:pt x="0" y="390"/>
                  </a:lnTo>
                  <a:lnTo>
                    <a:pt x="6" y="396"/>
                  </a:lnTo>
                  <a:lnTo>
                    <a:pt x="18" y="396"/>
                  </a:lnTo>
                  <a:lnTo>
                    <a:pt x="12" y="420"/>
                  </a:lnTo>
                  <a:lnTo>
                    <a:pt x="36" y="444"/>
                  </a:lnTo>
                  <a:lnTo>
                    <a:pt x="36" y="462"/>
                  </a:lnTo>
                  <a:lnTo>
                    <a:pt x="12" y="486"/>
                  </a:lnTo>
                  <a:lnTo>
                    <a:pt x="12" y="492"/>
                  </a:lnTo>
                  <a:lnTo>
                    <a:pt x="18" y="504"/>
                  </a:lnTo>
                  <a:lnTo>
                    <a:pt x="24" y="510"/>
                  </a:lnTo>
                  <a:lnTo>
                    <a:pt x="36" y="516"/>
                  </a:lnTo>
                  <a:lnTo>
                    <a:pt x="54" y="522"/>
                  </a:lnTo>
                  <a:lnTo>
                    <a:pt x="66" y="522"/>
                  </a:lnTo>
                  <a:lnTo>
                    <a:pt x="108" y="564"/>
                  </a:lnTo>
                  <a:lnTo>
                    <a:pt x="114" y="576"/>
                  </a:lnTo>
                  <a:lnTo>
                    <a:pt x="132" y="594"/>
                  </a:lnTo>
                  <a:lnTo>
                    <a:pt x="138" y="612"/>
                  </a:lnTo>
                  <a:lnTo>
                    <a:pt x="144" y="624"/>
                  </a:lnTo>
                  <a:lnTo>
                    <a:pt x="144" y="642"/>
                  </a:lnTo>
                  <a:lnTo>
                    <a:pt x="150" y="648"/>
                  </a:lnTo>
                  <a:lnTo>
                    <a:pt x="156" y="660"/>
                  </a:lnTo>
                  <a:lnTo>
                    <a:pt x="168" y="666"/>
                  </a:lnTo>
                  <a:lnTo>
                    <a:pt x="174" y="678"/>
                  </a:lnTo>
                  <a:lnTo>
                    <a:pt x="192" y="696"/>
                  </a:lnTo>
                  <a:lnTo>
                    <a:pt x="204" y="720"/>
                  </a:lnTo>
                  <a:lnTo>
                    <a:pt x="216" y="732"/>
                  </a:lnTo>
                  <a:lnTo>
                    <a:pt x="222" y="744"/>
                  </a:lnTo>
                  <a:lnTo>
                    <a:pt x="234" y="762"/>
                  </a:lnTo>
                  <a:lnTo>
                    <a:pt x="240" y="768"/>
                  </a:lnTo>
                  <a:lnTo>
                    <a:pt x="246" y="780"/>
                  </a:lnTo>
                  <a:lnTo>
                    <a:pt x="252" y="822"/>
                  </a:lnTo>
                  <a:lnTo>
                    <a:pt x="252" y="828"/>
                  </a:lnTo>
                  <a:lnTo>
                    <a:pt x="258" y="834"/>
                  </a:lnTo>
                  <a:lnTo>
                    <a:pt x="264" y="846"/>
                  </a:lnTo>
                  <a:lnTo>
                    <a:pt x="270" y="864"/>
                  </a:lnTo>
                  <a:lnTo>
                    <a:pt x="282" y="876"/>
                  </a:lnTo>
                  <a:lnTo>
                    <a:pt x="288" y="894"/>
                  </a:lnTo>
                  <a:lnTo>
                    <a:pt x="294" y="906"/>
                  </a:lnTo>
                  <a:lnTo>
                    <a:pt x="294" y="918"/>
                  </a:lnTo>
                  <a:lnTo>
                    <a:pt x="300" y="924"/>
                  </a:lnTo>
                  <a:lnTo>
                    <a:pt x="312" y="924"/>
                  </a:lnTo>
                  <a:lnTo>
                    <a:pt x="324" y="936"/>
                  </a:lnTo>
                  <a:lnTo>
                    <a:pt x="324" y="948"/>
                  </a:lnTo>
                  <a:lnTo>
                    <a:pt x="330" y="954"/>
                  </a:lnTo>
                  <a:lnTo>
                    <a:pt x="330" y="966"/>
                  </a:lnTo>
                  <a:lnTo>
                    <a:pt x="336" y="984"/>
                  </a:lnTo>
                  <a:lnTo>
                    <a:pt x="360" y="1014"/>
                  </a:lnTo>
                  <a:lnTo>
                    <a:pt x="378" y="1050"/>
                  </a:lnTo>
                  <a:lnTo>
                    <a:pt x="396" y="1074"/>
                  </a:lnTo>
                  <a:lnTo>
                    <a:pt x="402" y="1086"/>
                  </a:lnTo>
                  <a:lnTo>
                    <a:pt x="408" y="1104"/>
                  </a:lnTo>
                  <a:lnTo>
                    <a:pt x="408" y="1116"/>
                  </a:lnTo>
                  <a:lnTo>
                    <a:pt x="402" y="1128"/>
                  </a:lnTo>
                  <a:lnTo>
                    <a:pt x="402" y="1146"/>
                  </a:lnTo>
                  <a:lnTo>
                    <a:pt x="414" y="1158"/>
                  </a:lnTo>
                  <a:lnTo>
                    <a:pt x="420" y="1170"/>
                  </a:lnTo>
                  <a:lnTo>
                    <a:pt x="444" y="1194"/>
                  </a:lnTo>
                  <a:lnTo>
                    <a:pt x="456" y="1200"/>
                  </a:lnTo>
                  <a:lnTo>
                    <a:pt x="468" y="1212"/>
                  </a:lnTo>
                  <a:lnTo>
                    <a:pt x="474" y="1224"/>
                  </a:lnTo>
                  <a:lnTo>
                    <a:pt x="498" y="1248"/>
                  </a:lnTo>
                  <a:lnTo>
                    <a:pt x="516" y="1260"/>
                  </a:lnTo>
                  <a:lnTo>
                    <a:pt x="546" y="1278"/>
                  </a:lnTo>
                  <a:lnTo>
                    <a:pt x="576" y="1290"/>
                  </a:lnTo>
                  <a:lnTo>
                    <a:pt x="600" y="1302"/>
                  </a:lnTo>
                  <a:lnTo>
                    <a:pt x="642" y="1320"/>
                  </a:lnTo>
                  <a:lnTo>
                    <a:pt x="696" y="1350"/>
                  </a:lnTo>
                  <a:lnTo>
                    <a:pt x="708" y="1362"/>
                  </a:lnTo>
                  <a:lnTo>
                    <a:pt x="726" y="1374"/>
                  </a:lnTo>
                  <a:lnTo>
                    <a:pt x="738" y="1380"/>
                  </a:lnTo>
                  <a:lnTo>
                    <a:pt x="750" y="1392"/>
                  </a:lnTo>
                  <a:lnTo>
                    <a:pt x="774" y="1404"/>
                  </a:lnTo>
                  <a:lnTo>
                    <a:pt x="780" y="1428"/>
                  </a:lnTo>
                  <a:lnTo>
                    <a:pt x="792" y="1434"/>
                  </a:lnTo>
                  <a:lnTo>
                    <a:pt x="798" y="1446"/>
                  </a:lnTo>
                  <a:lnTo>
                    <a:pt x="810" y="1452"/>
                  </a:lnTo>
                  <a:lnTo>
                    <a:pt x="816" y="1458"/>
                  </a:lnTo>
                  <a:lnTo>
                    <a:pt x="840" y="1470"/>
                  </a:lnTo>
                  <a:lnTo>
                    <a:pt x="846" y="1482"/>
                  </a:lnTo>
                  <a:lnTo>
                    <a:pt x="858" y="1488"/>
                  </a:lnTo>
                  <a:lnTo>
                    <a:pt x="894" y="1464"/>
                  </a:lnTo>
                  <a:lnTo>
                    <a:pt x="900" y="1458"/>
                  </a:lnTo>
                  <a:lnTo>
                    <a:pt x="900" y="1440"/>
                  </a:lnTo>
                  <a:lnTo>
                    <a:pt x="894" y="1428"/>
                  </a:lnTo>
                  <a:lnTo>
                    <a:pt x="912" y="1416"/>
                  </a:lnTo>
                  <a:lnTo>
                    <a:pt x="900" y="1392"/>
                  </a:lnTo>
                  <a:lnTo>
                    <a:pt x="918" y="1374"/>
                  </a:lnTo>
                  <a:lnTo>
                    <a:pt x="930" y="1368"/>
                  </a:lnTo>
                  <a:lnTo>
                    <a:pt x="942" y="1344"/>
                  </a:lnTo>
                  <a:lnTo>
                    <a:pt x="942" y="1332"/>
                  </a:lnTo>
                  <a:lnTo>
                    <a:pt x="930" y="1320"/>
                  </a:lnTo>
                  <a:close/>
                </a:path>
              </a:pathLst>
            </a:custGeom>
            <a:solidFill>
              <a:srgbClr val="658B26"/>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90" name="Paraguay" descr="© INSCALE GmbH, 05.05.2010&#10;http://www.presentationload.com/"/>
            <p:cNvSpPr>
              <a:spLocks/>
            </p:cNvSpPr>
            <p:nvPr/>
          </p:nvSpPr>
          <p:spPr bwMode="gray">
            <a:xfrm>
              <a:off x="2463802" y="4702175"/>
              <a:ext cx="241301" cy="273049"/>
            </a:xfrm>
            <a:custGeom>
              <a:avLst/>
              <a:gdLst>
                <a:gd name="T0" fmla="*/ 2147483647 w 600"/>
                <a:gd name="T1" fmla="*/ 2147483647 h 678"/>
                <a:gd name="T2" fmla="*/ 2147483647 w 600"/>
                <a:gd name="T3" fmla="*/ 2147483647 h 678"/>
                <a:gd name="T4" fmla="*/ 2147483647 w 600"/>
                <a:gd name="T5" fmla="*/ 2147483647 h 678"/>
                <a:gd name="T6" fmla="*/ 2147483647 w 600"/>
                <a:gd name="T7" fmla="*/ 2147483647 h 678"/>
                <a:gd name="T8" fmla="*/ 2147483647 w 600"/>
                <a:gd name="T9" fmla="*/ 2147483647 h 678"/>
                <a:gd name="T10" fmla="*/ 2147483647 w 600"/>
                <a:gd name="T11" fmla="*/ 2147483647 h 678"/>
                <a:gd name="T12" fmla="*/ 2147483647 w 600"/>
                <a:gd name="T13" fmla="*/ 2147483647 h 678"/>
                <a:gd name="T14" fmla="*/ 2147483647 w 600"/>
                <a:gd name="T15" fmla="*/ 2147483647 h 678"/>
                <a:gd name="T16" fmla="*/ 2147483647 w 600"/>
                <a:gd name="T17" fmla="*/ 2147483647 h 678"/>
                <a:gd name="T18" fmla="*/ 2147483647 w 600"/>
                <a:gd name="T19" fmla="*/ 2147483647 h 678"/>
                <a:gd name="T20" fmla="*/ 2147483647 w 600"/>
                <a:gd name="T21" fmla="*/ 2147483647 h 678"/>
                <a:gd name="T22" fmla="*/ 2147483647 w 600"/>
                <a:gd name="T23" fmla="*/ 2147483647 h 678"/>
                <a:gd name="T24" fmla="*/ 2147483647 w 600"/>
                <a:gd name="T25" fmla="*/ 2147483647 h 678"/>
                <a:gd name="T26" fmla="*/ 2147483647 w 600"/>
                <a:gd name="T27" fmla="*/ 2147483647 h 678"/>
                <a:gd name="T28" fmla="*/ 2147483647 w 600"/>
                <a:gd name="T29" fmla="*/ 2147483647 h 678"/>
                <a:gd name="T30" fmla="*/ 2147483647 w 600"/>
                <a:gd name="T31" fmla="*/ 2147483647 h 678"/>
                <a:gd name="T32" fmla="*/ 2147483647 w 600"/>
                <a:gd name="T33" fmla="*/ 2147483647 h 678"/>
                <a:gd name="T34" fmla="*/ 2147483647 w 600"/>
                <a:gd name="T35" fmla="*/ 2147483647 h 678"/>
                <a:gd name="T36" fmla="*/ 2147483647 w 600"/>
                <a:gd name="T37" fmla="*/ 2147483647 h 678"/>
                <a:gd name="T38" fmla="*/ 2147483647 w 600"/>
                <a:gd name="T39" fmla="*/ 2147483647 h 678"/>
                <a:gd name="T40" fmla="*/ 2147483647 w 600"/>
                <a:gd name="T41" fmla="*/ 2147483647 h 678"/>
                <a:gd name="T42" fmla="*/ 2147483647 w 600"/>
                <a:gd name="T43" fmla="*/ 2147483647 h 678"/>
                <a:gd name="T44" fmla="*/ 2147483647 w 600"/>
                <a:gd name="T45" fmla="*/ 2147483647 h 678"/>
                <a:gd name="T46" fmla="*/ 2147483647 w 600"/>
                <a:gd name="T47" fmla="*/ 2147483647 h 678"/>
                <a:gd name="T48" fmla="*/ 2147483647 w 600"/>
                <a:gd name="T49" fmla="*/ 2147483647 h 678"/>
                <a:gd name="T50" fmla="*/ 2147483647 w 600"/>
                <a:gd name="T51" fmla="*/ 2147483647 h 678"/>
                <a:gd name="T52" fmla="*/ 2147483647 w 600"/>
                <a:gd name="T53" fmla="*/ 0 h 678"/>
                <a:gd name="T54" fmla="*/ 2147483647 w 600"/>
                <a:gd name="T55" fmla="*/ 2147483647 h 678"/>
                <a:gd name="T56" fmla="*/ 2147483647 w 600"/>
                <a:gd name="T57" fmla="*/ 2147483647 h 678"/>
                <a:gd name="T58" fmla="*/ 0 w 600"/>
                <a:gd name="T59" fmla="*/ 2147483647 h 678"/>
                <a:gd name="T60" fmla="*/ 2147483647 w 600"/>
                <a:gd name="T61" fmla="*/ 2147483647 h 678"/>
                <a:gd name="T62" fmla="*/ 2147483647 w 600"/>
                <a:gd name="T63" fmla="*/ 2147483647 h 678"/>
                <a:gd name="T64" fmla="*/ 2147483647 w 600"/>
                <a:gd name="T65" fmla="*/ 2147483647 h 678"/>
                <a:gd name="T66" fmla="*/ 2147483647 w 600"/>
                <a:gd name="T67" fmla="*/ 2147483647 h 678"/>
                <a:gd name="T68" fmla="*/ 2147483647 w 600"/>
                <a:gd name="T69" fmla="*/ 2147483647 h 678"/>
                <a:gd name="T70" fmla="*/ 2147483647 w 600"/>
                <a:gd name="T71" fmla="*/ 2147483647 h 678"/>
                <a:gd name="T72" fmla="*/ 2147483647 w 600"/>
                <a:gd name="T73" fmla="*/ 2147483647 h 678"/>
                <a:gd name="T74" fmla="*/ 2147483647 w 600"/>
                <a:gd name="T75" fmla="*/ 2147483647 h 678"/>
                <a:gd name="T76" fmla="*/ 2147483647 w 600"/>
                <a:gd name="T77" fmla="*/ 2147483647 h 678"/>
                <a:gd name="T78" fmla="*/ 2147483647 w 600"/>
                <a:gd name="T79" fmla="*/ 2147483647 h 678"/>
                <a:gd name="T80" fmla="*/ 2147483647 w 600"/>
                <a:gd name="T81" fmla="*/ 2147483647 h 678"/>
                <a:gd name="T82" fmla="*/ 2147483647 w 600"/>
                <a:gd name="T83" fmla="*/ 2147483647 h 678"/>
                <a:gd name="T84" fmla="*/ 2147483647 w 600"/>
                <a:gd name="T85" fmla="*/ 2147483647 h 678"/>
                <a:gd name="T86" fmla="*/ 2147483647 w 600"/>
                <a:gd name="T87" fmla="*/ 2147483647 h 678"/>
                <a:gd name="T88" fmla="*/ 2147483647 w 600"/>
                <a:gd name="T89" fmla="*/ 2147483647 h 678"/>
                <a:gd name="T90" fmla="*/ 2147483647 w 600"/>
                <a:gd name="T91" fmla="*/ 2147483647 h 678"/>
                <a:gd name="T92" fmla="*/ 2147483647 w 600"/>
                <a:gd name="T93" fmla="*/ 2147483647 h 678"/>
                <a:gd name="T94" fmla="*/ 2147483647 w 600"/>
                <a:gd name="T95" fmla="*/ 2147483647 h 678"/>
                <a:gd name="T96" fmla="*/ 2147483647 w 600"/>
                <a:gd name="T97" fmla="*/ 2147483647 h 678"/>
                <a:gd name="T98" fmla="*/ 2147483647 w 600"/>
                <a:gd name="T99" fmla="*/ 2147483647 h 678"/>
                <a:gd name="T100" fmla="*/ 2147483647 w 600"/>
                <a:gd name="T101" fmla="*/ 2147483647 h 678"/>
                <a:gd name="T102" fmla="*/ 2147483647 w 600"/>
                <a:gd name="T103" fmla="*/ 2147483647 h 678"/>
                <a:gd name="T104" fmla="*/ 2147483647 w 600"/>
                <a:gd name="T105" fmla="*/ 2147483647 h 678"/>
                <a:gd name="T106" fmla="*/ 2147483647 w 600"/>
                <a:gd name="T107" fmla="*/ 2147483647 h 678"/>
                <a:gd name="T108" fmla="*/ 2147483647 w 600"/>
                <a:gd name="T109" fmla="*/ 2147483647 h 678"/>
                <a:gd name="T110" fmla="*/ 2147483647 w 600"/>
                <a:gd name="T111" fmla="*/ 2147483647 h 678"/>
                <a:gd name="T112" fmla="*/ 2147483647 w 600"/>
                <a:gd name="T113" fmla="*/ 2147483647 h 678"/>
                <a:gd name="T114" fmla="*/ 2147483647 w 600"/>
                <a:gd name="T115" fmla="*/ 2147483647 h 678"/>
                <a:gd name="T116" fmla="*/ 2147483647 w 600"/>
                <a:gd name="T117" fmla="*/ 2147483647 h 678"/>
                <a:gd name="T118" fmla="*/ 2147483647 w 600"/>
                <a:gd name="T119" fmla="*/ 2147483647 h 67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00"/>
                <a:gd name="T181" fmla="*/ 0 h 678"/>
                <a:gd name="T182" fmla="*/ 600 w 600"/>
                <a:gd name="T183" fmla="*/ 678 h 67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00" h="678">
                  <a:moveTo>
                    <a:pt x="480" y="660"/>
                  </a:moveTo>
                  <a:lnTo>
                    <a:pt x="492" y="678"/>
                  </a:lnTo>
                  <a:lnTo>
                    <a:pt x="492" y="660"/>
                  </a:lnTo>
                  <a:lnTo>
                    <a:pt x="498" y="654"/>
                  </a:lnTo>
                  <a:lnTo>
                    <a:pt x="510" y="654"/>
                  </a:lnTo>
                  <a:lnTo>
                    <a:pt x="516" y="660"/>
                  </a:lnTo>
                  <a:lnTo>
                    <a:pt x="516" y="666"/>
                  </a:lnTo>
                  <a:lnTo>
                    <a:pt x="522" y="660"/>
                  </a:lnTo>
                  <a:lnTo>
                    <a:pt x="534" y="636"/>
                  </a:lnTo>
                  <a:lnTo>
                    <a:pt x="546" y="624"/>
                  </a:lnTo>
                  <a:lnTo>
                    <a:pt x="552" y="624"/>
                  </a:lnTo>
                  <a:lnTo>
                    <a:pt x="558" y="618"/>
                  </a:lnTo>
                  <a:lnTo>
                    <a:pt x="570" y="612"/>
                  </a:lnTo>
                  <a:lnTo>
                    <a:pt x="576" y="600"/>
                  </a:lnTo>
                  <a:lnTo>
                    <a:pt x="588" y="594"/>
                  </a:lnTo>
                  <a:lnTo>
                    <a:pt x="588" y="516"/>
                  </a:lnTo>
                  <a:lnTo>
                    <a:pt x="582" y="498"/>
                  </a:lnTo>
                  <a:lnTo>
                    <a:pt x="582" y="486"/>
                  </a:lnTo>
                  <a:lnTo>
                    <a:pt x="588" y="474"/>
                  </a:lnTo>
                  <a:lnTo>
                    <a:pt x="588" y="468"/>
                  </a:lnTo>
                  <a:lnTo>
                    <a:pt x="594" y="462"/>
                  </a:lnTo>
                  <a:lnTo>
                    <a:pt x="594" y="432"/>
                  </a:lnTo>
                  <a:lnTo>
                    <a:pt x="600" y="414"/>
                  </a:lnTo>
                  <a:lnTo>
                    <a:pt x="600" y="396"/>
                  </a:lnTo>
                  <a:lnTo>
                    <a:pt x="594" y="384"/>
                  </a:lnTo>
                  <a:lnTo>
                    <a:pt x="582" y="372"/>
                  </a:lnTo>
                  <a:lnTo>
                    <a:pt x="570" y="366"/>
                  </a:lnTo>
                  <a:lnTo>
                    <a:pt x="558" y="366"/>
                  </a:lnTo>
                  <a:lnTo>
                    <a:pt x="540" y="384"/>
                  </a:lnTo>
                  <a:lnTo>
                    <a:pt x="528" y="384"/>
                  </a:lnTo>
                  <a:lnTo>
                    <a:pt x="516" y="378"/>
                  </a:lnTo>
                  <a:lnTo>
                    <a:pt x="504" y="354"/>
                  </a:lnTo>
                  <a:lnTo>
                    <a:pt x="504" y="336"/>
                  </a:lnTo>
                  <a:lnTo>
                    <a:pt x="498" y="318"/>
                  </a:lnTo>
                  <a:lnTo>
                    <a:pt x="498" y="294"/>
                  </a:lnTo>
                  <a:lnTo>
                    <a:pt x="492" y="276"/>
                  </a:lnTo>
                  <a:lnTo>
                    <a:pt x="492" y="252"/>
                  </a:lnTo>
                  <a:lnTo>
                    <a:pt x="486" y="246"/>
                  </a:lnTo>
                  <a:lnTo>
                    <a:pt x="474" y="240"/>
                  </a:lnTo>
                  <a:lnTo>
                    <a:pt x="402" y="240"/>
                  </a:lnTo>
                  <a:lnTo>
                    <a:pt x="360" y="234"/>
                  </a:lnTo>
                  <a:lnTo>
                    <a:pt x="324" y="222"/>
                  </a:lnTo>
                  <a:lnTo>
                    <a:pt x="318" y="216"/>
                  </a:lnTo>
                  <a:lnTo>
                    <a:pt x="312" y="204"/>
                  </a:lnTo>
                  <a:lnTo>
                    <a:pt x="312" y="162"/>
                  </a:lnTo>
                  <a:lnTo>
                    <a:pt x="318" y="150"/>
                  </a:lnTo>
                  <a:lnTo>
                    <a:pt x="318" y="132"/>
                  </a:lnTo>
                  <a:lnTo>
                    <a:pt x="306" y="132"/>
                  </a:lnTo>
                  <a:lnTo>
                    <a:pt x="306" y="96"/>
                  </a:lnTo>
                  <a:lnTo>
                    <a:pt x="294" y="90"/>
                  </a:lnTo>
                  <a:lnTo>
                    <a:pt x="288" y="84"/>
                  </a:lnTo>
                  <a:lnTo>
                    <a:pt x="288" y="78"/>
                  </a:lnTo>
                  <a:lnTo>
                    <a:pt x="270" y="42"/>
                  </a:lnTo>
                  <a:lnTo>
                    <a:pt x="216" y="0"/>
                  </a:lnTo>
                  <a:lnTo>
                    <a:pt x="138" y="12"/>
                  </a:lnTo>
                  <a:lnTo>
                    <a:pt x="36" y="30"/>
                  </a:lnTo>
                  <a:lnTo>
                    <a:pt x="30" y="60"/>
                  </a:lnTo>
                  <a:lnTo>
                    <a:pt x="18" y="72"/>
                  </a:lnTo>
                  <a:lnTo>
                    <a:pt x="6" y="78"/>
                  </a:lnTo>
                  <a:lnTo>
                    <a:pt x="0" y="84"/>
                  </a:lnTo>
                  <a:lnTo>
                    <a:pt x="0" y="96"/>
                  </a:lnTo>
                  <a:lnTo>
                    <a:pt x="12" y="120"/>
                  </a:lnTo>
                  <a:lnTo>
                    <a:pt x="12" y="126"/>
                  </a:lnTo>
                  <a:lnTo>
                    <a:pt x="18" y="132"/>
                  </a:lnTo>
                  <a:lnTo>
                    <a:pt x="18" y="156"/>
                  </a:lnTo>
                  <a:lnTo>
                    <a:pt x="6" y="228"/>
                  </a:lnTo>
                  <a:lnTo>
                    <a:pt x="6" y="246"/>
                  </a:lnTo>
                  <a:lnTo>
                    <a:pt x="24" y="264"/>
                  </a:lnTo>
                  <a:lnTo>
                    <a:pt x="24" y="270"/>
                  </a:lnTo>
                  <a:lnTo>
                    <a:pt x="30" y="276"/>
                  </a:lnTo>
                  <a:lnTo>
                    <a:pt x="36" y="288"/>
                  </a:lnTo>
                  <a:lnTo>
                    <a:pt x="48" y="294"/>
                  </a:lnTo>
                  <a:lnTo>
                    <a:pt x="54" y="306"/>
                  </a:lnTo>
                  <a:lnTo>
                    <a:pt x="60" y="312"/>
                  </a:lnTo>
                  <a:lnTo>
                    <a:pt x="84" y="324"/>
                  </a:lnTo>
                  <a:lnTo>
                    <a:pt x="102" y="342"/>
                  </a:lnTo>
                  <a:lnTo>
                    <a:pt x="114" y="348"/>
                  </a:lnTo>
                  <a:lnTo>
                    <a:pt x="120" y="366"/>
                  </a:lnTo>
                  <a:lnTo>
                    <a:pt x="126" y="366"/>
                  </a:lnTo>
                  <a:lnTo>
                    <a:pt x="132" y="372"/>
                  </a:lnTo>
                  <a:lnTo>
                    <a:pt x="168" y="390"/>
                  </a:lnTo>
                  <a:lnTo>
                    <a:pt x="198" y="390"/>
                  </a:lnTo>
                  <a:lnTo>
                    <a:pt x="210" y="396"/>
                  </a:lnTo>
                  <a:lnTo>
                    <a:pt x="216" y="402"/>
                  </a:lnTo>
                  <a:lnTo>
                    <a:pt x="228" y="408"/>
                  </a:lnTo>
                  <a:lnTo>
                    <a:pt x="234" y="414"/>
                  </a:lnTo>
                  <a:lnTo>
                    <a:pt x="240" y="414"/>
                  </a:lnTo>
                  <a:lnTo>
                    <a:pt x="246" y="420"/>
                  </a:lnTo>
                  <a:lnTo>
                    <a:pt x="258" y="426"/>
                  </a:lnTo>
                  <a:lnTo>
                    <a:pt x="276" y="438"/>
                  </a:lnTo>
                  <a:lnTo>
                    <a:pt x="312" y="456"/>
                  </a:lnTo>
                  <a:lnTo>
                    <a:pt x="318" y="462"/>
                  </a:lnTo>
                  <a:lnTo>
                    <a:pt x="330" y="462"/>
                  </a:lnTo>
                  <a:lnTo>
                    <a:pt x="342" y="468"/>
                  </a:lnTo>
                  <a:lnTo>
                    <a:pt x="360" y="474"/>
                  </a:lnTo>
                  <a:lnTo>
                    <a:pt x="372" y="480"/>
                  </a:lnTo>
                  <a:lnTo>
                    <a:pt x="378" y="486"/>
                  </a:lnTo>
                  <a:lnTo>
                    <a:pt x="372" y="492"/>
                  </a:lnTo>
                  <a:lnTo>
                    <a:pt x="372" y="504"/>
                  </a:lnTo>
                  <a:lnTo>
                    <a:pt x="366" y="510"/>
                  </a:lnTo>
                  <a:lnTo>
                    <a:pt x="360" y="522"/>
                  </a:lnTo>
                  <a:lnTo>
                    <a:pt x="366" y="528"/>
                  </a:lnTo>
                  <a:lnTo>
                    <a:pt x="372" y="540"/>
                  </a:lnTo>
                  <a:lnTo>
                    <a:pt x="372" y="546"/>
                  </a:lnTo>
                  <a:lnTo>
                    <a:pt x="366" y="552"/>
                  </a:lnTo>
                  <a:lnTo>
                    <a:pt x="348" y="552"/>
                  </a:lnTo>
                  <a:lnTo>
                    <a:pt x="348" y="588"/>
                  </a:lnTo>
                  <a:lnTo>
                    <a:pt x="342" y="594"/>
                  </a:lnTo>
                  <a:lnTo>
                    <a:pt x="336" y="606"/>
                  </a:lnTo>
                  <a:lnTo>
                    <a:pt x="330" y="612"/>
                  </a:lnTo>
                  <a:lnTo>
                    <a:pt x="324" y="624"/>
                  </a:lnTo>
                  <a:lnTo>
                    <a:pt x="324" y="636"/>
                  </a:lnTo>
                  <a:lnTo>
                    <a:pt x="330" y="642"/>
                  </a:lnTo>
                  <a:lnTo>
                    <a:pt x="354" y="642"/>
                  </a:lnTo>
                  <a:lnTo>
                    <a:pt x="366" y="636"/>
                  </a:lnTo>
                  <a:lnTo>
                    <a:pt x="372" y="636"/>
                  </a:lnTo>
                  <a:lnTo>
                    <a:pt x="384" y="642"/>
                  </a:lnTo>
                  <a:lnTo>
                    <a:pt x="390" y="648"/>
                  </a:lnTo>
                  <a:lnTo>
                    <a:pt x="402" y="654"/>
                  </a:lnTo>
                  <a:lnTo>
                    <a:pt x="420" y="660"/>
                  </a:lnTo>
                  <a:lnTo>
                    <a:pt x="480" y="660"/>
                  </a:lnTo>
                  <a:close/>
                </a:path>
              </a:pathLst>
            </a:custGeom>
            <a:solidFill>
              <a:srgbClr val="658B26"/>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91" name="Papua New Guinea" descr="© INSCALE GmbH, 05.05.2010&#10;http://www.presentationload.com/"/>
            <p:cNvSpPr>
              <a:spLocks noEditPoints="1"/>
            </p:cNvSpPr>
            <p:nvPr/>
          </p:nvSpPr>
          <p:spPr bwMode="gray">
            <a:xfrm>
              <a:off x="8235958" y="4138612"/>
              <a:ext cx="438151" cy="292100"/>
            </a:xfrm>
            <a:custGeom>
              <a:avLst/>
              <a:gdLst>
                <a:gd name="T0" fmla="*/ 2147483647 w 1086"/>
                <a:gd name="T1" fmla="*/ 2147483647 h 726"/>
                <a:gd name="T2" fmla="*/ 2147483647 w 1086"/>
                <a:gd name="T3" fmla="*/ 2147483647 h 726"/>
                <a:gd name="T4" fmla="*/ 2147483647 w 1086"/>
                <a:gd name="T5" fmla="*/ 2147483647 h 726"/>
                <a:gd name="T6" fmla="*/ 2147483647 w 1086"/>
                <a:gd name="T7" fmla="*/ 2147483647 h 726"/>
                <a:gd name="T8" fmla="*/ 2147483647 w 1086"/>
                <a:gd name="T9" fmla="*/ 2147483647 h 726"/>
                <a:gd name="T10" fmla="*/ 2147483647 w 1086"/>
                <a:gd name="T11" fmla="*/ 2147483647 h 726"/>
                <a:gd name="T12" fmla="*/ 2147483647 w 1086"/>
                <a:gd name="T13" fmla="*/ 2147483647 h 726"/>
                <a:gd name="T14" fmla="*/ 2147483647 w 1086"/>
                <a:gd name="T15" fmla="*/ 2147483647 h 726"/>
                <a:gd name="T16" fmla="*/ 2147483647 w 1086"/>
                <a:gd name="T17" fmla="*/ 2147483647 h 726"/>
                <a:gd name="T18" fmla="*/ 2147483647 w 1086"/>
                <a:gd name="T19" fmla="*/ 2147483647 h 726"/>
                <a:gd name="T20" fmla="*/ 2147483647 w 1086"/>
                <a:gd name="T21" fmla="*/ 2147483647 h 726"/>
                <a:gd name="T22" fmla="*/ 2147483647 w 1086"/>
                <a:gd name="T23" fmla="*/ 2147483647 h 726"/>
                <a:gd name="T24" fmla="*/ 2147483647 w 1086"/>
                <a:gd name="T25" fmla="*/ 2147483647 h 726"/>
                <a:gd name="T26" fmla="*/ 2147483647 w 1086"/>
                <a:gd name="T27" fmla="*/ 2147483647 h 726"/>
                <a:gd name="T28" fmla="*/ 2147483647 w 1086"/>
                <a:gd name="T29" fmla="*/ 2147483647 h 726"/>
                <a:gd name="T30" fmla="*/ 2147483647 w 1086"/>
                <a:gd name="T31" fmla="*/ 2147483647 h 726"/>
                <a:gd name="T32" fmla="*/ 2147483647 w 1086"/>
                <a:gd name="T33" fmla="*/ 2147483647 h 726"/>
                <a:gd name="T34" fmla="*/ 2147483647 w 1086"/>
                <a:gd name="T35" fmla="*/ 2147483647 h 726"/>
                <a:gd name="T36" fmla="*/ 2147483647 w 1086"/>
                <a:gd name="T37" fmla="*/ 2147483647 h 726"/>
                <a:gd name="T38" fmla="*/ 2147483647 w 1086"/>
                <a:gd name="T39" fmla="*/ 2147483647 h 726"/>
                <a:gd name="T40" fmla="*/ 2147483647 w 1086"/>
                <a:gd name="T41" fmla="*/ 2147483647 h 726"/>
                <a:gd name="T42" fmla="*/ 2147483647 w 1086"/>
                <a:gd name="T43" fmla="*/ 2147483647 h 726"/>
                <a:gd name="T44" fmla="*/ 2147483647 w 1086"/>
                <a:gd name="T45" fmla="*/ 2147483647 h 726"/>
                <a:gd name="T46" fmla="*/ 2147483647 w 1086"/>
                <a:gd name="T47" fmla="*/ 2147483647 h 726"/>
                <a:gd name="T48" fmla="*/ 2147483647 w 1086"/>
                <a:gd name="T49" fmla="*/ 2147483647 h 726"/>
                <a:gd name="T50" fmla="*/ 2147483647 w 1086"/>
                <a:gd name="T51" fmla="*/ 2147483647 h 726"/>
                <a:gd name="T52" fmla="*/ 2147483647 w 1086"/>
                <a:gd name="T53" fmla="*/ 2147483647 h 726"/>
                <a:gd name="T54" fmla="*/ 2147483647 w 1086"/>
                <a:gd name="T55" fmla="*/ 2147483647 h 726"/>
                <a:gd name="T56" fmla="*/ 2147483647 w 1086"/>
                <a:gd name="T57" fmla="*/ 2147483647 h 726"/>
                <a:gd name="T58" fmla="*/ 2147483647 w 1086"/>
                <a:gd name="T59" fmla="*/ 2147483647 h 726"/>
                <a:gd name="T60" fmla="*/ 2147483647 w 1086"/>
                <a:gd name="T61" fmla="*/ 2147483647 h 726"/>
                <a:gd name="T62" fmla="*/ 2147483647 w 1086"/>
                <a:gd name="T63" fmla="*/ 2147483647 h 726"/>
                <a:gd name="T64" fmla="*/ 2147483647 w 1086"/>
                <a:gd name="T65" fmla="*/ 2147483647 h 726"/>
                <a:gd name="T66" fmla="*/ 2147483647 w 1086"/>
                <a:gd name="T67" fmla="*/ 2147483647 h 726"/>
                <a:gd name="T68" fmla="*/ 2147483647 w 1086"/>
                <a:gd name="T69" fmla="*/ 2147483647 h 726"/>
                <a:gd name="T70" fmla="*/ 2147483647 w 1086"/>
                <a:gd name="T71" fmla="*/ 2147483647 h 726"/>
                <a:gd name="T72" fmla="*/ 2147483647 w 1086"/>
                <a:gd name="T73" fmla="*/ 2147483647 h 726"/>
                <a:gd name="T74" fmla="*/ 2147483647 w 1086"/>
                <a:gd name="T75" fmla="*/ 2147483647 h 726"/>
                <a:gd name="T76" fmla="*/ 2147483647 w 1086"/>
                <a:gd name="T77" fmla="*/ 2147483647 h 726"/>
                <a:gd name="T78" fmla="*/ 2147483647 w 1086"/>
                <a:gd name="T79" fmla="*/ 2147483647 h 726"/>
                <a:gd name="T80" fmla="*/ 2147483647 w 1086"/>
                <a:gd name="T81" fmla="*/ 2147483647 h 726"/>
                <a:gd name="T82" fmla="*/ 2147483647 w 1086"/>
                <a:gd name="T83" fmla="*/ 2147483647 h 726"/>
                <a:gd name="T84" fmla="*/ 2147483647 w 1086"/>
                <a:gd name="T85" fmla="*/ 2147483647 h 726"/>
                <a:gd name="T86" fmla="*/ 2147483647 w 1086"/>
                <a:gd name="T87" fmla="*/ 2147483647 h 726"/>
                <a:gd name="T88" fmla="*/ 2147483647 w 1086"/>
                <a:gd name="T89" fmla="*/ 2147483647 h 726"/>
                <a:gd name="T90" fmla="*/ 2147483647 w 1086"/>
                <a:gd name="T91" fmla="*/ 2147483647 h 726"/>
                <a:gd name="T92" fmla="*/ 2147483647 w 1086"/>
                <a:gd name="T93" fmla="*/ 2147483647 h 726"/>
                <a:gd name="T94" fmla="*/ 2147483647 w 1086"/>
                <a:gd name="T95" fmla="*/ 2147483647 h 726"/>
                <a:gd name="T96" fmla="*/ 2147483647 w 1086"/>
                <a:gd name="T97" fmla="*/ 2147483647 h 726"/>
                <a:gd name="T98" fmla="*/ 2147483647 w 1086"/>
                <a:gd name="T99" fmla="*/ 2147483647 h 726"/>
                <a:gd name="T100" fmla="*/ 2147483647 w 1086"/>
                <a:gd name="T101" fmla="*/ 2147483647 h 726"/>
                <a:gd name="T102" fmla="*/ 2147483647 w 1086"/>
                <a:gd name="T103" fmla="*/ 2147483647 h 726"/>
                <a:gd name="T104" fmla="*/ 2147483647 w 1086"/>
                <a:gd name="T105" fmla="*/ 2147483647 h 726"/>
                <a:gd name="T106" fmla="*/ 2147483647 w 1086"/>
                <a:gd name="T107" fmla="*/ 2147483647 h 726"/>
                <a:gd name="T108" fmla="*/ 2147483647 w 1086"/>
                <a:gd name="T109" fmla="*/ 2147483647 h 726"/>
                <a:gd name="T110" fmla="*/ 2147483647 w 1086"/>
                <a:gd name="T111" fmla="*/ 2147483647 h 726"/>
                <a:gd name="T112" fmla="*/ 2147483647 w 1086"/>
                <a:gd name="T113" fmla="*/ 2147483647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86"/>
                <a:gd name="T172" fmla="*/ 0 h 726"/>
                <a:gd name="T173" fmla="*/ 1086 w 1086"/>
                <a:gd name="T174" fmla="*/ 726 h 7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86" h="726">
                  <a:moveTo>
                    <a:pt x="486" y="0"/>
                  </a:moveTo>
                  <a:lnTo>
                    <a:pt x="462" y="0"/>
                  </a:lnTo>
                  <a:lnTo>
                    <a:pt x="450" y="6"/>
                  </a:lnTo>
                  <a:lnTo>
                    <a:pt x="444" y="12"/>
                  </a:lnTo>
                  <a:lnTo>
                    <a:pt x="432" y="18"/>
                  </a:lnTo>
                  <a:lnTo>
                    <a:pt x="462" y="36"/>
                  </a:lnTo>
                  <a:lnTo>
                    <a:pt x="474" y="36"/>
                  </a:lnTo>
                  <a:lnTo>
                    <a:pt x="486" y="30"/>
                  </a:lnTo>
                  <a:lnTo>
                    <a:pt x="498" y="18"/>
                  </a:lnTo>
                  <a:lnTo>
                    <a:pt x="492" y="6"/>
                  </a:lnTo>
                  <a:lnTo>
                    <a:pt x="486" y="0"/>
                  </a:lnTo>
                  <a:close/>
                  <a:moveTo>
                    <a:pt x="756" y="216"/>
                  </a:moveTo>
                  <a:lnTo>
                    <a:pt x="750" y="222"/>
                  </a:lnTo>
                  <a:lnTo>
                    <a:pt x="750" y="228"/>
                  </a:lnTo>
                  <a:lnTo>
                    <a:pt x="756" y="234"/>
                  </a:lnTo>
                  <a:lnTo>
                    <a:pt x="768" y="240"/>
                  </a:lnTo>
                  <a:lnTo>
                    <a:pt x="774" y="246"/>
                  </a:lnTo>
                  <a:lnTo>
                    <a:pt x="774" y="264"/>
                  </a:lnTo>
                  <a:lnTo>
                    <a:pt x="702" y="300"/>
                  </a:lnTo>
                  <a:lnTo>
                    <a:pt x="666" y="300"/>
                  </a:lnTo>
                  <a:lnTo>
                    <a:pt x="630" y="312"/>
                  </a:lnTo>
                  <a:lnTo>
                    <a:pt x="594" y="330"/>
                  </a:lnTo>
                  <a:lnTo>
                    <a:pt x="588" y="336"/>
                  </a:lnTo>
                  <a:lnTo>
                    <a:pt x="570" y="336"/>
                  </a:lnTo>
                  <a:lnTo>
                    <a:pt x="564" y="342"/>
                  </a:lnTo>
                  <a:lnTo>
                    <a:pt x="588" y="378"/>
                  </a:lnTo>
                  <a:lnTo>
                    <a:pt x="684" y="378"/>
                  </a:lnTo>
                  <a:lnTo>
                    <a:pt x="702" y="366"/>
                  </a:lnTo>
                  <a:lnTo>
                    <a:pt x="738" y="366"/>
                  </a:lnTo>
                  <a:lnTo>
                    <a:pt x="750" y="360"/>
                  </a:lnTo>
                  <a:lnTo>
                    <a:pt x="774" y="336"/>
                  </a:lnTo>
                  <a:lnTo>
                    <a:pt x="774" y="330"/>
                  </a:lnTo>
                  <a:lnTo>
                    <a:pt x="804" y="324"/>
                  </a:lnTo>
                  <a:lnTo>
                    <a:pt x="798" y="300"/>
                  </a:lnTo>
                  <a:lnTo>
                    <a:pt x="822" y="300"/>
                  </a:lnTo>
                  <a:lnTo>
                    <a:pt x="822" y="288"/>
                  </a:lnTo>
                  <a:lnTo>
                    <a:pt x="828" y="258"/>
                  </a:lnTo>
                  <a:lnTo>
                    <a:pt x="828" y="228"/>
                  </a:lnTo>
                  <a:lnTo>
                    <a:pt x="822" y="198"/>
                  </a:lnTo>
                  <a:lnTo>
                    <a:pt x="816" y="192"/>
                  </a:lnTo>
                  <a:lnTo>
                    <a:pt x="804" y="186"/>
                  </a:lnTo>
                  <a:lnTo>
                    <a:pt x="792" y="192"/>
                  </a:lnTo>
                  <a:lnTo>
                    <a:pt x="786" y="198"/>
                  </a:lnTo>
                  <a:lnTo>
                    <a:pt x="762" y="210"/>
                  </a:lnTo>
                  <a:lnTo>
                    <a:pt x="756" y="216"/>
                  </a:lnTo>
                  <a:close/>
                  <a:moveTo>
                    <a:pt x="834" y="132"/>
                  </a:moveTo>
                  <a:lnTo>
                    <a:pt x="822" y="132"/>
                  </a:lnTo>
                  <a:lnTo>
                    <a:pt x="816" y="120"/>
                  </a:lnTo>
                  <a:lnTo>
                    <a:pt x="804" y="108"/>
                  </a:lnTo>
                  <a:lnTo>
                    <a:pt x="792" y="102"/>
                  </a:lnTo>
                  <a:lnTo>
                    <a:pt x="786" y="90"/>
                  </a:lnTo>
                  <a:lnTo>
                    <a:pt x="774" y="78"/>
                  </a:lnTo>
                  <a:lnTo>
                    <a:pt x="768" y="78"/>
                  </a:lnTo>
                  <a:lnTo>
                    <a:pt x="762" y="72"/>
                  </a:lnTo>
                  <a:lnTo>
                    <a:pt x="756" y="72"/>
                  </a:lnTo>
                  <a:lnTo>
                    <a:pt x="732" y="36"/>
                  </a:lnTo>
                  <a:lnTo>
                    <a:pt x="720" y="84"/>
                  </a:lnTo>
                  <a:lnTo>
                    <a:pt x="762" y="96"/>
                  </a:lnTo>
                  <a:lnTo>
                    <a:pt x="816" y="150"/>
                  </a:lnTo>
                  <a:lnTo>
                    <a:pt x="828" y="150"/>
                  </a:lnTo>
                  <a:lnTo>
                    <a:pt x="834" y="156"/>
                  </a:lnTo>
                  <a:lnTo>
                    <a:pt x="846" y="162"/>
                  </a:lnTo>
                  <a:lnTo>
                    <a:pt x="852" y="174"/>
                  </a:lnTo>
                  <a:lnTo>
                    <a:pt x="852" y="180"/>
                  </a:lnTo>
                  <a:lnTo>
                    <a:pt x="858" y="192"/>
                  </a:lnTo>
                  <a:lnTo>
                    <a:pt x="852" y="204"/>
                  </a:lnTo>
                  <a:lnTo>
                    <a:pt x="852" y="240"/>
                  </a:lnTo>
                  <a:lnTo>
                    <a:pt x="858" y="252"/>
                  </a:lnTo>
                  <a:lnTo>
                    <a:pt x="864" y="258"/>
                  </a:lnTo>
                  <a:lnTo>
                    <a:pt x="882" y="258"/>
                  </a:lnTo>
                  <a:lnTo>
                    <a:pt x="894" y="246"/>
                  </a:lnTo>
                  <a:lnTo>
                    <a:pt x="900" y="234"/>
                  </a:lnTo>
                  <a:lnTo>
                    <a:pt x="900" y="222"/>
                  </a:lnTo>
                  <a:lnTo>
                    <a:pt x="888" y="186"/>
                  </a:lnTo>
                  <a:lnTo>
                    <a:pt x="876" y="174"/>
                  </a:lnTo>
                  <a:lnTo>
                    <a:pt x="864" y="156"/>
                  </a:lnTo>
                  <a:lnTo>
                    <a:pt x="852" y="150"/>
                  </a:lnTo>
                  <a:lnTo>
                    <a:pt x="846" y="138"/>
                  </a:lnTo>
                  <a:lnTo>
                    <a:pt x="834" y="132"/>
                  </a:lnTo>
                  <a:close/>
                  <a:moveTo>
                    <a:pt x="1086" y="360"/>
                  </a:moveTo>
                  <a:lnTo>
                    <a:pt x="1020" y="294"/>
                  </a:lnTo>
                  <a:lnTo>
                    <a:pt x="1020" y="288"/>
                  </a:lnTo>
                  <a:lnTo>
                    <a:pt x="1002" y="270"/>
                  </a:lnTo>
                  <a:lnTo>
                    <a:pt x="984" y="270"/>
                  </a:lnTo>
                  <a:lnTo>
                    <a:pt x="978" y="276"/>
                  </a:lnTo>
                  <a:lnTo>
                    <a:pt x="978" y="300"/>
                  </a:lnTo>
                  <a:lnTo>
                    <a:pt x="996" y="330"/>
                  </a:lnTo>
                  <a:lnTo>
                    <a:pt x="1020" y="378"/>
                  </a:lnTo>
                  <a:lnTo>
                    <a:pt x="1086" y="438"/>
                  </a:lnTo>
                  <a:lnTo>
                    <a:pt x="1086" y="360"/>
                  </a:lnTo>
                  <a:close/>
                  <a:moveTo>
                    <a:pt x="672" y="672"/>
                  </a:moveTo>
                  <a:lnTo>
                    <a:pt x="630" y="642"/>
                  </a:lnTo>
                  <a:lnTo>
                    <a:pt x="648" y="630"/>
                  </a:lnTo>
                  <a:lnTo>
                    <a:pt x="636" y="630"/>
                  </a:lnTo>
                  <a:lnTo>
                    <a:pt x="624" y="624"/>
                  </a:lnTo>
                  <a:lnTo>
                    <a:pt x="612" y="624"/>
                  </a:lnTo>
                  <a:lnTo>
                    <a:pt x="600" y="618"/>
                  </a:lnTo>
                  <a:lnTo>
                    <a:pt x="594" y="606"/>
                  </a:lnTo>
                  <a:lnTo>
                    <a:pt x="594" y="594"/>
                  </a:lnTo>
                  <a:lnTo>
                    <a:pt x="600" y="582"/>
                  </a:lnTo>
                  <a:lnTo>
                    <a:pt x="600" y="564"/>
                  </a:lnTo>
                  <a:lnTo>
                    <a:pt x="588" y="570"/>
                  </a:lnTo>
                  <a:lnTo>
                    <a:pt x="582" y="570"/>
                  </a:lnTo>
                  <a:lnTo>
                    <a:pt x="570" y="576"/>
                  </a:lnTo>
                  <a:lnTo>
                    <a:pt x="564" y="576"/>
                  </a:lnTo>
                  <a:lnTo>
                    <a:pt x="552" y="582"/>
                  </a:lnTo>
                  <a:lnTo>
                    <a:pt x="552" y="552"/>
                  </a:lnTo>
                  <a:lnTo>
                    <a:pt x="528" y="540"/>
                  </a:lnTo>
                  <a:lnTo>
                    <a:pt x="528" y="492"/>
                  </a:lnTo>
                  <a:lnTo>
                    <a:pt x="474" y="456"/>
                  </a:lnTo>
                  <a:lnTo>
                    <a:pt x="450" y="402"/>
                  </a:lnTo>
                  <a:lnTo>
                    <a:pt x="474" y="390"/>
                  </a:lnTo>
                  <a:lnTo>
                    <a:pt x="480" y="384"/>
                  </a:lnTo>
                  <a:lnTo>
                    <a:pt x="492" y="378"/>
                  </a:lnTo>
                  <a:lnTo>
                    <a:pt x="504" y="366"/>
                  </a:lnTo>
                  <a:lnTo>
                    <a:pt x="504" y="360"/>
                  </a:lnTo>
                  <a:lnTo>
                    <a:pt x="492" y="336"/>
                  </a:lnTo>
                  <a:lnTo>
                    <a:pt x="468" y="324"/>
                  </a:lnTo>
                  <a:lnTo>
                    <a:pt x="462" y="318"/>
                  </a:lnTo>
                  <a:lnTo>
                    <a:pt x="456" y="318"/>
                  </a:lnTo>
                  <a:lnTo>
                    <a:pt x="450" y="312"/>
                  </a:lnTo>
                  <a:lnTo>
                    <a:pt x="438" y="312"/>
                  </a:lnTo>
                  <a:lnTo>
                    <a:pt x="402" y="300"/>
                  </a:lnTo>
                  <a:lnTo>
                    <a:pt x="390" y="300"/>
                  </a:lnTo>
                  <a:lnTo>
                    <a:pt x="378" y="294"/>
                  </a:lnTo>
                  <a:lnTo>
                    <a:pt x="372" y="294"/>
                  </a:lnTo>
                  <a:lnTo>
                    <a:pt x="372" y="234"/>
                  </a:lnTo>
                  <a:lnTo>
                    <a:pt x="366" y="222"/>
                  </a:lnTo>
                  <a:lnTo>
                    <a:pt x="354" y="210"/>
                  </a:lnTo>
                  <a:lnTo>
                    <a:pt x="342" y="210"/>
                  </a:lnTo>
                  <a:lnTo>
                    <a:pt x="288" y="156"/>
                  </a:lnTo>
                  <a:lnTo>
                    <a:pt x="252" y="162"/>
                  </a:lnTo>
                  <a:lnTo>
                    <a:pt x="216" y="126"/>
                  </a:lnTo>
                  <a:lnTo>
                    <a:pt x="186" y="120"/>
                  </a:lnTo>
                  <a:lnTo>
                    <a:pt x="66" y="60"/>
                  </a:lnTo>
                  <a:lnTo>
                    <a:pt x="42" y="72"/>
                  </a:lnTo>
                  <a:lnTo>
                    <a:pt x="0" y="42"/>
                  </a:lnTo>
                  <a:lnTo>
                    <a:pt x="42" y="72"/>
                  </a:lnTo>
                  <a:lnTo>
                    <a:pt x="36" y="102"/>
                  </a:lnTo>
                  <a:lnTo>
                    <a:pt x="36" y="240"/>
                  </a:lnTo>
                  <a:lnTo>
                    <a:pt x="30" y="258"/>
                  </a:lnTo>
                  <a:lnTo>
                    <a:pt x="30" y="372"/>
                  </a:lnTo>
                  <a:lnTo>
                    <a:pt x="24" y="378"/>
                  </a:lnTo>
                  <a:lnTo>
                    <a:pt x="12" y="384"/>
                  </a:lnTo>
                  <a:lnTo>
                    <a:pt x="0" y="396"/>
                  </a:lnTo>
                  <a:lnTo>
                    <a:pt x="0" y="402"/>
                  </a:lnTo>
                  <a:lnTo>
                    <a:pt x="6" y="408"/>
                  </a:lnTo>
                  <a:lnTo>
                    <a:pt x="18" y="414"/>
                  </a:lnTo>
                  <a:lnTo>
                    <a:pt x="30" y="414"/>
                  </a:lnTo>
                  <a:lnTo>
                    <a:pt x="30" y="444"/>
                  </a:lnTo>
                  <a:lnTo>
                    <a:pt x="24" y="456"/>
                  </a:lnTo>
                  <a:lnTo>
                    <a:pt x="24" y="480"/>
                  </a:lnTo>
                  <a:lnTo>
                    <a:pt x="18" y="492"/>
                  </a:lnTo>
                  <a:lnTo>
                    <a:pt x="18" y="504"/>
                  </a:lnTo>
                  <a:lnTo>
                    <a:pt x="12" y="510"/>
                  </a:lnTo>
                  <a:lnTo>
                    <a:pt x="12" y="516"/>
                  </a:lnTo>
                  <a:lnTo>
                    <a:pt x="18" y="540"/>
                  </a:lnTo>
                  <a:lnTo>
                    <a:pt x="18" y="588"/>
                  </a:lnTo>
                  <a:lnTo>
                    <a:pt x="30" y="594"/>
                  </a:lnTo>
                  <a:lnTo>
                    <a:pt x="48" y="594"/>
                  </a:lnTo>
                  <a:lnTo>
                    <a:pt x="60" y="588"/>
                  </a:lnTo>
                  <a:lnTo>
                    <a:pt x="90" y="588"/>
                  </a:lnTo>
                  <a:lnTo>
                    <a:pt x="96" y="582"/>
                  </a:lnTo>
                  <a:lnTo>
                    <a:pt x="102" y="582"/>
                  </a:lnTo>
                  <a:lnTo>
                    <a:pt x="126" y="600"/>
                  </a:lnTo>
                  <a:lnTo>
                    <a:pt x="132" y="600"/>
                  </a:lnTo>
                  <a:lnTo>
                    <a:pt x="138" y="594"/>
                  </a:lnTo>
                  <a:lnTo>
                    <a:pt x="156" y="588"/>
                  </a:lnTo>
                  <a:lnTo>
                    <a:pt x="168" y="582"/>
                  </a:lnTo>
                  <a:lnTo>
                    <a:pt x="180" y="570"/>
                  </a:lnTo>
                  <a:lnTo>
                    <a:pt x="180" y="564"/>
                  </a:lnTo>
                  <a:lnTo>
                    <a:pt x="168" y="552"/>
                  </a:lnTo>
                  <a:lnTo>
                    <a:pt x="150" y="540"/>
                  </a:lnTo>
                  <a:lnTo>
                    <a:pt x="138" y="534"/>
                  </a:lnTo>
                  <a:lnTo>
                    <a:pt x="120" y="522"/>
                  </a:lnTo>
                  <a:lnTo>
                    <a:pt x="108" y="516"/>
                  </a:lnTo>
                  <a:lnTo>
                    <a:pt x="102" y="510"/>
                  </a:lnTo>
                  <a:lnTo>
                    <a:pt x="96" y="510"/>
                  </a:lnTo>
                  <a:lnTo>
                    <a:pt x="108" y="510"/>
                  </a:lnTo>
                  <a:lnTo>
                    <a:pt x="138" y="516"/>
                  </a:lnTo>
                  <a:lnTo>
                    <a:pt x="204" y="516"/>
                  </a:lnTo>
                  <a:lnTo>
                    <a:pt x="204" y="510"/>
                  </a:lnTo>
                  <a:lnTo>
                    <a:pt x="198" y="504"/>
                  </a:lnTo>
                  <a:lnTo>
                    <a:pt x="198" y="498"/>
                  </a:lnTo>
                  <a:lnTo>
                    <a:pt x="186" y="486"/>
                  </a:lnTo>
                  <a:lnTo>
                    <a:pt x="192" y="492"/>
                  </a:lnTo>
                  <a:lnTo>
                    <a:pt x="204" y="492"/>
                  </a:lnTo>
                  <a:lnTo>
                    <a:pt x="210" y="498"/>
                  </a:lnTo>
                  <a:lnTo>
                    <a:pt x="216" y="498"/>
                  </a:lnTo>
                  <a:lnTo>
                    <a:pt x="222" y="492"/>
                  </a:lnTo>
                  <a:lnTo>
                    <a:pt x="222" y="486"/>
                  </a:lnTo>
                  <a:lnTo>
                    <a:pt x="216" y="480"/>
                  </a:lnTo>
                  <a:lnTo>
                    <a:pt x="216" y="468"/>
                  </a:lnTo>
                  <a:lnTo>
                    <a:pt x="210" y="462"/>
                  </a:lnTo>
                  <a:lnTo>
                    <a:pt x="222" y="468"/>
                  </a:lnTo>
                  <a:lnTo>
                    <a:pt x="228" y="474"/>
                  </a:lnTo>
                  <a:lnTo>
                    <a:pt x="246" y="474"/>
                  </a:lnTo>
                  <a:lnTo>
                    <a:pt x="252" y="468"/>
                  </a:lnTo>
                  <a:lnTo>
                    <a:pt x="264" y="462"/>
                  </a:lnTo>
                  <a:lnTo>
                    <a:pt x="270" y="456"/>
                  </a:lnTo>
                  <a:lnTo>
                    <a:pt x="288" y="474"/>
                  </a:lnTo>
                  <a:lnTo>
                    <a:pt x="300" y="480"/>
                  </a:lnTo>
                  <a:lnTo>
                    <a:pt x="306" y="486"/>
                  </a:lnTo>
                  <a:lnTo>
                    <a:pt x="312" y="486"/>
                  </a:lnTo>
                  <a:lnTo>
                    <a:pt x="330" y="492"/>
                  </a:lnTo>
                  <a:lnTo>
                    <a:pt x="342" y="492"/>
                  </a:lnTo>
                  <a:lnTo>
                    <a:pt x="378" y="504"/>
                  </a:lnTo>
                  <a:lnTo>
                    <a:pt x="390" y="510"/>
                  </a:lnTo>
                  <a:lnTo>
                    <a:pt x="402" y="534"/>
                  </a:lnTo>
                  <a:lnTo>
                    <a:pt x="402" y="558"/>
                  </a:lnTo>
                  <a:lnTo>
                    <a:pt x="408" y="570"/>
                  </a:lnTo>
                  <a:lnTo>
                    <a:pt x="420" y="582"/>
                  </a:lnTo>
                  <a:lnTo>
                    <a:pt x="438" y="582"/>
                  </a:lnTo>
                  <a:lnTo>
                    <a:pt x="450" y="594"/>
                  </a:lnTo>
                  <a:lnTo>
                    <a:pt x="450" y="606"/>
                  </a:lnTo>
                  <a:lnTo>
                    <a:pt x="456" y="618"/>
                  </a:lnTo>
                  <a:lnTo>
                    <a:pt x="468" y="654"/>
                  </a:lnTo>
                  <a:lnTo>
                    <a:pt x="486" y="672"/>
                  </a:lnTo>
                  <a:lnTo>
                    <a:pt x="516" y="678"/>
                  </a:lnTo>
                  <a:lnTo>
                    <a:pt x="558" y="684"/>
                  </a:lnTo>
                  <a:lnTo>
                    <a:pt x="618" y="684"/>
                  </a:lnTo>
                  <a:lnTo>
                    <a:pt x="630" y="690"/>
                  </a:lnTo>
                  <a:lnTo>
                    <a:pt x="654" y="714"/>
                  </a:lnTo>
                  <a:lnTo>
                    <a:pt x="678" y="726"/>
                  </a:lnTo>
                  <a:lnTo>
                    <a:pt x="684" y="726"/>
                  </a:lnTo>
                  <a:lnTo>
                    <a:pt x="684" y="720"/>
                  </a:lnTo>
                  <a:lnTo>
                    <a:pt x="678" y="708"/>
                  </a:lnTo>
                  <a:lnTo>
                    <a:pt x="678" y="702"/>
                  </a:lnTo>
                  <a:lnTo>
                    <a:pt x="672" y="690"/>
                  </a:lnTo>
                  <a:lnTo>
                    <a:pt x="666" y="684"/>
                  </a:lnTo>
                  <a:lnTo>
                    <a:pt x="672" y="672"/>
                  </a:lnTo>
                  <a:close/>
                </a:path>
              </a:pathLst>
            </a:custGeom>
            <a:solidFill>
              <a:srgbClr val="692864"/>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92" name="Panama" descr="© INSCALE GmbH, 05.05.2010&#10;http://www.presentationload.com/"/>
            <p:cNvSpPr>
              <a:spLocks/>
            </p:cNvSpPr>
            <p:nvPr/>
          </p:nvSpPr>
          <p:spPr bwMode="gray">
            <a:xfrm>
              <a:off x="1844677" y="3767137"/>
              <a:ext cx="163511" cy="77788"/>
            </a:xfrm>
            <a:custGeom>
              <a:avLst/>
              <a:gdLst>
                <a:gd name="T0" fmla="*/ 2147483647 w 408"/>
                <a:gd name="T1" fmla="*/ 2147483647 h 198"/>
                <a:gd name="T2" fmla="*/ 2147483647 w 408"/>
                <a:gd name="T3" fmla="*/ 2147483647 h 198"/>
                <a:gd name="T4" fmla="*/ 2147483647 w 408"/>
                <a:gd name="T5" fmla="*/ 2147483647 h 198"/>
                <a:gd name="T6" fmla="*/ 2147483647 w 408"/>
                <a:gd name="T7" fmla="*/ 2147483647 h 198"/>
                <a:gd name="T8" fmla="*/ 2147483647 w 408"/>
                <a:gd name="T9" fmla="*/ 2147483647 h 198"/>
                <a:gd name="T10" fmla="*/ 2147483647 w 408"/>
                <a:gd name="T11" fmla="*/ 2147483647 h 198"/>
                <a:gd name="T12" fmla="*/ 2147483647 w 408"/>
                <a:gd name="T13" fmla="*/ 2147483647 h 198"/>
                <a:gd name="T14" fmla="*/ 2147483647 w 408"/>
                <a:gd name="T15" fmla="*/ 2147483647 h 198"/>
                <a:gd name="T16" fmla="*/ 2147483647 w 408"/>
                <a:gd name="T17" fmla="*/ 2147483647 h 198"/>
                <a:gd name="T18" fmla="*/ 2147483647 w 408"/>
                <a:gd name="T19" fmla="*/ 2147483647 h 198"/>
                <a:gd name="T20" fmla="*/ 2147483647 w 408"/>
                <a:gd name="T21" fmla="*/ 2147483647 h 198"/>
                <a:gd name="T22" fmla="*/ 2147483647 w 408"/>
                <a:gd name="T23" fmla="*/ 2147483647 h 198"/>
                <a:gd name="T24" fmla="*/ 2147483647 w 408"/>
                <a:gd name="T25" fmla="*/ 2147483647 h 198"/>
                <a:gd name="T26" fmla="*/ 2147483647 w 408"/>
                <a:gd name="T27" fmla="*/ 2147483647 h 198"/>
                <a:gd name="T28" fmla="*/ 2147483647 w 408"/>
                <a:gd name="T29" fmla="*/ 2147483647 h 198"/>
                <a:gd name="T30" fmla="*/ 2147483647 w 408"/>
                <a:gd name="T31" fmla="*/ 2147483647 h 198"/>
                <a:gd name="T32" fmla="*/ 2147483647 w 408"/>
                <a:gd name="T33" fmla="*/ 0 h 198"/>
                <a:gd name="T34" fmla="*/ 2147483647 w 408"/>
                <a:gd name="T35" fmla="*/ 2147483647 h 198"/>
                <a:gd name="T36" fmla="*/ 2147483647 w 408"/>
                <a:gd name="T37" fmla="*/ 2147483647 h 198"/>
                <a:gd name="T38" fmla="*/ 2147483647 w 408"/>
                <a:gd name="T39" fmla="*/ 2147483647 h 198"/>
                <a:gd name="T40" fmla="*/ 2147483647 w 408"/>
                <a:gd name="T41" fmla="*/ 2147483647 h 198"/>
                <a:gd name="T42" fmla="*/ 2147483647 w 408"/>
                <a:gd name="T43" fmla="*/ 2147483647 h 198"/>
                <a:gd name="T44" fmla="*/ 2147483647 w 408"/>
                <a:gd name="T45" fmla="*/ 2147483647 h 198"/>
                <a:gd name="T46" fmla="*/ 2147483647 w 408"/>
                <a:gd name="T47" fmla="*/ 2147483647 h 198"/>
                <a:gd name="T48" fmla="*/ 2147483647 w 408"/>
                <a:gd name="T49" fmla="*/ 2147483647 h 198"/>
                <a:gd name="T50" fmla="*/ 2147483647 w 408"/>
                <a:gd name="T51" fmla="*/ 2147483647 h 198"/>
                <a:gd name="T52" fmla="*/ 2147483647 w 408"/>
                <a:gd name="T53" fmla="*/ 2147483647 h 198"/>
                <a:gd name="T54" fmla="*/ 2147483647 w 408"/>
                <a:gd name="T55" fmla="*/ 2147483647 h 198"/>
                <a:gd name="T56" fmla="*/ 0 w 408"/>
                <a:gd name="T57" fmla="*/ 2147483647 h 198"/>
                <a:gd name="T58" fmla="*/ 2147483647 w 408"/>
                <a:gd name="T59" fmla="*/ 2147483647 h 198"/>
                <a:gd name="T60" fmla="*/ 2147483647 w 408"/>
                <a:gd name="T61" fmla="*/ 2147483647 h 198"/>
                <a:gd name="T62" fmla="*/ 2147483647 w 408"/>
                <a:gd name="T63" fmla="*/ 2147483647 h 198"/>
                <a:gd name="T64" fmla="*/ 0 w 408"/>
                <a:gd name="T65" fmla="*/ 2147483647 h 198"/>
                <a:gd name="T66" fmla="*/ 2147483647 w 408"/>
                <a:gd name="T67" fmla="*/ 2147483647 h 198"/>
                <a:gd name="T68" fmla="*/ 2147483647 w 408"/>
                <a:gd name="T69" fmla="*/ 2147483647 h 198"/>
                <a:gd name="T70" fmla="*/ 2147483647 w 408"/>
                <a:gd name="T71" fmla="*/ 2147483647 h 198"/>
                <a:gd name="T72" fmla="*/ 2147483647 w 408"/>
                <a:gd name="T73" fmla="*/ 2147483647 h 198"/>
                <a:gd name="T74" fmla="*/ 2147483647 w 408"/>
                <a:gd name="T75" fmla="*/ 2147483647 h 198"/>
                <a:gd name="T76" fmla="*/ 2147483647 w 408"/>
                <a:gd name="T77" fmla="*/ 2147483647 h 198"/>
                <a:gd name="T78" fmla="*/ 2147483647 w 408"/>
                <a:gd name="T79" fmla="*/ 2147483647 h 198"/>
                <a:gd name="T80" fmla="*/ 2147483647 w 408"/>
                <a:gd name="T81" fmla="*/ 2147483647 h 198"/>
                <a:gd name="T82" fmla="*/ 2147483647 w 408"/>
                <a:gd name="T83" fmla="*/ 2147483647 h 198"/>
                <a:gd name="T84" fmla="*/ 2147483647 w 408"/>
                <a:gd name="T85" fmla="*/ 2147483647 h 198"/>
                <a:gd name="T86" fmla="*/ 2147483647 w 408"/>
                <a:gd name="T87" fmla="*/ 2147483647 h 198"/>
                <a:gd name="T88" fmla="*/ 2147483647 w 408"/>
                <a:gd name="T89" fmla="*/ 2147483647 h 198"/>
                <a:gd name="T90" fmla="*/ 2147483647 w 408"/>
                <a:gd name="T91" fmla="*/ 2147483647 h 198"/>
                <a:gd name="T92" fmla="*/ 2147483647 w 408"/>
                <a:gd name="T93" fmla="*/ 2147483647 h 198"/>
                <a:gd name="T94" fmla="*/ 2147483647 w 408"/>
                <a:gd name="T95" fmla="*/ 2147483647 h 198"/>
                <a:gd name="T96" fmla="*/ 2147483647 w 408"/>
                <a:gd name="T97" fmla="*/ 2147483647 h 198"/>
                <a:gd name="T98" fmla="*/ 2147483647 w 408"/>
                <a:gd name="T99" fmla="*/ 2147483647 h 198"/>
                <a:gd name="T100" fmla="*/ 2147483647 w 408"/>
                <a:gd name="T101" fmla="*/ 2147483647 h 19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08"/>
                <a:gd name="T154" fmla="*/ 0 h 198"/>
                <a:gd name="T155" fmla="*/ 408 w 408"/>
                <a:gd name="T156" fmla="*/ 198 h 19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08" h="198">
                  <a:moveTo>
                    <a:pt x="306" y="66"/>
                  </a:moveTo>
                  <a:lnTo>
                    <a:pt x="318" y="78"/>
                  </a:lnTo>
                  <a:lnTo>
                    <a:pt x="324" y="90"/>
                  </a:lnTo>
                  <a:lnTo>
                    <a:pt x="330" y="96"/>
                  </a:lnTo>
                  <a:lnTo>
                    <a:pt x="342" y="90"/>
                  </a:lnTo>
                  <a:lnTo>
                    <a:pt x="372" y="120"/>
                  </a:lnTo>
                  <a:lnTo>
                    <a:pt x="342" y="102"/>
                  </a:lnTo>
                  <a:lnTo>
                    <a:pt x="342" y="120"/>
                  </a:lnTo>
                  <a:lnTo>
                    <a:pt x="336" y="132"/>
                  </a:lnTo>
                  <a:lnTo>
                    <a:pt x="336" y="162"/>
                  </a:lnTo>
                  <a:lnTo>
                    <a:pt x="342" y="168"/>
                  </a:lnTo>
                  <a:lnTo>
                    <a:pt x="348" y="180"/>
                  </a:lnTo>
                  <a:lnTo>
                    <a:pt x="354" y="186"/>
                  </a:lnTo>
                  <a:lnTo>
                    <a:pt x="360" y="186"/>
                  </a:lnTo>
                  <a:lnTo>
                    <a:pt x="372" y="156"/>
                  </a:lnTo>
                  <a:lnTo>
                    <a:pt x="378" y="162"/>
                  </a:lnTo>
                  <a:lnTo>
                    <a:pt x="390" y="168"/>
                  </a:lnTo>
                  <a:lnTo>
                    <a:pt x="396" y="162"/>
                  </a:lnTo>
                  <a:lnTo>
                    <a:pt x="408" y="138"/>
                  </a:lnTo>
                  <a:lnTo>
                    <a:pt x="408" y="126"/>
                  </a:lnTo>
                  <a:lnTo>
                    <a:pt x="396" y="120"/>
                  </a:lnTo>
                  <a:lnTo>
                    <a:pt x="390" y="108"/>
                  </a:lnTo>
                  <a:lnTo>
                    <a:pt x="390" y="90"/>
                  </a:lnTo>
                  <a:lnTo>
                    <a:pt x="396" y="84"/>
                  </a:lnTo>
                  <a:lnTo>
                    <a:pt x="372" y="66"/>
                  </a:lnTo>
                  <a:lnTo>
                    <a:pt x="372" y="60"/>
                  </a:lnTo>
                  <a:lnTo>
                    <a:pt x="366" y="54"/>
                  </a:lnTo>
                  <a:lnTo>
                    <a:pt x="366" y="42"/>
                  </a:lnTo>
                  <a:lnTo>
                    <a:pt x="360" y="30"/>
                  </a:lnTo>
                  <a:lnTo>
                    <a:pt x="348" y="24"/>
                  </a:lnTo>
                  <a:lnTo>
                    <a:pt x="330" y="18"/>
                  </a:lnTo>
                  <a:lnTo>
                    <a:pt x="288" y="18"/>
                  </a:lnTo>
                  <a:lnTo>
                    <a:pt x="282" y="0"/>
                  </a:lnTo>
                  <a:lnTo>
                    <a:pt x="246" y="0"/>
                  </a:lnTo>
                  <a:lnTo>
                    <a:pt x="234" y="6"/>
                  </a:lnTo>
                  <a:lnTo>
                    <a:pt x="228" y="12"/>
                  </a:lnTo>
                  <a:lnTo>
                    <a:pt x="222" y="24"/>
                  </a:lnTo>
                  <a:lnTo>
                    <a:pt x="210" y="36"/>
                  </a:lnTo>
                  <a:lnTo>
                    <a:pt x="204" y="36"/>
                  </a:lnTo>
                  <a:lnTo>
                    <a:pt x="198" y="30"/>
                  </a:lnTo>
                  <a:lnTo>
                    <a:pt x="192" y="30"/>
                  </a:lnTo>
                  <a:lnTo>
                    <a:pt x="168" y="42"/>
                  </a:lnTo>
                  <a:lnTo>
                    <a:pt x="144" y="66"/>
                  </a:lnTo>
                  <a:lnTo>
                    <a:pt x="132" y="72"/>
                  </a:lnTo>
                  <a:lnTo>
                    <a:pt x="120" y="72"/>
                  </a:lnTo>
                  <a:lnTo>
                    <a:pt x="114" y="66"/>
                  </a:lnTo>
                  <a:lnTo>
                    <a:pt x="102" y="60"/>
                  </a:lnTo>
                  <a:lnTo>
                    <a:pt x="90" y="42"/>
                  </a:lnTo>
                  <a:lnTo>
                    <a:pt x="78" y="54"/>
                  </a:lnTo>
                  <a:lnTo>
                    <a:pt x="60" y="54"/>
                  </a:lnTo>
                  <a:lnTo>
                    <a:pt x="48" y="42"/>
                  </a:lnTo>
                  <a:lnTo>
                    <a:pt x="48" y="18"/>
                  </a:lnTo>
                  <a:lnTo>
                    <a:pt x="36" y="6"/>
                  </a:lnTo>
                  <a:lnTo>
                    <a:pt x="24" y="6"/>
                  </a:lnTo>
                  <a:lnTo>
                    <a:pt x="18" y="12"/>
                  </a:lnTo>
                  <a:lnTo>
                    <a:pt x="6" y="12"/>
                  </a:lnTo>
                  <a:lnTo>
                    <a:pt x="0" y="18"/>
                  </a:lnTo>
                  <a:lnTo>
                    <a:pt x="0" y="36"/>
                  </a:lnTo>
                  <a:lnTo>
                    <a:pt x="6" y="42"/>
                  </a:lnTo>
                  <a:lnTo>
                    <a:pt x="6" y="48"/>
                  </a:lnTo>
                  <a:lnTo>
                    <a:pt x="24" y="48"/>
                  </a:lnTo>
                  <a:lnTo>
                    <a:pt x="30" y="54"/>
                  </a:lnTo>
                  <a:lnTo>
                    <a:pt x="12" y="72"/>
                  </a:lnTo>
                  <a:lnTo>
                    <a:pt x="6" y="72"/>
                  </a:lnTo>
                  <a:lnTo>
                    <a:pt x="6" y="96"/>
                  </a:lnTo>
                  <a:lnTo>
                    <a:pt x="0" y="102"/>
                  </a:lnTo>
                  <a:lnTo>
                    <a:pt x="6" y="108"/>
                  </a:lnTo>
                  <a:lnTo>
                    <a:pt x="48" y="102"/>
                  </a:lnTo>
                  <a:lnTo>
                    <a:pt x="60" y="120"/>
                  </a:lnTo>
                  <a:lnTo>
                    <a:pt x="90" y="114"/>
                  </a:lnTo>
                  <a:lnTo>
                    <a:pt x="90" y="126"/>
                  </a:lnTo>
                  <a:lnTo>
                    <a:pt x="84" y="132"/>
                  </a:lnTo>
                  <a:lnTo>
                    <a:pt x="84" y="150"/>
                  </a:lnTo>
                  <a:lnTo>
                    <a:pt x="90" y="156"/>
                  </a:lnTo>
                  <a:lnTo>
                    <a:pt x="108" y="156"/>
                  </a:lnTo>
                  <a:lnTo>
                    <a:pt x="114" y="150"/>
                  </a:lnTo>
                  <a:lnTo>
                    <a:pt x="120" y="150"/>
                  </a:lnTo>
                  <a:lnTo>
                    <a:pt x="120" y="132"/>
                  </a:lnTo>
                  <a:lnTo>
                    <a:pt x="138" y="126"/>
                  </a:lnTo>
                  <a:lnTo>
                    <a:pt x="138" y="150"/>
                  </a:lnTo>
                  <a:lnTo>
                    <a:pt x="144" y="168"/>
                  </a:lnTo>
                  <a:lnTo>
                    <a:pt x="144" y="180"/>
                  </a:lnTo>
                  <a:lnTo>
                    <a:pt x="150" y="192"/>
                  </a:lnTo>
                  <a:lnTo>
                    <a:pt x="156" y="198"/>
                  </a:lnTo>
                  <a:lnTo>
                    <a:pt x="162" y="198"/>
                  </a:lnTo>
                  <a:lnTo>
                    <a:pt x="180" y="192"/>
                  </a:lnTo>
                  <a:lnTo>
                    <a:pt x="198" y="174"/>
                  </a:lnTo>
                  <a:lnTo>
                    <a:pt x="204" y="174"/>
                  </a:lnTo>
                  <a:lnTo>
                    <a:pt x="198" y="168"/>
                  </a:lnTo>
                  <a:lnTo>
                    <a:pt x="186" y="162"/>
                  </a:lnTo>
                  <a:lnTo>
                    <a:pt x="180" y="150"/>
                  </a:lnTo>
                  <a:lnTo>
                    <a:pt x="174" y="144"/>
                  </a:lnTo>
                  <a:lnTo>
                    <a:pt x="168" y="132"/>
                  </a:lnTo>
                  <a:lnTo>
                    <a:pt x="162" y="126"/>
                  </a:lnTo>
                  <a:lnTo>
                    <a:pt x="186" y="102"/>
                  </a:lnTo>
                  <a:lnTo>
                    <a:pt x="222" y="84"/>
                  </a:lnTo>
                  <a:lnTo>
                    <a:pt x="228" y="72"/>
                  </a:lnTo>
                  <a:lnTo>
                    <a:pt x="246" y="54"/>
                  </a:lnTo>
                  <a:lnTo>
                    <a:pt x="258" y="48"/>
                  </a:lnTo>
                  <a:lnTo>
                    <a:pt x="276" y="54"/>
                  </a:lnTo>
                  <a:lnTo>
                    <a:pt x="288" y="60"/>
                  </a:lnTo>
                  <a:lnTo>
                    <a:pt x="306" y="66"/>
                  </a:lnTo>
                  <a:close/>
                </a:path>
              </a:pathLst>
            </a:custGeom>
            <a:solidFill>
              <a:srgbClr val="658B26"/>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93" name="Pakistan" descr="© INSCALE GmbH, 05.05.2010&#10;http://www.presentationload.com/"/>
            <p:cNvSpPr>
              <a:spLocks/>
            </p:cNvSpPr>
            <p:nvPr/>
          </p:nvSpPr>
          <p:spPr bwMode="gray">
            <a:xfrm>
              <a:off x="5903917" y="2878138"/>
              <a:ext cx="422276" cy="423863"/>
            </a:xfrm>
            <a:custGeom>
              <a:avLst/>
              <a:gdLst>
                <a:gd name="T0" fmla="*/ 2147483647 w 1050"/>
                <a:gd name="T1" fmla="*/ 2147483647 h 1056"/>
                <a:gd name="T2" fmla="*/ 2147483647 w 1050"/>
                <a:gd name="T3" fmla="*/ 2147483647 h 1056"/>
                <a:gd name="T4" fmla="*/ 2147483647 w 1050"/>
                <a:gd name="T5" fmla="*/ 2147483647 h 1056"/>
                <a:gd name="T6" fmla="*/ 2147483647 w 1050"/>
                <a:gd name="T7" fmla="*/ 2147483647 h 1056"/>
                <a:gd name="T8" fmla="*/ 2147483647 w 1050"/>
                <a:gd name="T9" fmla="*/ 2147483647 h 1056"/>
                <a:gd name="T10" fmla="*/ 2147483647 w 1050"/>
                <a:gd name="T11" fmla="*/ 2147483647 h 1056"/>
                <a:gd name="T12" fmla="*/ 2147483647 w 1050"/>
                <a:gd name="T13" fmla="*/ 2147483647 h 1056"/>
                <a:gd name="T14" fmla="*/ 2147483647 w 1050"/>
                <a:gd name="T15" fmla="*/ 2147483647 h 1056"/>
                <a:gd name="T16" fmla="*/ 2147483647 w 1050"/>
                <a:gd name="T17" fmla="*/ 2147483647 h 1056"/>
                <a:gd name="T18" fmla="*/ 2147483647 w 1050"/>
                <a:gd name="T19" fmla="*/ 2147483647 h 1056"/>
                <a:gd name="T20" fmla="*/ 2147483647 w 1050"/>
                <a:gd name="T21" fmla="*/ 2147483647 h 1056"/>
                <a:gd name="T22" fmla="*/ 2147483647 w 1050"/>
                <a:gd name="T23" fmla="*/ 2147483647 h 1056"/>
                <a:gd name="T24" fmla="*/ 2147483647 w 1050"/>
                <a:gd name="T25" fmla="*/ 2147483647 h 1056"/>
                <a:gd name="T26" fmla="*/ 2147483647 w 1050"/>
                <a:gd name="T27" fmla="*/ 2147483647 h 1056"/>
                <a:gd name="T28" fmla="*/ 2147483647 w 1050"/>
                <a:gd name="T29" fmla="*/ 2147483647 h 1056"/>
                <a:gd name="T30" fmla="*/ 2147483647 w 1050"/>
                <a:gd name="T31" fmla="*/ 2147483647 h 1056"/>
                <a:gd name="T32" fmla="*/ 2147483647 w 1050"/>
                <a:gd name="T33" fmla="*/ 2147483647 h 1056"/>
                <a:gd name="T34" fmla="*/ 2147483647 w 1050"/>
                <a:gd name="T35" fmla="*/ 2147483647 h 1056"/>
                <a:gd name="T36" fmla="*/ 2147483647 w 1050"/>
                <a:gd name="T37" fmla="*/ 2147483647 h 1056"/>
                <a:gd name="T38" fmla="*/ 2147483647 w 1050"/>
                <a:gd name="T39" fmla="*/ 2147483647 h 1056"/>
                <a:gd name="T40" fmla="*/ 2147483647 w 1050"/>
                <a:gd name="T41" fmla="*/ 2147483647 h 1056"/>
                <a:gd name="T42" fmla="*/ 2147483647 w 1050"/>
                <a:gd name="T43" fmla="*/ 2147483647 h 1056"/>
                <a:gd name="T44" fmla="*/ 0 w 1050"/>
                <a:gd name="T45" fmla="*/ 2147483647 h 1056"/>
                <a:gd name="T46" fmla="*/ 2147483647 w 1050"/>
                <a:gd name="T47" fmla="*/ 2147483647 h 1056"/>
                <a:gd name="T48" fmla="*/ 2147483647 w 1050"/>
                <a:gd name="T49" fmla="*/ 2147483647 h 1056"/>
                <a:gd name="T50" fmla="*/ 2147483647 w 1050"/>
                <a:gd name="T51" fmla="*/ 2147483647 h 1056"/>
                <a:gd name="T52" fmla="*/ 2147483647 w 1050"/>
                <a:gd name="T53" fmla="*/ 2147483647 h 1056"/>
                <a:gd name="T54" fmla="*/ 2147483647 w 1050"/>
                <a:gd name="T55" fmla="*/ 2147483647 h 1056"/>
                <a:gd name="T56" fmla="*/ 2147483647 w 1050"/>
                <a:gd name="T57" fmla="*/ 2147483647 h 1056"/>
                <a:gd name="T58" fmla="*/ 2147483647 w 1050"/>
                <a:gd name="T59" fmla="*/ 2147483647 h 1056"/>
                <a:gd name="T60" fmla="*/ 2147483647 w 1050"/>
                <a:gd name="T61" fmla="*/ 2147483647 h 1056"/>
                <a:gd name="T62" fmla="*/ 2147483647 w 1050"/>
                <a:gd name="T63" fmla="*/ 2147483647 h 1056"/>
                <a:gd name="T64" fmla="*/ 2147483647 w 1050"/>
                <a:gd name="T65" fmla="*/ 2147483647 h 1056"/>
                <a:gd name="T66" fmla="*/ 2147483647 w 1050"/>
                <a:gd name="T67" fmla="*/ 2147483647 h 1056"/>
                <a:gd name="T68" fmla="*/ 2147483647 w 1050"/>
                <a:gd name="T69" fmla="*/ 2147483647 h 1056"/>
                <a:gd name="T70" fmla="*/ 2147483647 w 1050"/>
                <a:gd name="T71" fmla="*/ 2147483647 h 1056"/>
                <a:gd name="T72" fmla="*/ 2147483647 w 1050"/>
                <a:gd name="T73" fmla="*/ 2147483647 h 1056"/>
                <a:gd name="T74" fmla="*/ 2147483647 w 1050"/>
                <a:gd name="T75" fmla="*/ 2147483647 h 1056"/>
                <a:gd name="T76" fmla="*/ 2147483647 w 1050"/>
                <a:gd name="T77" fmla="*/ 2147483647 h 1056"/>
                <a:gd name="T78" fmla="*/ 2147483647 w 1050"/>
                <a:gd name="T79" fmla="*/ 2147483647 h 1056"/>
                <a:gd name="T80" fmla="*/ 2147483647 w 1050"/>
                <a:gd name="T81" fmla="*/ 2147483647 h 1056"/>
                <a:gd name="T82" fmla="*/ 2147483647 w 1050"/>
                <a:gd name="T83" fmla="*/ 2147483647 h 1056"/>
                <a:gd name="T84" fmla="*/ 2147483647 w 1050"/>
                <a:gd name="T85" fmla="*/ 2147483647 h 1056"/>
                <a:gd name="T86" fmla="*/ 2147483647 w 1050"/>
                <a:gd name="T87" fmla="*/ 2147483647 h 1056"/>
                <a:gd name="T88" fmla="*/ 2147483647 w 1050"/>
                <a:gd name="T89" fmla="*/ 2147483647 h 1056"/>
                <a:gd name="T90" fmla="*/ 2147483647 w 1050"/>
                <a:gd name="T91" fmla="*/ 2147483647 h 1056"/>
                <a:gd name="T92" fmla="*/ 2147483647 w 1050"/>
                <a:gd name="T93" fmla="*/ 2147483647 h 1056"/>
                <a:gd name="T94" fmla="*/ 2147483647 w 1050"/>
                <a:gd name="T95" fmla="*/ 2147483647 h 1056"/>
                <a:gd name="T96" fmla="*/ 2147483647 w 1050"/>
                <a:gd name="T97" fmla="*/ 2147483647 h 1056"/>
                <a:gd name="T98" fmla="*/ 2147483647 w 1050"/>
                <a:gd name="T99" fmla="*/ 2147483647 h 1056"/>
                <a:gd name="T100" fmla="*/ 2147483647 w 1050"/>
                <a:gd name="T101" fmla="*/ 2147483647 h 1056"/>
                <a:gd name="T102" fmla="*/ 2147483647 w 1050"/>
                <a:gd name="T103" fmla="*/ 2147483647 h 1056"/>
                <a:gd name="T104" fmla="*/ 2147483647 w 1050"/>
                <a:gd name="T105" fmla="*/ 2147483647 h 1056"/>
                <a:gd name="T106" fmla="*/ 2147483647 w 1050"/>
                <a:gd name="T107" fmla="*/ 2147483647 h 1056"/>
                <a:gd name="T108" fmla="*/ 2147483647 w 1050"/>
                <a:gd name="T109" fmla="*/ 2147483647 h 1056"/>
                <a:gd name="T110" fmla="*/ 2147483647 w 1050"/>
                <a:gd name="T111" fmla="*/ 2147483647 h 1056"/>
                <a:gd name="T112" fmla="*/ 2147483647 w 1050"/>
                <a:gd name="T113" fmla="*/ 2147483647 h 1056"/>
                <a:gd name="T114" fmla="*/ 2147483647 w 1050"/>
                <a:gd name="T115" fmla="*/ 2147483647 h 1056"/>
                <a:gd name="T116" fmla="*/ 2147483647 w 1050"/>
                <a:gd name="T117" fmla="*/ 2147483647 h 1056"/>
                <a:gd name="T118" fmla="*/ 2147483647 w 1050"/>
                <a:gd name="T119" fmla="*/ 2147483647 h 1056"/>
                <a:gd name="T120" fmla="*/ 2147483647 w 1050"/>
                <a:gd name="T121" fmla="*/ 2147483647 h 1056"/>
                <a:gd name="T122" fmla="*/ 2147483647 w 1050"/>
                <a:gd name="T123" fmla="*/ 2147483647 h 105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50"/>
                <a:gd name="T187" fmla="*/ 0 h 1056"/>
                <a:gd name="T188" fmla="*/ 1050 w 1050"/>
                <a:gd name="T189" fmla="*/ 1056 h 105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50" h="1056">
                  <a:moveTo>
                    <a:pt x="1008" y="120"/>
                  </a:moveTo>
                  <a:lnTo>
                    <a:pt x="996" y="120"/>
                  </a:lnTo>
                  <a:lnTo>
                    <a:pt x="984" y="114"/>
                  </a:lnTo>
                  <a:lnTo>
                    <a:pt x="978" y="102"/>
                  </a:lnTo>
                  <a:lnTo>
                    <a:pt x="972" y="96"/>
                  </a:lnTo>
                  <a:lnTo>
                    <a:pt x="972" y="90"/>
                  </a:lnTo>
                  <a:lnTo>
                    <a:pt x="960" y="96"/>
                  </a:lnTo>
                  <a:lnTo>
                    <a:pt x="924" y="84"/>
                  </a:lnTo>
                  <a:lnTo>
                    <a:pt x="924" y="60"/>
                  </a:lnTo>
                  <a:lnTo>
                    <a:pt x="912" y="36"/>
                  </a:lnTo>
                  <a:lnTo>
                    <a:pt x="900" y="24"/>
                  </a:lnTo>
                  <a:lnTo>
                    <a:pt x="888" y="18"/>
                  </a:lnTo>
                  <a:lnTo>
                    <a:pt x="876" y="18"/>
                  </a:lnTo>
                  <a:lnTo>
                    <a:pt x="870" y="6"/>
                  </a:lnTo>
                  <a:lnTo>
                    <a:pt x="822" y="6"/>
                  </a:lnTo>
                  <a:lnTo>
                    <a:pt x="810" y="0"/>
                  </a:lnTo>
                  <a:lnTo>
                    <a:pt x="804" y="6"/>
                  </a:lnTo>
                  <a:lnTo>
                    <a:pt x="792" y="6"/>
                  </a:lnTo>
                  <a:lnTo>
                    <a:pt x="786" y="12"/>
                  </a:lnTo>
                  <a:lnTo>
                    <a:pt x="774" y="12"/>
                  </a:lnTo>
                  <a:lnTo>
                    <a:pt x="762" y="6"/>
                  </a:lnTo>
                  <a:lnTo>
                    <a:pt x="738" y="6"/>
                  </a:lnTo>
                  <a:lnTo>
                    <a:pt x="732" y="12"/>
                  </a:lnTo>
                  <a:lnTo>
                    <a:pt x="690" y="12"/>
                  </a:lnTo>
                  <a:lnTo>
                    <a:pt x="684" y="18"/>
                  </a:lnTo>
                  <a:lnTo>
                    <a:pt x="678" y="18"/>
                  </a:lnTo>
                  <a:lnTo>
                    <a:pt x="654" y="30"/>
                  </a:lnTo>
                  <a:lnTo>
                    <a:pt x="648" y="36"/>
                  </a:lnTo>
                  <a:lnTo>
                    <a:pt x="624" y="48"/>
                  </a:lnTo>
                  <a:lnTo>
                    <a:pt x="618" y="54"/>
                  </a:lnTo>
                  <a:lnTo>
                    <a:pt x="612" y="66"/>
                  </a:lnTo>
                  <a:lnTo>
                    <a:pt x="606" y="72"/>
                  </a:lnTo>
                  <a:lnTo>
                    <a:pt x="606" y="78"/>
                  </a:lnTo>
                  <a:lnTo>
                    <a:pt x="636" y="108"/>
                  </a:lnTo>
                  <a:lnTo>
                    <a:pt x="636" y="138"/>
                  </a:lnTo>
                  <a:lnTo>
                    <a:pt x="642" y="144"/>
                  </a:lnTo>
                  <a:lnTo>
                    <a:pt x="648" y="156"/>
                  </a:lnTo>
                  <a:lnTo>
                    <a:pt x="648" y="162"/>
                  </a:lnTo>
                  <a:lnTo>
                    <a:pt x="624" y="186"/>
                  </a:lnTo>
                  <a:lnTo>
                    <a:pt x="618" y="198"/>
                  </a:lnTo>
                  <a:lnTo>
                    <a:pt x="618" y="210"/>
                  </a:lnTo>
                  <a:lnTo>
                    <a:pt x="624" y="216"/>
                  </a:lnTo>
                  <a:lnTo>
                    <a:pt x="624" y="246"/>
                  </a:lnTo>
                  <a:lnTo>
                    <a:pt x="606" y="246"/>
                  </a:lnTo>
                  <a:lnTo>
                    <a:pt x="600" y="252"/>
                  </a:lnTo>
                  <a:lnTo>
                    <a:pt x="594" y="252"/>
                  </a:lnTo>
                  <a:lnTo>
                    <a:pt x="576" y="246"/>
                  </a:lnTo>
                  <a:lnTo>
                    <a:pt x="570" y="240"/>
                  </a:lnTo>
                  <a:lnTo>
                    <a:pt x="552" y="240"/>
                  </a:lnTo>
                  <a:lnTo>
                    <a:pt x="552" y="252"/>
                  </a:lnTo>
                  <a:lnTo>
                    <a:pt x="564" y="264"/>
                  </a:lnTo>
                  <a:lnTo>
                    <a:pt x="576" y="270"/>
                  </a:lnTo>
                  <a:lnTo>
                    <a:pt x="576" y="276"/>
                  </a:lnTo>
                  <a:lnTo>
                    <a:pt x="582" y="282"/>
                  </a:lnTo>
                  <a:lnTo>
                    <a:pt x="582" y="288"/>
                  </a:lnTo>
                  <a:lnTo>
                    <a:pt x="594" y="294"/>
                  </a:lnTo>
                  <a:lnTo>
                    <a:pt x="600" y="294"/>
                  </a:lnTo>
                  <a:lnTo>
                    <a:pt x="570" y="312"/>
                  </a:lnTo>
                  <a:lnTo>
                    <a:pt x="552" y="312"/>
                  </a:lnTo>
                  <a:lnTo>
                    <a:pt x="546" y="318"/>
                  </a:lnTo>
                  <a:lnTo>
                    <a:pt x="546" y="354"/>
                  </a:lnTo>
                  <a:lnTo>
                    <a:pt x="540" y="354"/>
                  </a:lnTo>
                  <a:lnTo>
                    <a:pt x="534" y="360"/>
                  </a:lnTo>
                  <a:lnTo>
                    <a:pt x="534" y="378"/>
                  </a:lnTo>
                  <a:lnTo>
                    <a:pt x="540" y="390"/>
                  </a:lnTo>
                  <a:lnTo>
                    <a:pt x="540" y="402"/>
                  </a:lnTo>
                  <a:lnTo>
                    <a:pt x="546" y="408"/>
                  </a:lnTo>
                  <a:lnTo>
                    <a:pt x="546" y="414"/>
                  </a:lnTo>
                  <a:lnTo>
                    <a:pt x="540" y="420"/>
                  </a:lnTo>
                  <a:lnTo>
                    <a:pt x="534" y="432"/>
                  </a:lnTo>
                  <a:lnTo>
                    <a:pt x="522" y="438"/>
                  </a:lnTo>
                  <a:lnTo>
                    <a:pt x="510" y="438"/>
                  </a:lnTo>
                  <a:lnTo>
                    <a:pt x="504" y="432"/>
                  </a:lnTo>
                  <a:lnTo>
                    <a:pt x="504" y="420"/>
                  </a:lnTo>
                  <a:lnTo>
                    <a:pt x="474" y="420"/>
                  </a:lnTo>
                  <a:lnTo>
                    <a:pt x="462" y="426"/>
                  </a:lnTo>
                  <a:lnTo>
                    <a:pt x="456" y="432"/>
                  </a:lnTo>
                  <a:lnTo>
                    <a:pt x="444" y="438"/>
                  </a:lnTo>
                  <a:lnTo>
                    <a:pt x="438" y="438"/>
                  </a:lnTo>
                  <a:lnTo>
                    <a:pt x="432" y="444"/>
                  </a:lnTo>
                  <a:lnTo>
                    <a:pt x="432" y="450"/>
                  </a:lnTo>
                  <a:lnTo>
                    <a:pt x="438" y="450"/>
                  </a:lnTo>
                  <a:lnTo>
                    <a:pt x="444" y="456"/>
                  </a:lnTo>
                  <a:lnTo>
                    <a:pt x="444" y="462"/>
                  </a:lnTo>
                  <a:lnTo>
                    <a:pt x="438" y="468"/>
                  </a:lnTo>
                  <a:lnTo>
                    <a:pt x="396" y="468"/>
                  </a:lnTo>
                  <a:lnTo>
                    <a:pt x="396" y="456"/>
                  </a:lnTo>
                  <a:lnTo>
                    <a:pt x="378" y="456"/>
                  </a:lnTo>
                  <a:lnTo>
                    <a:pt x="372" y="468"/>
                  </a:lnTo>
                  <a:lnTo>
                    <a:pt x="360" y="474"/>
                  </a:lnTo>
                  <a:lnTo>
                    <a:pt x="354" y="486"/>
                  </a:lnTo>
                  <a:lnTo>
                    <a:pt x="354" y="504"/>
                  </a:lnTo>
                  <a:lnTo>
                    <a:pt x="360" y="516"/>
                  </a:lnTo>
                  <a:lnTo>
                    <a:pt x="360" y="534"/>
                  </a:lnTo>
                  <a:lnTo>
                    <a:pt x="366" y="540"/>
                  </a:lnTo>
                  <a:lnTo>
                    <a:pt x="366" y="570"/>
                  </a:lnTo>
                  <a:lnTo>
                    <a:pt x="360" y="576"/>
                  </a:lnTo>
                  <a:lnTo>
                    <a:pt x="354" y="576"/>
                  </a:lnTo>
                  <a:lnTo>
                    <a:pt x="306" y="600"/>
                  </a:lnTo>
                  <a:lnTo>
                    <a:pt x="276" y="600"/>
                  </a:lnTo>
                  <a:lnTo>
                    <a:pt x="258" y="606"/>
                  </a:lnTo>
                  <a:lnTo>
                    <a:pt x="234" y="606"/>
                  </a:lnTo>
                  <a:lnTo>
                    <a:pt x="228" y="612"/>
                  </a:lnTo>
                  <a:lnTo>
                    <a:pt x="204" y="612"/>
                  </a:lnTo>
                  <a:lnTo>
                    <a:pt x="204" y="606"/>
                  </a:lnTo>
                  <a:lnTo>
                    <a:pt x="150" y="606"/>
                  </a:lnTo>
                  <a:lnTo>
                    <a:pt x="144" y="612"/>
                  </a:lnTo>
                  <a:lnTo>
                    <a:pt x="138" y="612"/>
                  </a:lnTo>
                  <a:lnTo>
                    <a:pt x="120" y="618"/>
                  </a:lnTo>
                  <a:lnTo>
                    <a:pt x="102" y="618"/>
                  </a:lnTo>
                  <a:lnTo>
                    <a:pt x="78" y="606"/>
                  </a:lnTo>
                  <a:lnTo>
                    <a:pt x="60" y="600"/>
                  </a:lnTo>
                  <a:lnTo>
                    <a:pt x="42" y="588"/>
                  </a:lnTo>
                  <a:lnTo>
                    <a:pt x="30" y="582"/>
                  </a:lnTo>
                  <a:lnTo>
                    <a:pt x="0" y="582"/>
                  </a:lnTo>
                  <a:lnTo>
                    <a:pt x="24" y="606"/>
                  </a:lnTo>
                  <a:lnTo>
                    <a:pt x="30" y="618"/>
                  </a:lnTo>
                  <a:lnTo>
                    <a:pt x="36" y="624"/>
                  </a:lnTo>
                  <a:lnTo>
                    <a:pt x="48" y="642"/>
                  </a:lnTo>
                  <a:lnTo>
                    <a:pt x="60" y="654"/>
                  </a:lnTo>
                  <a:lnTo>
                    <a:pt x="66" y="672"/>
                  </a:lnTo>
                  <a:lnTo>
                    <a:pt x="78" y="690"/>
                  </a:lnTo>
                  <a:lnTo>
                    <a:pt x="84" y="696"/>
                  </a:lnTo>
                  <a:lnTo>
                    <a:pt x="102" y="696"/>
                  </a:lnTo>
                  <a:lnTo>
                    <a:pt x="114" y="690"/>
                  </a:lnTo>
                  <a:lnTo>
                    <a:pt x="126" y="708"/>
                  </a:lnTo>
                  <a:lnTo>
                    <a:pt x="150" y="708"/>
                  </a:lnTo>
                  <a:lnTo>
                    <a:pt x="144" y="738"/>
                  </a:lnTo>
                  <a:lnTo>
                    <a:pt x="150" y="738"/>
                  </a:lnTo>
                  <a:lnTo>
                    <a:pt x="150" y="762"/>
                  </a:lnTo>
                  <a:lnTo>
                    <a:pt x="156" y="774"/>
                  </a:lnTo>
                  <a:lnTo>
                    <a:pt x="156" y="786"/>
                  </a:lnTo>
                  <a:lnTo>
                    <a:pt x="174" y="786"/>
                  </a:lnTo>
                  <a:lnTo>
                    <a:pt x="180" y="792"/>
                  </a:lnTo>
                  <a:lnTo>
                    <a:pt x="186" y="804"/>
                  </a:lnTo>
                  <a:lnTo>
                    <a:pt x="192" y="822"/>
                  </a:lnTo>
                  <a:lnTo>
                    <a:pt x="192" y="834"/>
                  </a:lnTo>
                  <a:lnTo>
                    <a:pt x="186" y="840"/>
                  </a:lnTo>
                  <a:lnTo>
                    <a:pt x="180" y="840"/>
                  </a:lnTo>
                  <a:lnTo>
                    <a:pt x="180" y="834"/>
                  </a:lnTo>
                  <a:lnTo>
                    <a:pt x="150" y="834"/>
                  </a:lnTo>
                  <a:lnTo>
                    <a:pt x="138" y="840"/>
                  </a:lnTo>
                  <a:lnTo>
                    <a:pt x="132" y="846"/>
                  </a:lnTo>
                  <a:lnTo>
                    <a:pt x="132" y="852"/>
                  </a:lnTo>
                  <a:lnTo>
                    <a:pt x="126" y="852"/>
                  </a:lnTo>
                  <a:lnTo>
                    <a:pt x="126" y="858"/>
                  </a:lnTo>
                  <a:lnTo>
                    <a:pt x="120" y="864"/>
                  </a:lnTo>
                  <a:lnTo>
                    <a:pt x="108" y="864"/>
                  </a:lnTo>
                  <a:lnTo>
                    <a:pt x="102" y="882"/>
                  </a:lnTo>
                  <a:lnTo>
                    <a:pt x="96" y="888"/>
                  </a:lnTo>
                  <a:lnTo>
                    <a:pt x="96" y="894"/>
                  </a:lnTo>
                  <a:lnTo>
                    <a:pt x="84" y="906"/>
                  </a:lnTo>
                  <a:lnTo>
                    <a:pt x="84" y="936"/>
                  </a:lnTo>
                  <a:lnTo>
                    <a:pt x="90" y="948"/>
                  </a:lnTo>
                  <a:lnTo>
                    <a:pt x="90" y="954"/>
                  </a:lnTo>
                  <a:lnTo>
                    <a:pt x="96" y="948"/>
                  </a:lnTo>
                  <a:lnTo>
                    <a:pt x="108" y="948"/>
                  </a:lnTo>
                  <a:lnTo>
                    <a:pt x="114" y="942"/>
                  </a:lnTo>
                  <a:lnTo>
                    <a:pt x="120" y="942"/>
                  </a:lnTo>
                  <a:lnTo>
                    <a:pt x="126" y="948"/>
                  </a:lnTo>
                  <a:lnTo>
                    <a:pt x="138" y="948"/>
                  </a:lnTo>
                  <a:lnTo>
                    <a:pt x="150" y="954"/>
                  </a:lnTo>
                  <a:lnTo>
                    <a:pt x="174" y="954"/>
                  </a:lnTo>
                  <a:lnTo>
                    <a:pt x="210" y="936"/>
                  </a:lnTo>
                  <a:lnTo>
                    <a:pt x="216" y="930"/>
                  </a:lnTo>
                  <a:lnTo>
                    <a:pt x="222" y="930"/>
                  </a:lnTo>
                  <a:lnTo>
                    <a:pt x="234" y="936"/>
                  </a:lnTo>
                  <a:lnTo>
                    <a:pt x="276" y="936"/>
                  </a:lnTo>
                  <a:lnTo>
                    <a:pt x="288" y="930"/>
                  </a:lnTo>
                  <a:lnTo>
                    <a:pt x="300" y="930"/>
                  </a:lnTo>
                  <a:lnTo>
                    <a:pt x="306" y="924"/>
                  </a:lnTo>
                  <a:lnTo>
                    <a:pt x="312" y="924"/>
                  </a:lnTo>
                  <a:lnTo>
                    <a:pt x="348" y="930"/>
                  </a:lnTo>
                  <a:lnTo>
                    <a:pt x="354" y="924"/>
                  </a:lnTo>
                  <a:lnTo>
                    <a:pt x="366" y="918"/>
                  </a:lnTo>
                  <a:lnTo>
                    <a:pt x="372" y="912"/>
                  </a:lnTo>
                  <a:lnTo>
                    <a:pt x="384" y="912"/>
                  </a:lnTo>
                  <a:lnTo>
                    <a:pt x="396" y="918"/>
                  </a:lnTo>
                  <a:lnTo>
                    <a:pt x="408" y="930"/>
                  </a:lnTo>
                  <a:lnTo>
                    <a:pt x="432" y="978"/>
                  </a:lnTo>
                  <a:lnTo>
                    <a:pt x="444" y="984"/>
                  </a:lnTo>
                  <a:lnTo>
                    <a:pt x="450" y="990"/>
                  </a:lnTo>
                  <a:lnTo>
                    <a:pt x="468" y="996"/>
                  </a:lnTo>
                  <a:lnTo>
                    <a:pt x="486" y="996"/>
                  </a:lnTo>
                  <a:lnTo>
                    <a:pt x="522" y="1008"/>
                  </a:lnTo>
                  <a:lnTo>
                    <a:pt x="540" y="1044"/>
                  </a:lnTo>
                  <a:lnTo>
                    <a:pt x="552" y="1056"/>
                  </a:lnTo>
                  <a:lnTo>
                    <a:pt x="570" y="1056"/>
                  </a:lnTo>
                  <a:lnTo>
                    <a:pt x="588" y="1050"/>
                  </a:lnTo>
                  <a:lnTo>
                    <a:pt x="582" y="1044"/>
                  </a:lnTo>
                  <a:lnTo>
                    <a:pt x="582" y="1032"/>
                  </a:lnTo>
                  <a:lnTo>
                    <a:pt x="594" y="1020"/>
                  </a:lnTo>
                  <a:lnTo>
                    <a:pt x="606" y="1020"/>
                  </a:lnTo>
                  <a:lnTo>
                    <a:pt x="618" y="1026"/>
                  </a:lnTo>
                  <a:lnTo>
                    <a:pt x="624" y="1032"/>
                  </a:lnTo>
                  <a:lnTo>
                    <a:pt x="648" y="1020"/>
                  </a:lnTo>
                  <a:lnTo>
                    <a:pt x="648" y="1026"/>
                  </a:lnTo>
                  <a:lnTo>
                    <a:pt x="654" y="1032"/>
                  </a:lnTo>
                  <a:lnTo>
                    <a:pt x="678" y="1032"/>
                  </a:lnTo>
                  <a:lnTo>
                    <a:pt x="690" y="1020"/>
                  </a:lnTo>
                  <a:lnTo>
                    <a:pt x="702" y="1014"/>
                  </a:lnTo>
                  <a:lnTo>
                    <a:pt x="708" y="1014"/>
                  </a:lnTo>
                  <a:lnTo>
                    <a:pt x="708" y="1026"/>
                  </a:lnTo>
                  <a:lnTo>
                    <a:pt x="714" y="1032"/>
                  </a:lnTo>
                  <a:lnTo>
                    <a:pt x="732" y="1032"/>
                  </a:lnTo>
                  <a:lnTo>
                    <a:pt x="738" y="1026"/>
                  </a:lnTo>
                  <a:lnTo>
                    <a:pt x="750" y="1020"/>
                  </a:lnTo>
                  <a:lnTo>
                    <a:pt x="750" y="996"/>
                  </a:lnTo>
                  <a:lnTo>
                    <a:pt x="744" y="990"/>
                  </a:lnTo>
                  <a:lnTo>
                    <a:pt x="738" y="978"/>
                  </a:lnTo>
                  <a:lnTo>
                    <a:pt x="714" y="936"/>
                  </a:lnTo>
                  <a:lnTo>
                    <a:pt x="714" y="912"/>
                  </a:lnTo>
                  <a:lnTo>
                    <a:pt x="690" y="912"/>
                  </a:lnTo>
                  <a:lnTo>
                    <a:pt x="678" y="900"/>
                  </a:lnTo>
                  <a:lnTo>
                    <a:pt x="672" y="888"/>
                  </a:lnTo>
                  <a:lnTo>
                    <a:pt x="666" y="882"/>
                  </a:lnTo>
                  <a:lnTo>
                    <a:pt x="672" y="852"/>
                  </a:lnTo>
                  <a:lnTo>
                    <a:pt x="672" y="834"/>
                  </a:lnTo>
                  <a:lnTo>
                    <a:pt x="642" y="840"/>
                  </a:lnTo>
                  <a:lnTo>
                    <a:pt x="636" y="840"/>
                  </a:lnTo>
                  <a:lnTo>
                    <a:pt x="624" y="834"/>
                  </a:lnTo>
                  <a:lnTo>
                    <a:pt x="618" y="828"/>
                  </a:lnTo>
                  <a:lnTo>
                    <a:pt x="618" y="804"/>
                  </a:lnTo>
                  <a:lnTo>
                    <a:pt x="624" y="792"/>
                  </a:lnTo>
                  <a:lnTo>
                    <a:pt x="636" y="780"/>
                  </a:lnTo>
                  <a:lnTo>
                    <a:pt x="642" y="768"/>
                  </a:lnTo>
                  <a:lnTo>
                    <a:pt x="648" y="762"/>
                  </a:lnTo>
                  <a:lnTo>
                    <a:pt x="654" y="750"/>
                  </a:lnTo>
                  <a:lnTo>
                    <a:pt x="654" y="744"/>
                  </a:lnTo>
                  <a:lnTo>
                    <a:pt x="666" y="732"/>
                  </a:lnTo>
                  <a:lnTo>
                    <a:pt x="678" y="726"/>
                  </a:lnTo>
                  <a:lnTo>
                    <a:pt x="684" y="726"/>
                  </a:lnTo>
                  <a:lnTo>
                    <a:pt x="690" y="732"/>
                  </a:lnTo>
                  <a:lnTo>
                    <a:pt x="690" y="744"/>
                  </a:lnTo>
                  <a:lnTo>
                    <a:pt x="696" y="750"/>
                  </a:lnTo>
                  <a:lnTo>
                    <a:pt x="702" y="750"/>
                  </a:lnTo>
                  <a:lnTo>
                    <a:pt x="726" y="738"/>
                  </a:lnTo>
                  <a:lnTo>
                    <a:pt x="732" y="732"/>
                  </a:lnTo>
                  <a:lnTo>
                    <a:pt x="738" y="738"/>
                  </a:lnTo>
                  <a:lnTo>
                    <a:pt x="756" y="738"/>
                  </a:lnTo>
                  <a:lnTo>
                    <a:pt x="762" y="732"/>
                  </a:lnTo>
                  <a:lnTo>
                    <a:pt x="768" y="720"/>
                  </a:lnTo>
                  <a:lnTo>
                    <a:pt x="774" y="714"/>
                  </a:lnTo>
                  <a:lnTo>
                    <a:pt x="774" y="708"/>
                  </a:lnTo>
                  <a:lnTo>
                    <a:pt x="792" y="696"/>
                  </a:lnTo>
                  <a:lnTo>
                    <a:pt x="792" y="678"/>
                  </a:lnTo>
                  <a:lnTo>
                    <a:pt x="798" y="672"/>
                  </a:lnTo>
                  <a:lnTo>
                    <a:pt x="798" y="666"/>
                  </a:lnTo>
                  <a:lnTo>
                    <a:pt x="804" y="660"/>
                  </a:lnTo>
                  <a:lnTo>
                    <a:pt x="828" y="648"/>
                  </a:lnTo>
                  <a:lnTo>
                    <a:pt x="840" y="636"/>
                  </a:lnTo>
                  <a:lnTo>
                    <a:pt x="846" y="618"/>
                  </a:lnTo>
                  <a:lnTo>
                    <a:pt x="846" y="606"/>
                  </a:lnTo>
                  <a:lnTo>
                    <a:pt x="852" y="588"/>
                  </a:lnTo>
                  <a:lnTo>
                    <a:pt x="852" y="576"/>
                  </a:lnTo>
                  <a:lnTo>
                    <a:pt x="858" y="570"/>
                  </a:lnTo>
                  <a:lnTo>
                    <a:pt x="870" y="564"/>
                  </a:lnTo>
                  <a:lnTo>
                    <a:pt x="876" y="558"/>
                  </a:lnTo>
                  <a:lnTo>
                    <a:pt x="888" y="558"/>
                  </a:lnTo>
                  <a:lnTo>
                    <a:pt x="870" y="534"/>
                  </a:lnTo>
                  <a:lnTo>
                    <a:pt x="894" y="498"/>
                  </a:lnTo>
                  <a:lnTo>
                    <a:pt x="924" y="480"/>
                  </a:lnTo>
                  <a:lnTo>
                    <a:pt x="924" y="474"/>
                  </a:lnTo>
                  <a:lnTo>
                    <a:pt x="912" y="462"/>
                  </a:lnTo>
                  <a:lnTo>
                    <a:pt x="906" y="450"/>
                  </a:lnTo>
                  <a:lnTo>
                    <a:pt x="906" y="414"/>
                  </a:lnTo>
                  <a:lnTo>
                    <a:pt x="912" y="408"/>
                  </a:lnTo>
                  <a:lnTo>
                    <a:pt x="924" y="408"/>
                  </a:lnTo>
                  <a:lnTo>
                    <a:pt x="948" y="396"/>
                  </a:lnTo>
                  <a:lnTo>
                    <a:pt x="954" y="390"/>
                  </a:lnTo>
                  <a:lnTo>
                    <a:pt x="954" y="384"/>
                  </a:lnTo>
                  <a:lnTo>
                    <a:pt x="948" y="378"/>
                  </a:lnTo>
                  <a:lnTo>
                    <a:pt x="936" y="372"/>
                  </a:lnTo>
                  <a:lnTo>
                    <a:pt x="900" y="372"/>
                  </a:lnTo>
                  <a:lnTo>
                    <a:pt x="894" y="336"/>
                  </a:lnTo>
                  <a:lnTo>
                    <a:pt x="876" y="336"/>
                  </a:lnTo>
                  <a:lnTo>
                    <a:pt x="864" y="318"/>
                  </a:lnTo>
                  <a:lnTo>
                    <a:pt x="846" y="318"/>
                  </a:lnTo>
                  <a:lnTo>
                    <a:pt x="846" y="306"/>
                  </a:lnTo>
                  <a:lnTo>
                    <a:pt x="852" y="294"/>
                  </a:lnTo>
                  <a:lnTo>
                    <a:pt x="852" y="288"/>
                  </a:lnTo>
                  <a:lnTo>
                    <a:pt x="846" y="288"/>
                  </a:lnTo>
                  <a:lnTo>
                    <a:pt x="834" y="276"/>
                  </a:lnTo>
                  <a:lnTo>
                    <a:pt x="834" y="270"/>
                  </a:lnTo>
                  <a:lnTo>
                    <a:pt x="840" y="264"/>
                  </a:lnTo>
                  <a:lnTo>
                    <a:pt x="846" y="252"/>
                  </a:lnTo>
                  <a:lnTo>
                    <a:pt x="852" y="246"/>
                  </a:lnTo>
                  <a:lnTo>
                    <a:pt x="822" y="240"/>
                  </a:lnTo>
                  <a:lnTo>
                    <a:pt x="828" y="228"/>
                  </a:lnTo>
                  <a:lnTo>
                    <a:pt x="804" y="210"/>
                  </a:lnTo>
                  <a:lnTo>
                    <a:pt x="804" y="204"/>
                  </a:lnTo>
                  <a:lnTo>
                    <a:pt x="810" y="192"/>
                  </a:lnTo>
                  <a:lnTo>
                    <a:pt x="834" y="180"/>
                  </a:lnTo>
                  <a:lnTo>
                    <a:pt x="876" y="180"/>
                  </a:lnTo>
                  <a:lnTo>
                    <a:pt x="894" y="186"/>
                  </a:lnTo>
                  <a:lnTo>
                    <a:pt x="912" y="186"/>
                  </a:lnTo>
                  <a:lnTo>
                    <a:pt x="918" y="192"/>
                  </a:lnTo>
                  <a:lnTo>
                    <a:pt x="918" y="204"/>
                  </a:lnTo>
                  <a:lnTo>
                    <a:pt x="930" y="204"/>
                  </a:lnTo>
                  <a:lnTo>
                    <a:pt x="942" y="198"/>
                  </a:lnTo>
                  <a:lnTo>
                    <a:pt x="948" y="192"/>
                  </a:lnTo>
                  <a:lnTo>
                    <a:pt x="960" y="186"/>
                  </a:lnTo>
                  <a:lnTo>
                    <a:pt x="966" y="180"/>
                  </a:lnTo>
                  <a:lnTo>
                    <a:pt x="972" y="186"/>
                  </a:lnTo>
                  <a:lnTo>
                    <a:pt x="978" y="180"/>
                  </a:lnTo>
                  <a:lnTo>
                    <a:pt x="1002" y="180"/>
                  </a:lnTo>
                  <a:lnTo>
                    <a:pt x="1002" y="162"/>
                  </a:lnTo>
                  <a:lnTo>
                    <a:pt x="1026" y="156"/>
                  </a:lnTo>
                  <a:lnTo>
                    <a:pt x="1050" y="120"/>
                  </a:lnTo>
                  <a:lnTo>
                    <a:pt x="1008" y="120"/>
                  </a:lnTo>
                  <a:close/>
                </a:path>
              </a:pathLst>
            </a:custGeom>
            <a:solidFill>
              <a:srgbClr val="FFC000"/>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94" name="Parcel Islands" descr="© INSCALE GmbH, 05.05.2010&#10;http://www.presentationload.com/"/>
            <p:cNvSpPr>
              <a:spLocks noEditPoints="1"/>
            </p:cNvSpPr>
            <p:nvPr/>
          </p:nvSpPr>
          <p:spPr bwMode="gray">
            <a:xfrm>
              <a:off x="7367595" y="3517900"/>
              <a:ext cx="38100" cy="25400"/>
            </a:xfrm>
            <a:custGeom>
              <a:avLst/>
              <a:gdLst>
                <a:gd name="T0" fmla="*/ 2147483647 w 96"/>
                <a:gd name="T1" fmla="*/ 2147483647 h 66"/>
                <a:gd name="T2" fmla="*/ 2147483647 w 96"/>
                <a:gd name="T3" fmla="*/ 2147483647 h 66"/>
                <a:gd name="T4" fmla="*/ 0 w 96"/>
                <a:gd name="T5" fmla="*/ 2147483647 h 66"/>
                <a:gd name="T6" fmla="*/ 0 w 96"/>
                <a:gd name="T7" fmla="*/ 2147483647 h 66"/>
                <a:gd name="T8" fmla="*/ 2147483647 w 96"/>
                <a:gd name="T9" fmla="*/ 2147483647 h 66"/>
                <a:gd name="T10" fmla="*/ 2147483647 w 96"/>
                <a:gd name="T11" fmla="*/ 2147483647 h 66"/>
                <a:gd name="T12" fmla="*/ 2147483647 w 96"/>
                <a:gd name="T13" fmla="*/ 2147483647 h 66"/>
                <a:gd name="T14" fmla="*/ 2147483647 w 96"/>
                <a:gd name="T15" fmla="*/ 2147483647 h 66"/>
                <a:gd name="T16" fmla="*/ 2147483647 w 96"/>
                <a:gd name="T17" fmla="*/ 2147483647 h 66"/>
                <a:gd name="T18" fmla="*/ 2147483647 w 96"/>
                <a:gd name="T19" fmla="*/ 0 h 66"/>
                <a:gd name="T20" fmla="*/ 2147483647 w 96"/>
                <a:gd name="T21" fmla="*/ 2147483647 h 66"/>
                <a:gd name="T22" fmla="*/ 2147483647 w 96"/>
                <a:gd name="T23" fmla="*/ 2147483647 h 66"/>
                <a:gd name="T24" fmla="*/ 2147483647 w 96"/>
                <a:gd name="T25" fmla="*/ 2147483647 h 66"/>
                <a:gd name="T26" fmla="*/ 2147483647 w 96"/>
                <a:gd name="T27" fmla="*/ 2147483647 h 66"/>
                <a:gd name="T28" fmla="*/ 2147483647 w 96"/>
                <a:gd name="T29" fmla="*/ 0 h 66"/>
                <a:gd name="T30" fmla="*/ 2147483647 w 96"/>
                <a:gd name="T31" fmla="*/ 0 h 66"/>
                <a:gd name="T32" fmla="*/ 2147483647 w 96"/>
                <a:gd name="T33" fmla="*/ 2147483647 h 66"/>
                <a:gd name="T34" fmla="*/ 2147483647 w 96"/>
                <a:gd name="T35" fmla="*/ 2147483647 h 66"/>
                <a:gd name="T36" fmla="*/ 2147483647 w 96"/>
                <a:gd name="T37" fmla="*/ 2147483647 h 66"/>
                <a:gd name="T38" fmla="*/ 2147483647 w 96"/>
                <a:gd name="T39" fmla="*/ 2147483647 h 66"/>
                <a:gd name="T40" fmla="*/ 2147483647 w 96"/>
                <a:gd name="T41" fmla="*/ 2147483647 h 66"/>
                <a:gd name="T42" fmla="*/ 2147483647 w 96"/>
                <a:gd name="T43" fmla="*/ 2147483647 h 66"/>
                <a:gd name="T44" fmla="*/ 2147483647 w 96"/>
                <a:gd name="T45" fmla="*/ 2147483647 h 6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6"/>
                <a:gd name="T70" fmla="*/ 0 h 66"/>
                <a:gd name="T71" fmla="*/ 96 w 96"/>
                <a:gd name="T72" fmla="*/ 66 h 6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6" h="66">
                  <a:moveTo>
                    <a:pt x="12" y="42"/>
                  </a:moveTo>
                  <a:lnTo>
                    <a:pt x="6" y="42"/>
                  </a:lnTo>
                  <a:lnTo>
                    <a:pt x="0" y="48"/>
                  </a:lnTo>
                  <a:lnTo>
                    <a:pt x="0" y="60"/>
                  </a:lnTo>
                  <a:lnTo>
                    <a:pt x="6" y="66"/>
                  </a:lnTo>
                  <a:lnTo>
                    <a:pt x="12" y="66"/>
                  </a:lnTo>
                  <a:lnTo>
                    <a:pt x="24" y="54"/>
                  </a:lnTo>
                  <a:lnTo>
                    <a:pt x="24" y="42"/>
                  </a:lnTo>
                  <a:lnTo>
                    <a:pt x="12" y="42"/>
                  </a:lnTo>
                  <a:close/>
                  <a:moveTo>
                    <a:pt x="42" y="0"/>
                  </a:moveTo>
                  <a:lnTo>
                    <a:pt x="42" y="18"/>
                  </a:lnTo>
                  <a:lnTo>
                    <a:pt x="54" y="30"/>
                  </a:lnTo>
                  <a:lnTo>
                    <a:pt x="60" y="30"/>
                  </a:lnTo>
                  <a:lnTo>
                    <a:pt x="72" y="24"/>
                  </a:lnTo>
                  <a:lnTo>
                    <a:pt x="48" y="0"/>
                  </a:lnTo>
                  <a:lnTo>
                    <a:pt x="42" y="0"/>
                  </a:lnTo>
                  <a:close/>
                  <a:moveTo>
                    <a:pt x="96" y="36"/>
                  </a:moveTo>
                  <a:lnTo>
                    <a:pt x="78" y="36"/>
                  </a:lnTo>
                  <a:lnTo>
                    <a:pt x="72" y="42"/>
                  </a:lnTo>
                  <a:lnTo>
                    <a:pt x="72" y="54"/>
                  </a:lnTo>
                  <a:lnTo>
                    <a:pt x="84" y="60"/>
                  </a:lnTo>
                  <a:lnTo>
                    <a:pt x="96" y="48"/>
                  </a:lnTo>
                  <a:lnTo>
                    <a:pt x="96" y="36"/>
                  </a:lnTo>
                  <a:close/>
                </a:path>
              </a:pathLst>
            </a:custGeom>
            <a:grp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95" name="Oman" descr="© INSCALE GmbH, 05.05.2010&#10;http://www.presentationload.com/"/>
            <p:cNvSpPr>
              <a:spLocks/>
            </p:cNvSpPr>
            <p:nvPr/>
          </p:nvSpPr>
          <p:spPr bwMode="gray">
            <a:xfrm>
              <a:off x="5686430" y="3265488"/>
              <a:ext cx="217488" cy="271463"/>
            </a:xfrm>
            <a:custGeom>
              <a:avLst/>
              <a:gdLst>
                <a:gd name="T0" fmla="*/ 2147483647 w 540"/>
                <a:gd name="T1" fmla="*/ 2147483647 h 672"/>
                <a:gd name="T2" fmla="*/ 2147483647 w 540"/>
                <a:gd name="T3" fmla="*/ 2147483647 h 672"/>
                <a:gd name="T4" fmla="*/ 2147483647 w 540"/>
                <a:gd name="T5" fmla="*/ 2147483647 h 672"/>
                <a:gd name="T6" fmla="*/ 2147483647 w 540"/>
                <a:gd name="T7" fmla="*/ 2147483647 h 672"/>
                <a:gd name="T8" fmla="*/ 2147483647 w 540"/>
                <a:gd name="T9" fmla="*/ 2147483647 h 672"/>
                <a:gd name="T10" fmla="*/ 2147483647 w 540"/>
                <a:gd name="T11" fmla="*/ 2147483647 h 672"/>
                <a:gd name="T12" fmla="*/ 2147483647 w 540"/>
                <a:gd name="T13" fmla="*/ 2147483647 h 672"/>
                <a:gd name="T14" fmla="*/ 2147483647 w 540"/>
                <a:gd name="T15" fmla="*/ 2147483647 h 672"/>
                <a:gd name="T16" fmla="*/ 2147483647 w 540"/>
                <a:gd name="T17" fmla="*/ 2147483647 h 672"/>
                <a:gd name="T18" fmla="*/ 2147483647 w 540"/>
                <a:gd name="T19" fmla="*/ 2147483647 h 672"/>
                <a:gd name="T20" fmla="*/ 2147483647 w 540"/>
                <a:gd name="T21" fmla="*/ 2147483647 h 672"/>
                <a:gd name="T22" fmla="*/ 2147483647 w 540"/>
                <a:gd name="T23" fmla="*/ 2147483647 h 672"/>
                <a:gd name="T24" fmla="*/ 2147483647 w 540"/>
                <a:gd name="T25" fmla="*/ 2147483647 h 672"/>
                <a:gd name="T26" fmla="*/ 2147483647 w 540"/>
                <a:gd name="T27" fmla="*/ 2147483647 h 672"/>
                <a:gd name="T28" fmla="*/ 2147483647 w 540"/>
                <a:gd name="T29" fmla="*/ 2147483647 h 672"/>
                <a:gd name="T30" fmla="*/ 2147483647 w 540"/>
                <a:gd name="T31" fmla="*/ 2147483647 h 672"/>
                <a:gd name="T32" fmla="*/ 2147483647 w 540"/>
                <a:gd name="T33" fmla="*/ 2147483647 h 672"/>
                <a:gd name="T34" fmla="*/ 2147483647 w 540"/>
                <a:gd name="T35" fmla="*/ 2147483647 h 672"/>
                <a:gd name="T36" fmla="*/ 2147483647 w 540"/>
                <a:gd name="T37" fmla="*/ 2147483647 h 672"/>
                <a:gd name="T38" fmla="*/ 2147483647 w 540"/>
                <a:gd name="T39" fmla="*/ 2147483647 h 672"/>
                <a:gd name="T40" fmla="*/ 2147483647 w 540"/>
                <a:gd name="T41" fmla="*/ 2147483647 h 672"/>
                <a:gd name="T42" fmla="*/ 2147483647 w 540"/>
                <a:gd name="T43" fmla="*/ 2147483647 h 672"/>
                <a:gd name="T44" fmla="*/ 2147483647 w 540"/>
                <a:gd name="T45" fmla="*/ 2147483647 h 672"/>
                <a:gd name="T46" fmla="*/ 2147483647 w 540"/>
                <a:gd name="T47" fmla="*/ 2147483647 h 672"/>
                <a:gd name="T48" fmla="*/ 2147483647 w 540"/>
                <a:gd name="T49" fmla="*/ 2147483647 h 672"/>
                <a:gd name="T50" fmla="*/ 2147483647 w 540"/>
                <a:gd name="T51" fmla="*/ 0 h 672"/>
                <a:gd name="T52" fmla="*/ 2147483647 w 540"/>
                <a:gd name="T53" fmla="*/ 2147483647 h 672"/>
                <a:gd name="T54" fmla="*/ 2147483647 w 540"/>
                <a:gd name="T55" fmla="*/ 2147483647 h 672"/>
                <a:gd name="T56" fmla="*/ 2147483647 w 540"/>
                <a:gd name="T57" fmla="*/ 2147483647 h 672"/>
                <a:gd name="T58" fmla="*/ 2147483647 w 540"/>
                <a:gd name="T59" fmla="*/ 2147483647 h 672"/>
                <a:gd name="T60" fmla="*/ 2147483647 w 540"/>
                <a:gd name="T61" fmla="*/ 2147483647 h 672"/>
                <a:gd name="T62" fmla="*/ 2147483647 w 540"/>
                <a:gd name="T63" fmla="*/ 2147483647 h 672"/>
                <a:gd name="T64" fmla="*/ 2147483647 w 540"/>
                <a:gd name="T65" fmla="*/ 2147483647 h 672"/>
                <a:gd name="T66" fmla="*/ 2147483647 w 540"/>
                <a:gd name="T67" fmla="*/ 2147483647 h 672"/>
                <a:gd name="T68" fmla="*/ 2147483647 w 540"/>
                <a:gd name="T69" fmla="*/ 2147483647 h 672"/>
                <a:gd name="T70" fmla="*/ 2147483647 w 540"/>
                <a:gd name="T71" fmla="*/ 2147483647 h 672"/>
                <a:gd name="T72" fmla="*/ 2147483647 w 540"/>
                <a:gd name="T73" fmla="*/ 2147483647 h 672"/>
                <a:gd name="T74" fmla="*/ 2147483647 w 540"/>
                <a:gd name="T75" fmla="*/ 2147483647 h 672"/>
                <a:gd name="T76" fmla="*/ 2147483647 w 540"/>
                <a:gd name="T77" fmla="*/ 2147483647 h 672"/>
                <a:gd name="T78" fmla="*/ 2147483647 w 540"/>
                <a:gd name="T79" fmla="*/ 2147483647 h 672"/>
                <a:gd name="T80" fmla="*/ 2147483647 w 540"/>
                <a:gd name="T81" fmla="*/ 2147483647 h 672"/>
                <a:gd name="T82" fmla="*/ 2147483647 w 540"/>
                <a:gd name="T83" fmla="*/ 2147483647 h 672"/>
                <a:gd name="T84" fmla="*/ 2147483647 w 540"/>
                <a:gd name="T85" fmla="*/ 2147483647 h 672"/>
                <a:gd name="T86" fmla="*/ 2147483647 w 540"/>
                <a:gd name="T87" fmla="*/ 2147483647 h 67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40"/>
                <a:gd name="T133" fmla="*/ 0 h 672"/>
                <a:gd name="T134" fmla="*/ 540 w 540"/>
                <a:gd name="T135" fmla="*/ 672 h 67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40" h="672">
                  <a:moveTo>
                    <a:pt x="258" y="564"/>
                  </a:moveTo>
                  <a:lnTo>
                    <a:pt x="276" y="564"/>
                  </a:lnTo>
                  <a:lnTo>
                    <a:pt x="288" y="558"/>
                  </a:lnTo>
                  <a:lnTo>
                    <a:pt x="306" y="552"/>
                  </a:lnTo>
                  <a:lnTo>
                    <a:pt x="330" y="540"/>
                  </a:lnTo>
                  <a:lnTo>
                    <a:pt x="336" y="528"/>
                  </a:lnTo>
                  <a:lnTo>
                    <a:pt x="342" y="510"/>
                  </a:lnTo>
                  <a:lnTo>
                    <a:pt x="342" y="498"/>
                  </a:lnTo>
                  <a:lnTo>
                    <a:pt x="348" y="498"/>
                  </a:lnTo>
                  <a:lnTo>
                    <a:pt x="354" y="492"/>
                  </a:lnTo>
                  <a:lnTo>
                    <a:pt x="366" y="486"/>
                  </a:lnTo>
                  <a:lnTo>
                    <a:pt x="384" y="480"/>
                  </a:lnTo>
                  <a:lnTo>
                    <a:pt x="408" y="456"/>
                  </a:lnTo>
                  <a:lnTo>
                    <a:pt x="414" y="444"/>
                  </a:lnTo>
                  <a:lnTo>
                    <a:pt x="414" y="426"/>
                  </a:lnTo>
                  <a:lnTo>
                    <a:pt x="420" y="408"/>
                  </a:lnTo>
                  <a:lnTo>
                    <a:pt x="420" y="378"/>
                  </a:lnTo>
                  <a:lnTo>
                    <a:pt x="426" y="372"/>
                  </a:lnTo>
                  <a:lnTo>
                    <a:pt x="432" y="372"/>
                  </a:lnTo>
                  <a:lnTo>
                    <a:pt x="444" y="378"/>
                  </a:lnTo>
                  <a:lnTo>
                    <a:pt x="450" y="384"/>
                  </a:lnTo>
                  <a:lnTo>
                    <a:pt x="462" y="384"/>
                  </a:lnTo>
                  <a:lnTo>
                    <a:pt x="468" y="378"/>
                  </a:lnTo>
                  <a:lnTo>
                    <a:pt x="480" y="354"/>
                  </a:lnTo>
                  <a:lnTo>
                    <a:pt x="480" y="330"/>
                  </a:lnTo>
                  <a:lnTo>
                    <a:pt x="534" y="276"/>
                  </a:lnTo>
                  <a:lnTo>
                    <a:pt x="534" y="264"/>
                  </a:lnTo>
                  <a:lnTo>
                    <a:pt x="540" y="252"/>
                  </a:lnTo>
                  <a:lnTo>
                    <a:pt x="540" y="204"/>
                  </a:lnTo>
                  <a:lnTo>
                    <a:pt x="528" y="192"/>
                  </a:lnTo>
                  <a:lnTo>
                    <a:pt x="510" y="192"/>
                  </a:lnTo>
                  <a:lnTo>
                    <a:pt x="510" y="186"/>
                  </a:lnTo>
                  <a:lnTo>
                    <a:pt x="492" y="168"/>
                  </a:lnTo>
                  <a:lnTo>
                    <a:pt x="486" y="150"/>
                  </a:lnTo>
                  <a:lnTo>
                    <a:pt x="462" y="126"/>
                  </a:lnTo>
                  <a:lnTo>
                    <a:pt x="456" y="114"/>
                  </a:lnTo>
                  <a:lnTo>
                    <a:pt x="432" y="96"/>
                  </a:lnTo>
                  <a:lnTo>
                    <a:pt x="396" y="84"/>
                  </a:lnTo>
                  <a:lnTo>
                    <a:pt x="366" y="78"/>
                  </a:lnTo>
                  <a:lnTo>
                    <a:pt x="348" y="78"/>
                  </a:lnTo>
                  <a:lnTo>
                    <a:pt x="342" y="72"/>
                  </a:lnTo>
                  <a:lnTo>
                    <a:pt x="330" y="72"/>
                  </a:lnTo>
                  <a:lnTo>
                    <a:pt x="318" y="60"/>
                  </a:lnTo>
                  <a:lnTo>
                    <a:pt x="294" y="48"/>
                  </a:lnTo>
                  <a:lnTo>
                    <a:pt x="288" y="36"/>
                  </a:lnTo>
                  <a:lnTo>
                    <a:pt x="288" y="30"/>
                  </a:lnTo>
                  <a:lnTo>
                    <a:pt x="282" y="18"/>
                  </a:lnTo>
                  <a:lnTo>
                    <a:pt x="276" y="12"/>
                  </a:lnTo>
                  <a:lnTo>
                    <a:pt x="252" y="18"/>
                  </a:lnTo>
                  <a:lnTo>
                    <a:pt x="246" y="6"/>
                  </a:lnTo>
                  <a:lnTo>
                    <a:pt x="246" y="0"/>
                  </a:lnTo>
                  <a:lnTo>
                    <a:pt x="240" y="0"/>
                  </a:lnTo>
                  <a:lnTo>
                    <a:pt x="234" y="6"/>
                  </a:lnTo>
                  <a:lnTo>
                    <a:pt x="234" y="12"/>
                  </a:lnTo>
                  <a:lnTo>
                    <a:pt x="228" y="24"/>
                  </a:lnTo>
                  <a:lnTo>
                    <a:pt x="228" y="54"/>
                  </a:lnTo>
                  <a:lnTo>
                    <a:pt x="246" y="72"/>
                  </a:lnTo>
                  <a:lnTo>
                    <a:pt x="246" y="78"/>
                  </a:lnTo>
                  <a:lnTo>
                    <a:pt x="240" y="78"/>
                  </a:lnTo>
                  <a:lnTo>
                    <a:pt x="240" y="72"/>
                  </a:lnTo>
                  <a:lnTo>
                    <a:pt x="228" y="72"/>
                  </a:lnTo>
                  <a:lnTo>
                    <a:pt x="228" y="78"/>
                  </a:lnTo>
                  <a:lnTo>
                    <a:pt x="222" y="84"/>
                  </a:lnTo>
                  <a:lnTo>
                    <a:pt x="222" y="96"/>
                  </a:lnTo>
                  <a:lnTo>
                    <a:pt x="216" y="108"/>
                  </a:lnTo>
                  <a:lnTo>
                    <a:pt x="216" y="120"/>
                  </a:lnTo>
                  <a:lnTo>
                    <a:pt x="210" y="132"/>
                  </a:lnTo>
                  <a:lnTo>
                    <a:pt x="204" y="138"/>
                  </a:lnTo>
                  <a:lnTo>
                    <a:pt x="198" y="150"/>
                  </a:lnTo>
                  <a:lnTo>
                    <a:pt x="192" y="156"/>
                  </a:lnTo>
                  <a:lnTo>
                    <a:pt x="192" y="168"/>
                  </a:lnTo>
                  <a:lnTo>
                    <a:pt x="210" y="204"/>
                  </a:lnTo>
                  <a:lnTo>
                    <a:pt x="216" y="210"/>
                  </a:lnTo>
                  <a:lnTo>
                    <a:pt x="216" y="222"/>
                  </a:lnTo>
                  <a:lnTo>
                    <a:pt x="222" y="228"/>
                  </a:lnTo>
                  <a:lnTo>
                    <a:pt x="234" y="234"/>
                  </a:lnTo>
                  <a:lnTo>
                    <a:pt x="240" y="240"/>
                  </a:lnTo>
                  <a:lnTo>
                    <a:pt x="204" y="414"/>
                  </a:lnTo>
                  <a:lnTo>
                    <a:pt x="0" y="486"/>
                  </a:lnTo>
                  <a:lnTo>
                    <a:pt x="84" y="672"/>
                  </a:lnTo>
                  <a:lnTo>
                    <a:pt x="114" y="660"/>
                  </a:lnTo>
                  <a:lnTo>
                    <a:pt x="198" y="636"/>
                  </a:lnTo>
                  <a:lnTo>
                    <a:pt x="228" y="624"/>
                  </a:lnTo>
                  <a:lnTo>
                    <a:pt x="246" y="618"/>
                  </a:lnTo>
                  <a:lnTo>
                    <a:pt x="252" y="606"/>
                  </a:lnTo>
                  <a:lnTo>
                    <a:pt x="252" y="594"/>
                  </a:lnTo>
                  <a:lnTo>
                    <a:pt x="258" y="582"/>
                  </a:lnTo>
                  <a:lnTo>
                    <a:pt x="258" y="564"/>
                  </a:lnTo>
                  <a:close/>
                </a:path>
              </a:pathLst>
            </a:custGeom>
            <a:solidFill>
              <a:srgbClr val="FFC000"/>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96" name="Norway" descr="© INSCALE GmbH, 05.05.2010&#10;http://www.presentationload.com/"/>
            <p:cNvSpPr>
              <a:spLocks noEditPoints="1"/>
            </p:cNvSpPr>
            <p:nvPr/>
          </p:nvSpPr>
          <p:spPr bwMode="gray">
            <a:xfrm>
              <a:off x="4389441" y="1612901"/>
              <a:ext cx="547687" cy="601662"/>
            </a:xfrm>
            <a:custGeom>
              <a:avLst/>
              <a:gdLst>
                <a:gd name="T0" fmla="*/ 2147483647 w 1362"/>
                <a:gd name="T1" fmla="*/ 2147483647 h 1500"/>
                <a:gd name="T2" fmla="*/ 2147483647 w 1362"/>
                <a:gd name="T3" fmla="*/ 2147483647 h 1500"/>
                <a:gd name="T4" fmla="*/ 2147483647 w 1362"/>
                <a:gd name="T5" fmla="*/ 2147483647 h 1500"/>
                <a:gd name="T6" fmla="*/ 2147483647 w 1362"/>
                <a:gd name="T7" fmla="*/ 2147483647 h 1500"/>
                <a:gd name="T8" fmla="*/ 2147483647 w 1362"/>
                <a:gd name="T9" fmla="*/ 0 h 1500"/>
                <a:gd name="T10" fmla="*/ 2147483647 w 1362"/>
                <a:gd name="T11" fmla="*/ 2147483647 h 1500"/>
                <a:gd name="T12" fmla="*/ 2147483647 w 1362"/>
                <a:gd name="T13" fmla="*/ 2147483647 h 1500"/>
                <a:gd name="T14" fmla="*/ 2147483647 w 1362"/>
                <a:gd name="T15" fmla="*/ 2147483647 h 1500"/>
                <a:gd name="T16" fmla="*/ 2147483647 w 1362"/>
                <a:gd name="T17" fmla="*/ 2147483647 h 1500"/>
                <a:gd name="T18" fmla="*/ 2147483647 w 1362"/>
                <a:gd name="T19" fmla="*/ 2147483647 h 1500"/>
                <a:gd name="T20" fmla="*/ 2147483647 w 1362"/>
                <a:gd name="T21" fmla="*/ 2147483647 h 1500"/>
                <a:gd name="T22" fmla="*/ 2147483647 w 1362"/>
                <a:gd name="T23" fmla="*/ 2147483647 h 1500"/>
                <a:gd name="T24" fmla="*/ 2147483647 w 1362"/>
                <a:gd name="T25" fmla="*/ 2147483647 h 1500"/>
                <a:gd name="T26" fmla="*/ 2147483647 w 1362"/>
                <a:gd name="T27" fmla="*/ 2147483647 h 1500"/>
                <a:gd name="T28" fmla="*/ 2147483647 w 1362"/>
                <a:gd name="T29" fmla="*/ 2147483647 h 1500"/>
                <a:gd name="T30" fmla="*/ 2147483647 w 1362"/>
                <a:gd name="T31" fmla="*/ 2147483647 h 1500"/>
                <a:gd name="T32" fmla="*/ 2147483647 w 1362"/>
                <a:gd name="T33" fmla="*/ 2147483647 h 1500"/>
                <a:gd name="T34" fmla="*/ 2147483647 w 1362"/>
                <a:gd name="T35" fmla="*/ 2147483647 h 1500"/>
                <a:gd name="T36" fmla="*/ 2147483647 w 1362"/>
                <a:gd name="T37" fmla="*/ 2147483647 h 1500"/>
                <a:gd name="T38" fmla="*/ 2147483647 w 1362"/>
                <a:gd name="T39" fmla="*/ 2147483647 h 1500"/>
                <a:gd name="T40" fmla="*/ 2147483647 w 1362"/>
                <a:gd name="T41" fmla="*/ 2147483647 h 1500"/>
                <a:gd name="T42" fmla="*/ 2147483647 w 1362"/>
                <a:gd name="T43" fmla="*/ 2147483647 h 1500"/>
                <a:gd name="T44" fmla="*/ 2147483647 w 1362"/>
                <a:gd name="T45" fmla="*/ 2147483647 h 1500"/>
                <a:gd name="T46" fmla="*/ 2147483647 w 1362"/>
                <a:gd name="T47" fmla="*/ 2147483647 h 1500"/>
                <a:gd name="T48" fmla="*/ 2147483647 w 1362"/>
                <a:gd name="T49" fmla="*/ 2147483647 h 1500"/>
                <a:gd name="T50" fmla="*/ 2147483647 w 1362"/>
                <a:gd name="T51" fmla="*/ 2147483647 h 1500"/>
                <a:gd name="T52" fmla="*/ 2147483647 w 1362"/>
                <a:gd name="T53" fmla="*/ 2147483647 h 1500"/>
                <a:gd name="T54" fmla="*/ 2147483647 w 1362"/>
                <a:gd name="T55" fmla="*/ 2147483647 h 1500"/>
                <a:gd name="T56" fmla="*/ 2147483647 w 1362"/>
                <a:gd name="T57" fmla="*/ 2147483647 h 1500"/>
                <a:gd name="T58" fmla="*/ 2147483647 w 1362"/>
                <a:gd name="T59" fmla="*/ 2147483647 h 1500"/>
                <a:gd name="T60" fmla="*/ 2147483647 w 1362"/>
                <a:gd name="T61" fmla="*/ 2147483647 h 1500"/>
                <a:gd name="T62" fmla="*/ 2147483647 w 1362"/>
                <a:gd name="T63" fmla="*/ 2147483647 h 1500"/>
                <a:gd name="T64" fmla="*/ 2147483647 w 1362"/>
                <a:gd name="T65" fmla="*/ 2147483647 h 1500"/>
                <a:gd name="T66" fmla="*/ 2147483647 w 1362"/>
                <a:gd name="T67" fmla="*/ 2147483647 h 1500"/>
                <a:gd name="T68" fmla="*/ 2147483647 w 1362"/>
                <a:gd name="T69" fmla="*/ 2147483647 h 1500"/>
                <a:gd name="T70" fmla="*/ 2147483647 w 1362"/>
                <a:gd name="T71" fmla="*/ 2147483647 h 1500"/>
                <a:gd name="T72" fmla="*/ 2147483647 w 1362"/>
                <a:gd name="T73" fmla="*/ 2147483647 h 1500"/>
                <a:gd name="T74" fmla="*/ 2147483647 w 1362"/>
                <a:gd name="T75" fmla="*/ 2147483647 h 1500"/>
                <a:gd name="T76" fmla="*/ 2147483647 w 1362"/>
                <a:gd name="T77" fmla="*/ 2147483647 h 1500"/>
                <a:gd name="T78" fmla="*/ 2147483647 w 1362"/>
                <a:gd name="T79" fmla="*/ 2147483647 h 1500"/>
                <a:gd name="T80" fmla="*/ 2147483647 w 1362"/>
                <a:gd name="T81" fmla="*/ 2147483647 h 1500"/>
                <a:gd name="T82" fmla="*/ 2147483647 w 1362"/>
                <a:gd name="T83" fmla="*/ 2147483647 h 1500"/>
                <a:gd name="T84" fmla="*/ 2147483647 w 1362"/>
                <a:gd name="T85" fmla="*/ 2147483647 h 1500"/>
                <a:gd name="T86" fmla="*/ 2147483647 w 1362"/>
                <a:gd name="T87" fmla="*/ 2147483647 h 1500"/>
                <a:gd name="T88" fmla="*/ 2147483647 w 1362"/>
                <a:gd name="T89" fmla="*/ 2147483647 h 1500"/>
                <a:gd name="T90" fmla="*/ 2147483647 w 1362"/>
                <a:gd name="T91" fmla="*/ 2147483647 h 1500"/>
                <a:gd name="T92" fmla="*/ 2147483647 w 1362"/>
                <a:gd name="T93" fmla="*/ 2147483647 h 1500"/>
                <a:gd name="T94" fmla="*/ 2147483647 w 1362"/>
                <a:gd name="T95" fmla="*/ 2147483647 h 1500"/>
                <a:gd name="T96" fmla="*/ 2147483647 w 1362"/>
                <a:gd name="T97" fmla="*/ 2147483647 h 1500"/>
                <a:gd name="T98" fmla="*/ 2147483647 w 1362"/>
                <a:gd name="T99" fmla="*/ 2147483647 h 1500"/>
                <a:gd name="T100" fmla="*/ 2147483647 w 1362"/>
                <a:gd name="T101" fmla="*/ 2147483647 h 1500"/>
                <a:gd name="T102" fmla="*/ 2147483647 w 1362"/>
                <a:gd name="T103" fmla="*/ 2147483647 h 1500"/>
                <a:gd name="T104" fmla="*/ 2147483647 w 1362"/>
                <a:gd name="T105" fmla="*/ 2147483647 h 1500"/>
                <a:gd name="T106" fmla="*/ 2147483647 w 1362"/>
                <a:gd name="T107" fmla="*/ 2147483647 h 1500"/>
                <a:gd name="T108" fmla="*/ 2147483647 w 1362"/>
                <a:gd name="T109" fmla="*/ 2147483647 h 1500"/>
                <a:gd name="T110" fmla="*/ 2147483647 w 1362"/>
                <a:gd name="T111" fmla="*/ 2147483647 h 1500"/>
                <a:gd name="T112" fmla="*/ 2147483647 w 1362"/>
                <a:gd name="T113" fmla="*/ 2147483647 h 1500"/>
                <a:gd name="T114" fmla="*/ 2147483647 w 1362"/>
                <a:gd name="T115" fmla="*/ 2147483647 h 15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62"/>
                <a:gd name="T175" fmla="*/ 0 h 1500"/>
                <a:gd name="T176" fmla="*/ 1362 w 1362"/>
                <a:gd name="T177" fmla="*/ 1500 h 150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62" h="1500">
                  <a:moveTo>
                    <a:pt x="324" y="120"/>
                  </a:moveTo>
                  <a:lnTo>
                    <a:pt x="336" y="126"/>
                  </a:lnTo>
                  <a:lnTo>
                    <a:pt x="354" y="132"/>
                  </a:lnTo>
                  <a:lnTo>
                    <a:pt x="378" y="132"/>
                  </a:lnTo>
                  <a:lnTo>
                    <a:pt x="294" y="90"/>
                  </a:lnTo>
                  <a:lnTo>
                    <a:pt x="294" y="102"/>
                  </a:lnTo>
                  <a:lnTo>
                    <a:pt x="306" y="108"/>
                  </a:lnTo>
                  <a:lnTo>
                    <a:pt x="312" y="114"/>
                  </a:lnTo>
                  <a:lnTo>
                    <a:pt x="324" y="120"/>
                  </a:lnTo>
                  <a:close/>
                  <a:moveTo>
                    <a:pt x="684" y="48"/>
                  </a:moveTo>
                  <a:lnTo>
                    <a:pt x="732" y="48"/>
                  </a:lnTo>
                  <a:lnTo>
                    <a:pt x="738" y="54"/>
                  </a:lnTo>
                  <a:lnTo>
                    <a:pt x="750" y="54"/>
                  </a:lnTo>
                  <a:lnTo>
                    <a:pt x="774" y="66"/>
                  </a:lnTo>
                  <a:lnTo>
                    <a:pt x="786" y="66"/>
                  </a:lnTo>
                  <a:lnTo>
                    <a:pt x="798" y="60"/>
                  </a:lnTo>
                  <a:lnTo>
                    <a:pt x="804" y="60"/>
                  </a:lnTo>
                  <a:lnTo>
                    <a:pt x="816" y="54"/>
                  </a:lnTo>
                  <a:lnTo>
                    <a:pt x="828" y="54"/>
                  </a:lnTo>
                  <a:lnTo>
                    <a:pt x="840" y="60"/>
                  </a:lnTo>
                  <a:lnTo>
                    <a:pt x="876" y="72"/>
                  </a:lnTo>
                  <a:lnTo>
                    <a:pt x="888" y="78"/>
                  </a:lnTo>
                  <a:lnTo>
                    <a:pt x="894" y="84"/>
                  </a:lnTo>
                  <a:lnTo>
                    <a:pt x="900" y="84"/>
                  </a:lnTo>
                  <a:lnTo>
                    <a:pt x="924" y="60"/>
                  </a:lnTo>
                  <a:lnTo>
                    <a:pt x="984" y="66"/>
                  </a:lnTo>
                  <a:lnTo>
                    <a:pt x="984" y="42"/>
                  </a:lnTo>
                  <a:lnTo>
                    <a:pt x="1014" y="42"/>
                  </a:lnTo>
                  <a:lnTo>
                    <a:pt x="1026" y="36"/>
                  </a:lnTo>
                  <a:lnTo>
                    <a:pt x="1032" y="24"/>
                  </a:lnTo>
                  <a:lnTo>
                    <a:pt x="1038" y="18"/>
                  </a:lnTo>
                  <a:lnTo>
                    <a:pt x="1032" y="12"/>
                  </a:lnTo>
                  <a:lnTo>
                    <a:pt x="1002" y="12"/>
                  </a:lnTo>
                  <a:lnTo>
                    <a:pt x="990" y="18"/>
                  </a:lnTo>
                  <a:lnTo>
                    <a:pt x="984" y="18"/>
                  </a:lnTo>
                  <a:lnTo>
                    <a:pt x="972" y="6"/>
                  </a:lnTo>
                  <a:lnTo>
                    <a:pt x="960" y="0"/>
                  </a:lnTo>
                  <a:lnTo>
                    <a:pt x="918" y="0"/>
                  </a:lnTo>
                  <a:lnTo>
                    <a:pt x="900" y="6"/>
                  </a:lnTo>
                  <a:lnTo>
                    <a:pt x="882" y="18"/>
                  </a:lnTo>
                  <a:lnTo>
                    <a:pt x="870" y="18"/>
                  </a:lnTo>
                  <a:lnTo>
                    <a:pt x="864" y="12"/>
                  </a:lnTo>
                  <a:lnTo>
                    <a:pt x="864" y="6"/>
                  </a:lnTo>
                  <a:lnTo>
                    <a:pt x="858" y="6"/>
                  </a:lnTo>
                  <a:lnTo>
                    <a:pt x="852" y="0"/>
                  </a:lnTo>
                  <a:lnTo>
                    <a:pt x="822" y="0"/>
                  </a:lnTo>
                  <a:lnTo>
                    <a:pt x="804" y="18"/>
                  </a:lnTo>
                  <a:lnTo>
                    <a:pt x="738" y="0"/>
                  </a:lnTo>
                  <a:lnTo>
                    <a:pt x="726" y="0"/>
                  </a:lnTo>
                  <a:lnTo>
                    <a:pt x="708" y="6"/>
                  </a:lnTo>
                  <a:lnTo>
                    <a:pt x="690" y="6"/>
                  </a:lnTo>
                  <a:lnTo>
                    <a:pt x="672" y="12"/>
                  </a:lnTo>
                  <a:lnTo>
                    <a:pt x="660" y="12"/>
                  </a:lnTo>
                  <a:lnTo>
                    <a:pt x="660" y="6"/>
                  </a:lnTo>
                  <a:lnTo>
                    <a:pt x="666" y="0"/>
                  </a:lnTo>
                  <a:lnTo>
                    <a:pt x="630" y="12"/>
                  </a:lnTo>
                  <a:lnTo>
                    <a:pt x="648" y="36"/>
                  </a:lnTo>
                  <a:lnTo>
                    <a:pt x="684" y="48"/>
                  </a:lnTo>
                  <a:close/>
                  <a:moveTo>
                    <a:pt x="324" y="66"/>
                  </a:moveTo>
                  <a:lnTo>
                    <a:pt x="342" y="66"/>
                  </a:lnTo>
                  <a:lnTo>
                    <a:pt x="348" y="72"/>
                  </a:lnTo>
                  <a:lnTo>
                    <a:pt x="360" y="72"/>
                  </a:lnTo>
                  <a:lnTo>
                    <a:pt x="360" y="78"/>
                  </a:lnTo>
                  <a:lnTo>
                    <a:pt x="342" y="96"/>
                  </a:lnTo>
                  <a:lnTo>
                    <a:pt x="336" y="96"/>
                  </a:lnTo>
                  <a:lnTo>
                    <a:pt x="378" y="114"/>
                  </a:lnTo>
                  <a:lnTo>
                    <a:pt x="390" y="120"/>
                  </a:lnTo>
                  <a:lnTo>
                    <a:pt x="396" y="126"/>
                  </a:lnTo>
                  <a:lnTo>
                    <a:pt x="414" y="126"/>
                  </a:lnTo>
                  <a:lnTo>
                    <a:pt x="426" y="132"/>
                  </a:lnTo>
                  <a:lnTo>
                    <a:pt x="438" y="132"/>
                  </a:lnTo>
                  <a:lnTo>
                    <a:pt x="462" y="108"/>
                  </a:lnTo>
                  <a:lnTo>
                    <a:pt x="504" y="96"/>
                  </a:lnTo>
                  <a:lnTo>
                    <a:pt x="534" y="120"/>
                  </a:lnTo>
                  <a:lnTo>
                    <a:pt x="528" y="120"/>
                  </a:lnTo>
                  <a:lnTo>
                    <a:pt x="516" y="126"/>
                  </a:lnTo>
                  <a:lnTo>
                    <a:pt x="504" y="126"/>
                  </a:lnTo>
                  <a:lnTo>
                    <a:pt x="480" y="132"/>
                  </a:lnTo>
                  <a:lnTo>
                    <a:pt x="468" y="138"/>
                  </a:lnTo>
                  <a:lnTo>
                    <a:pt x="456" y="150"/>
                  </a:lnTo>
                  <a:lnTo>
                    <a:pt x="486" y="150"/>
                  </a:lnTo>
                  <a:lnTo>
                    <a:pt x="498" y="156"/>
                  </a:lnTo>
                  <a:lnTo>
                    <a:pt x="522" y="156"/>
                  </a:lnTo>
                  <a:lnTo>
                    <a:pt x="516" y="162"/>
                  </a:lnTo>
                  <a:lnTo>
                    <a:pt x="504" y="162"/>
                  </a:lnTo>
                  <a:lnTo>
                    <a:pt x="486" y="168"/>
                  </a:lnTo>
                  <a:lnTo>
                    <a:pt x="474" y="174"/>
                  </a:lnTo>
                  <a:lnTo>
                    <a:pt x="468" y="180"/>
                  </a:lnTo>
                  <a:lnTo>
                    <a:pt x="462" y="180"/>
                  </a:lnTo>
                  <a:lnTo>
                    <a:pt x="516" y="198"/>
                  </a:lnTo>
                  <a:lnTo>
                    <a:pt x="522" y="198"/>
                  </a:lnTo>
                  <a:lnTo>
                    <a:pt x="528" y="204"/>
                  </a:lnTo>
                  <a:lnTo>
                    <a:pt x="540" y="210"/>
                  </a:lnTo>
                  <a:lnTo>
                    <a:pt x="558" y="210"/>
                  </a:lnTo>
                  <a:lnTo>
                    <a:pt x="576" y="216"/>
                  </a:lnTo>
                  <a:lnTo>
                    <a:pt x="594" y="210"/>
                  </a:lnTo>
                  <a:lnTo>
                    <a:pt x="606" y="204"/>
                  </a:lnTo>
                  <a:lnTo>
                    <a:pt x="612" y="204"/>
                  </a:lnTo>
                  <a:lnTo>
                    <a:pt x="618" y="198"/>
                  </a:lnTo>
                  <a:lnTo>
                    <a:pt x="612" y="192"/>
                  </a:lnTo>
                  <a:lnTo>
                    <a:pt x="612" y="186"/>
                  </a:lnTo>
                  <a:lnTo>
                    <a:pt x="606" y="180"/>
                  </a:lnTo>
                  <a:lnTo>
                    <a:pt x="606" y="174"/>
                  </a:lnTo>
                  <a:lnTo>
                    <a:pt x="612" y="168"/>
                  </a:lnTo>
                  <a:lnTo>
                    <a:pt x="618" y="168"/>
                  </a:lnTo>
                  <a:lnTo>
                    <a:pt x="630" y="162"/>
                  </a:lnTo>
                  <a:lnTo>
                    <a:pt x="648" y="162"/>
                  </a:lnTo>
                  <a:lnTo>
                    <a:pt x="648" y="144"/>
                  </a:lnTo>
                  <a:lnTo>
                    <a:pt x="678" y="132"/>
                  </a:lnTo>
                  <a:lnTo>
                    <a:pt x="690" y="102"/>
                  </a:lnTo>
                  <a:lnTo>
                    <a:pt x="714" y="114"/>
                  </a:lnTo>
                  <a:lnTo>
                    <a:pt x="738" y="102"/>
                  </a:lnTo>
                  <a:lnTo>
                    <a:pt x="750" y="114"/>
                  </a:lnTo>
                  <a:lnTo>
                    <a:pt x="762" y="120"/>
                  </a:lnTo>
                  <a:lnTo>
                    <a:pt x="780" y="126"/>
                  </a:lnTo>
                  <a:lnTo>
                    <a:pt x="792" y="138"/>
                  </a:lnTo>
                  <a:lnTo>
                    <a:pt x="792" y="144"/>
                  </a:lnTo>
                  <a:lnTo>
                    <a:pt x="786" y="150"/>
                  </a:lnTo>
                  <a:lnTo>
                    <a:pt x="786" y="162"/>
                  </a:lnTo>
                  <a:lnTo>
                    <a:pt x="774" y="174"/>
                  </a:lnTo>
                  <a:lnTo>
                    <a:pt x="828" y="174"/>
                  </a:lnTo>
                  <a:lnTo>
                    <a:pt x="834" y="180"/>
                  </a:lnTo>
                  <a:lnTo>
                    <a:pt x="846" y="186"/>
                  </a:lnTo>
                  <a:lnTo>
                    <a:pt x="852" y="192"/>
                  </a:lnTo>
                  <a:lnTo>
                    <a:pt x="858" y="192"/>
                  </a:lnTo>
                  <a:lnTo>
                    <a:pt x="864" y="186"/>
                  </a:lnTo>
                  <a:lnTo>
                    <a:pt x="876" y="186"/>
                  </a:lnTo>
                  <a:lnTo>
                    <a:pt x="894" y="174"/>
                  </a:lnTo>
                  <a:lnTo>
                    <a:pt x="906" y="168"/>
                  </a:lnTo>
                  <a:lnTo>
                    <a:pt x="924" y="162"/>
                  </a:lnTo>
                  <a:lnTo>
                    <a:pt x="936" y="156"/>
                  </a:lnTo>
                  <a:lnTo>
                    <a:pt x="942" y="150"/>
                  </a:lnTo>
                  <a:lnTo>
                    <a:pt x="942" y="144"/>
                  </a:lnTo>
                  <a:lnTo>
                    <a:pt x="936" y="144"/>
                  </a:lnTo>
                  <a:lnTo>
                    <a:pt x="924" y="138"/>
                  </a:lnTo>
                  <a:lnTo>
                    <a:pt x="888" y="138"/>
                  </a:lnTo>
                  <a:lnTo>
                    <a:pt x="882" y="120"/>
                  </a:lnTo>
                  <a:lnTo>
                    <a:pt x="828" y="114"/>
                  </a:lnTo>
                  <a:lnTo>
                    <a:pt x="828" y="96"/>
                  </a:lnTo>
                  <a:lnTo>
                    <a:pt x="798" y="102"/>
                  </a:lnTo>
                  <a:lnTo>
                    <a:pt x="798" y="84"/>
                  </a:lnTo>
                  <a:lnTo>
                    <a:pt x="726" y="84"/>
                  </a:lnTo>
                  <a:lnTo>
                    <a:pt x="720" y="72"/>
                  </a:lnTo>
                  <a:lnTo>
                    <a:pt x="684" y="72"/>
                  </a:lnTo>
                  <a:lnTo>
                    <a:pt x="678" y="60"/>
                  </a:lnTo>
                  <a:lnTo>
                    <a:pt x="654" y="48"/>
                  </a:lnTo>
                  <a:lnTo>
                    <a:pt x="624" y="48"/>
                  </a:lnTo>
                  <a:lnTo>
                    <a:pt x="624" y="30"/>
                  </a:lnTo>
                  <a:lnTo>
                    <a:pt x="618" y="30"/>
                  </a:lnTo>
                  <a:lnTo>
                    <a:pt x="612" y="24"/>
                  </a:lnTo>
                  <a:lnTo>
                    <a:pt x="540" y="24"/>
                  </a:lnTo>
                  <a:lnTo>
                    <a:pt x="534" y="30"/>
                  </a:lnTo>
                  <a:lnTo>
                    <a:pt x="534" y="36"/>
                  </a:lnTo>
                  <a:lnTo>
                    <a:pt x="540" y="42"/>
                  </a:lnTo>
                  <a:lnTo>
                    <a:pt x="546" y="54"/>
                  </a:lnTo>
                  <a:lnTo>
                    <a:pt x="564" y="72"/>
                  </a:lnTo>
                  <a:lnTo>
                    <a:pt x="552" y="66"/>
                  </a:lnTo>
                  <a:lnTo>
                    <a:pt x="546" y="60"/>
                  </a:lnTo>
                  <a:lnTo>
                    <a:pt x="528" y="48"/>
                  </a:lnTo>
                  <a:lnTo>
                    <a:pt x="492" y="30"/>
                  </a:lnTo>
                  <a:lnTo>
                    <a:pt x="480" y="30"/>
                  </a:lnTo>
                  <a:lnTo>
                    <a:pt x="474" y="36"/>
                  </a:lnTo>
                  <a:lnTo>
                    <a:pt x="468" y="48"/>
                  </a:lnTo>
                  <a:lnTo>
                    <a:pt x="462" y="54"/>
                  </a:lnTo>
                  <a:lnTo>
                    <a:pt x="450" y="54"/>
                  </a:lnTo>
                  <a:lnTo>
                    <a:pt x="438" y="48"/>
                  </a:lnTo>
                  <a:lnTo>
                    <a:pt x="420" y="48"/>
                  </a:lnTo>
                  <a:lnTo>
                    <a:pt x="420" y="42"/>
                  </a:lnTo>
                  <a:lnTo>
                    <a:pt x="426" y="42"/>
                  </a:lnTo>
                  <a:lnTo>
                    <a:pt x="438" y="30"/>
                  </a:lnTo>
                  <a:lnTo>
                    <a:pt x="384" y="30"/>
                  </a:lnTo>
                  <a:lnTo>
                    <a:pt x="372" y="42"/>
                  </a:lnTo>
                  <a:lnTo>
                    <a:pt x="366" y="30"/>
                  </a:lnTo>
                  <a:lnTo>
                    <a:pt x="354" y="30"/>
                  </a:lnTo>
                  <a:lnTo>
                    <a:pt x="318" y="48"/>
                  </a:lnTo>
                  <a:lnTo>
                    <a:pt x="318" y="60"/>
                  </a:lnTo>
                  <a:lnTo>
                    <a:pt x="324" y="66"/>
                  </a:lnTo>
                  <a:close/>
                  <a:moveTo>
                    <a:pt x="642" y="708"/>
                  </a:moveTo>
                  <a:lnTo>
                    <a:pt x="666" y="696"/>
                  </a:lnTo>
                  <a:lnTo>
                    <a:pt x="666" y="690"/>
                  </a:lnTo>
                  <a:lnTo>
                    <a:pt x="678" y="690"/>
                  </a:lnTo>
                  <a:lnTo>
                    <a:pt x="678" y="678"/>
                  </a:lnTo>
                  <a:lnTo>
                    <a:pt x="672" y="672"/>
                  </a:lnTo>
                  <a:lnTo>
                    <a:pt x="630" y="690"/>
                  </a:lnTo>
                  <a:lnTo>
                    <a:pt x="642" y="708"/>
                  </a:lnTo>
                  <a:close/>
                  <a:moveTo>
                    <a:pt x="774" y="648"/>
                  </a:moveTo>
                  <a:lnTo>
                    <a:pt x="780" y="642"/>
                  </a:lnTo>
                  <a:lnTo>
                    <a:pt x="786" y="642"/>
                  </a:lnTo>
                  <a:lnTo>
                    <a:pt x="792" y="636"/>
                  </a:lnTo>
                  <a:lnTo>
                    <a:pt x="792" y="630"/>
                  </a:lnTo>
                  <a:lnTo>
                    <a:pt x="786" y="624"/>
                  </a:lnTo>
                  <a:lnTo>
                    <a:pt x="774" y="624"/>
                  </a:lnTo>
                  <a:lnTo>
                    <a:pt x="768" y="630"/>
                  </a:lnTo>
                  <a:lnTo>
                    <a:pt x="768" y="642"/>
                  </a:lnTo>
                  <a:lnTo>
                    <a:pt x="774" y="648"/>
                  </a:lnTo>
                  <a:close/>
                  <a:moveTo>
                    <a:pt x="594" y="696"/>
                  </a:moveTo>
                  <a:lnTo>
                    <a:pt x="576" y="696"/>
                  </a:lnTo>
                  <a:lnTo>
                    <a:pt x="552" y="708"/>
                  </a:lnTo>
                  <a:lnTo>
                    <a:pt x="546" y="714"/>
                  </a:lnTo>
                  <a:lnTo>
                    <a:pt x="570" y="720"/>
                  </a:lnTo>
                  <a:lnTo>
                    <a:pt x="576" y="714"/>
                  </a:lnTo>
                  <a:lnTo>
                    <a:pt x="588" y="714"/>
                  </a:lnTo>
                  <a:lnTo>
                    <a:pt x="600" y="702"/>
                  </a:lnTo>
                  <a:lnTo>
                    <a:pt x="594" y="696"/>
                  </a:lnTo>
                  <a:close/>
                  <a:moveTo>
                    <a:pt x="918" y="612"/>
                  </a:moveTo>
                  <a:lnTo>
                    <a:pt x="936" y="618"/>
                  </a:lnTo>
                  <a:lnTo>
                    <a:pt x="942" y="606"/>
                  </a:lnTo>
                  <a:lnTo>
                    <a:pt x="948" y="600"/>
                  </a:lnTo>
                  <a:lnTo>
                    <a:pt x="948" y="594"/>
                  </a:lnTo>
                  <a:lnTo>
                    <a:pt x="918" y="594"/>
                  </a:lnTo>
                  <a:lnTo>
                    <a:pt x="918" y="612"/>
                  </a:lnTo>
                  <a:close/>
                  <a:moveTo>
                    <a:pt x="486" y="756"/>
                  </a:moveTo>
                  <a:lnTo>
                    <a:pt x="474" y="756"/>
                  </a:lnTo>
                  <a:lnTo>
                    <a:pt x="438" y="774"/>
                  </a:lnTo>
                  <a:lnTo>
                    <a:pt x="432" y="780"/>
                  </a:lnTo>
                  <a:lnTo>
                    <a:pt x="432" y="786"/>
                  </a:lnTo>
                  <a:lnTo>
                    <a:pt x="444" y="786"/>
                  </a:lnTo>
                  <a:lnTo>
                    <a:pt x="456" y="780"/>
                  </a:lnTo>
                  <a:lnTo>
                    <a:pt x="462" y="774"/>
                  </a:lnTo>
                  <a:lnTo>
                    <a:pt x="474" y="768"/>
                  </a:lnTo>
                  <a:lnTo>
                    <a:pt x="510" y="768"/>
                  </a:lnTo>
                  <a:lnTo>
                    <a:pt x="510" y="762"/>
                  </a:lnTo>
                  <a:lnTo>
                    <a:pt x="504" y="762"/>
                  </a:lnTo>
                  <a:lnTo>
                    <a:pt x="504" y="756"/>
                  </a:lnTo>
                  <a:lnTo>
                    <a:pt x="486" y="756"/>
                  </a:lnTo>
                  <a:close/>
                  <a:moveTo>
                    <a:pt x="1356" y="660"/>
                  </a:moveTo>
                  <a:lnTo>
                    <a:pt x="1326" y="666"/>
                  </a:lnTo>
                  <a:lnTo>
                    <a:pt x="1290" y="654"/>
                  </a:lnTo>
                  <a:lnTo>
                    <a:pt x="1260" y="642"/>
                  </a:lnTo>
                  <a:lnTo>
                    <a:pt x="1302" y="642"/>
                  </a:lnTo>
                  <a:lnTo>
                    <a:pt x="1326" y="630"/>
                  </a:lnTo>
                  <a:lnTo>
                    <a:pt x="1344" y="630"/>
                  </a:lnTo>
                  <a:lnTo>
                    <a:pt x="1350" y="624"/>
                  </a:lnTo>
                  <a:lnTo>
                    <a:pt x="1356" y="624"/>
                  </a:lnTo>
                  <a:lnTo>
                    <a:pt x="1344" y="618"/>
                  </a:lnTo>
                  <a:lnTo>
                    <a:pt x="1338" y="612"/>
                  </a:lnTo>
                  <a:lnTo>
                    <a:pt x="1320" y="606"/>
                  </a:lnTo>
                  <a:lnTo>
                    <a:pt x="1308" y="600"/>
                  </a:lnTo>
                  <a:lnTo>
                    <a:pt x="1284" y="600"/>
                  </a:lnTo>
                  <a:lnTo>
                    <a:pt x="1260" y="588"/>
                  </a:lnTo>
                  <a:lnTo>
                    <a:pt x="1254" y="588"/>
                  </a:lnTo>
                  <a:lnTo>
                    <a:pt x="1242" y="582"/>
                  </a:lnTo>
                  <a:lnTo>
                    <a:pt x="1242" y="588"/>
                  </a:lnTo>
                  <a:lnTo>
                    <a:pt x="1236" y="594"/>
                  </a:lnTo>
                  <a:lnTo>
                    <a:pt x="1236" y="600"/>
                  </a:lnTo>
                  <a:lnTo>
                    <a:pt x="1218" y="618"/>
                  </a:lnTo>
                  <a:lnTo>
                    <a:pt x="1206" y="618"/>
                  </a:lnTo>
                  <a:lnTo>
                    <a:pt x="1200" y="612"/>
                  </a:lnTo>
                  <a:lnTo>
                    <a:pt x="1224" y="588"/>
                  </a:lnTo>
                  <a:lnTo>
                    <a:pt x="1158" y="564"/>
                  </a:lnTo>
                  <a:lnTo>
                    <a:pt x="1158" y="576"/>
                  </a:lnTo>
                  <a:lnTo>
                    <a:pt x="1152" y="594"/>
                  </a:lnTo>
                  <a:lnTo>
                    <a:pt x="1134" y="630"/>
                  </a:lnTo>
                  <a:lnTo>
                    <a:pt x="1128" y="630"/>
                  </a:lnTo>
                  <a:lnTo>
                    <a:pt x="1122" y="624"/>
                  </a:lnTo>
                  <a:lnTo>
                    <a:pt x="1116" y="612"/>
                  </a:lnTo>
                  <a:lnTo>
                    <a:pt x="1116" y="594"/>
                  </a:lnTo>
                  <a:lnTo>
                    <a:pt x="1122" y="582"/>
                  </a:lnTo>
                  <a:lnTo>
                    <a:pt x="1116" y="594"/>
                  </a:lnTo>
                  <a:lnTo>
                    <a:pt x="1104" y="600"/>
                  </a:lnTo>
                  <a:lnTo>
                    <a:pt x="1080" y="624"/>
                  </a:lnTo>
                  <a:lnTo>
                    <a:pt x="1056" y="636"/>
                  </a:lnTo>
                  <a:lnTo>
                    <a:pt x="1050" y="636"/>
                  </a:lnTo>
                  <a:lnTo>
                    <a:pt x="1050" y="630"/>
                  </a:lnTo>
                  <a:lnTo>
                    <a:pt x="1056" y="618"/>
                  </a:lnTo>
                  <a:lnTo>
                    <a:pt x="1086" y="588"/>
                  </a:lnTo>
                  <a:lnTo>
                    <a:pt x="1092" y="576"/>
                  </a:lnTo>
                  <a:lnTo>
                    <a:pt x="1104" y="570"/>
                  </a:lnTo>
                  <a:lnTo>
                    <a:pt x="1068" y="570"/>
                  </a:lnTo>
                  <a:lnTo>
                    <a:pt x="1050" y="582"/>
                  </a:lnTo>
                  <a:lnTo>
                    <a:pt x="1026" y="582"/>
                  </a:lnTo>
                  <a:lnTo>
                    <a:pt x="984" y="606"/>
                  </a:lnTo>
                  <a:lnTo>
                    <a:pt x="960" y="606"/>
                  </a:lnTo>
                  <a:lnTo>
                    <a:pt x="954" y="636"/>
                  </a:lnTo>
                  <a:lnTo>
                    <a:pt x="918" y="624"/>
                  </a:lnTo>
                  <a:lnTo>
                    <a:pt x="882" y="630"/>
                  </a:lnTo>
                  <a:lnTo>
                    <a:pt x="894" y="660"/>
                  </a:lnTo>
                  <a:lnTo>
                    <a:pt x="846" y="648"/>
                  </a:lnTo>
                  <a:lnTo>
                    <a:pt x="828" y="654"/>
                  </a:lnTo>
                  <a:lnTo>
                    <a:pt x="834" y="678"/>
                  </a:lnTo>
                  <a:lnTo>
                    <a:pt x="792" y="690"/>
                  </a:lnTo>
                  <a:lnTo>
                    <a:pt x="792" y="654"/>
                  </a:lnTo>
                  <a:lnTo>
                    <a:pt x="762" y="654"/>
                  </a:lnTo>
                  <a:lnTo>
                    <a:pt x="774" y="678"/>
                  </a:lnTo>
                  <a:lnTo>
                    <a:pt x="750" y="660"/>
                  </a:lnTo>
                  <a:lnTo>
                    <a:pt x="750" y="690"/>
                  </a:lnTo>
                  <a:lnTo>
                    <a:pt x="726" y="690"/>
                  </a:lnTo>
                  <a:lnTo>
                    <a:pt x="726" y="660"/>
                  </a:lnTo>
                  <a:lnTo>
                    <a:pt x="738" y="654"/>
                  </a:lnTo>
                  <a:lnTo>
                    <a:pt x="744" y="648"/>
                  </a:lnTo>
                  <a:lnTo>
                    <a:pt x="708" y="642"/>
                  </a:lnTo>
                  <a:lnTo>
                    <a:pt x="708" y="684"/>
                  </a:lnTo>
                  <a:lnTo>
                    <a:pt x="678" y="696"/>
                  </a:lnTo>
                  <a:lnTo>
                    <a:pt x="696" y="708"/>
                  </a:lnTo>
                  <a:lnTo>
                    <a:pt x="660" y="714"/>
                  </a:lnTo>
                  <a:lnTo>
                    <a:pt x="672" y="726"/>
                  </a:lnTo>
                  <a:lnTo>
                    <a:pt x="630" y="726"/>
                  </a:lnTo>
                  <a:lnTo>
                    <a:pt x="630" y="738"/>
                  </a:lnTo>
                  <a:lnTo>
                    <a:pt x="660" y="750"/>
                  </a:lnTo>
                  <a:lnTo>
                    <a:pt x="654" y="762"/>
                  </a:lnTo>
                  <a:lnTo>
                    <a:pt x="618" y="744"/>
                  </a:lnTo>
                  <a:lnTo>
                    <a:pt x="600" y="750"/>
                  </a:lnTo>
                  <a:lnTo>
                    <a:pt x="624" y="762"/>
                  </a:lnTo>
                  <a:lnTo>
                    <a:pt x="606" y="780"/>
                  </a:lnTo>
                  <a:lnTo>
                    <a:pt x="594" y="762"/>
                  </a:lnTo>
                  <a:lnTo>
                    <a:pt x="576" y="768"/>
                  </a:lnTo>
                  <a:lnTo>
                    <a:pt x="576" y="780"/>
                  </a:lnTo>
                  <a:lnTo>
                    <a:pt x="546" y="780"/>
                  </a:lnTo>
                  <a:lnTo>
                    <a:pt x="540" y="792"/>
                  </a:lnTo>
                  <a:lnTo>
                    <a:pt x="564" y="804"/>
                  </a:lnTo>
                  <a:lnTo>
                    <a:pt x="564" y="822"/>
                  </a:lnTo>
                  <a:lnTo>
                    <a:pt x="528" y="810"/>
                  </a:lnTo>
                  <a:lnTo>
                    <a:pt x="522" y="822"/>
                  </a:lnTo>
                  <a:lnTo>
                    <a:pt x="552" y="834"/>
                  </a:lnTo>
                  <a:lnTo>
                    <a:pt x="504" y="834"/>
                  </a:lnTo>
                  <a:lnTo>
                    <a:pt x="504" y="852"/>
                  </a:lnTo>
                  <a:lnTo>
                    <a:pt x="492" y="846"/>
                  </a:lnTo>
                  <a:lnTo>
                    <a:pt x="486" y="846"/>
                  </a:lnTo>
                  <a:lnTo>
                    <a:pt x="474" y="852"/>
                  </a:lnTo>
                  <a:lnTo>
                    <a:pt x="468" y="858"/>
                  </a:lnTo>
                  <a:lnTo>
                    <a:pt x="456" y="858"/>
                  </a:lnTo>
                  <a:lnTo>
                    <a:pt x="456" y="870"/>
                  </a:lnTo>
                  <a:lnTo>
                    <a:pt x="462" y="876"/>
                  </a:lnTo>
                  <a:lnTo>
                    <a:pt x="456" y="876"/>
                  </a:lnTo>
                  <a:lnTo>
                    <a:pt x="450" y="882"/>
                  </a:lnTo>
                  <a:lnTo>
                    <a:pt x="444" y="882"/>
                  </a:lnTo>
                  <a:lnTo>
                    <a:pt x="444" y="900"/>
                  </a:lnTo>
                  <a:lnTo>
                    <a:pt x="480" y="900"/>
                  </a:lnTo>
                  <a:lnTo>
                    <a:pt x="468" y="912"/>
                  </a:lnTo>
                  <a:lnTo>
                    <a:pt x="432" y="906"/>
                  </a:lnTo>
                  <a:lnTo>
                    <a:pt x="420" y="912"/>
                  </a:lnTo>
                  <a:lnTo>
                    <a:pt x="414" y="918"/>
                  </a:lnTo>
                  <a:lnTo>
                    <a:pt x="414" y="930"/>
                  </a:lnTo>
                  <a:lnTo>
                    <a:pt x="420" y="936"/>
                  </a:lnTo>
                  <a:lnTo>
                    <a:pt x="420" y="948"/>
                  </a:lnTo>
                  <a:lnTo>
                    <a:pt x="408" y="954"/>
                  </a:lnTo>
                  <a:lnTo>
                    <a:pt x="390" y="954"/>
                  </a:lnTo>
                  <a:lnTo>
                    <a:pt x="390" y="972"/>
                  </a:lnTo>
                  <a:lnTo>
                    <a:pt x="408" y="990"/>
                  </a:lnTo>
                  <a:lnTo>
                    <a:pt x="408" y="996"/>
                  </a:lnTo>
                  <a:lnTo>
                    <a:pt x="402" y="1002"/>
                  </a:lnTo>
                  <a:lnTo>
                    <a:pt x="366" y="1002"/>
                  </a:lnTo>
                  <a:lnTo>
                    <a:pt x="360" y="1008"/>
                  </a:lnTo>
                  <a:lnTo>
                    <a:pt x="360" y="1026"/>
                  </a:lnTo>
                  <a:lnTo>
                    <a:pt x="354" y="1032"/>
                  </a:lnTo>
                  <a:lnTo>
                    <a:pt x="342" y="1032"/>
                  </a:lnTo>
                  <a:lnTo>
                    <a:pt x="336" y="1026"/>
                  </a:lnTo>
                  <a:lnTo>
                    <a:pt x="318" y="1026"/>
                  </a:lnTo>
                  <a:lnTo>
                    <a:pt x="294" y="1050"/>
                  </a:lnTo>
                  <a:lnTo>
                    <a:pt x="282" y="1050"/>
                  </a:lnTo>
                  <a:lnTo>
                    <a:pt x="270" y="1062"/>
                  </a:lnTo>
                  <a:lnTo>
                    <a:pt x="270" y="1068"/>
                  </a:lnTo>
                  <a:lnTo>
                    <a:pt x="276" y="1074"/>
                  </a:lnTo>
                  <a:lnTo>
                    <a:pt x="276" y="1080"/>
                  </a:lnTo>
                  <a:lnTo>
                    <a:pt x="264" y="1092"/>
                  </a:lnTo>
                  <a:lnTo>
                    <a:pt x="252" y="1092"/>
                  </a:lnTo>
                  <a:lnTo>
                    <a:pt x="246" y="1086"/>
                  </a:lnTo>
                  <a:lnTo>
                    <a:pt x="234" y="1080"/>
                  </a:lnTo>
                  <a:lnTo>
                    <a:pt x="234" y="1074"/>
                  </a:lnTo>
                  <a:lnTo>
                    <a:pt x="228" y="1074"/>
                  </a:lnTo>
                  <a:lnTo>
                    <a:pt x="204" y="1086"/>
                  </a:lnTo>
                  <a:lnTo>
                    <a:pt x="198" y="1092"/>
                  </a:lnTo>
                  <a:lnTo>
                    <a:pt x="180" y="1092"/>
                  </a:lnTo>
                  <a:lnTo>
                    <a:pt x="180" y="1110"/>
                  </a:lnTo>
                  <a:lnTo>
                    <a:pt x="186" y="1116"/>
                  </a:lnTo>
                  <a:lnTo>
                    <a:pt x="192" y="1116"/>
                  </a:lnTo>
                  <a:lnTo>
                    <a:pt x="192" y="1128"/>
                  </a:lnTo>
                  <a:lnTo>
                    <a:pt x="186" y="1128"/>
                  </a:lnTo>
                  <a:lnTo>
                    <a:pt x="174" y="1116"/>
                  </a:lnTo>
                  <a:lnTo>
                    <a:pt x="162" y="1116"/>
                  </a:lnTo>
                  <a:lnTo>
                    <a:pt x="156" y="1122"/>
                  </a:lnTo>
                  <a:lnTo>
                    <a:pt x="156" y="1134"/>
                  </a:lnTo>
                  <a:lnTo>
                    <a:pt x="168" y="1134"/>
                  </a:lnTo>
                  <a:lnTo>
                    <a:pt x="174" y="1140"/>
                  </a:lnTo>
                  <a:lnTo>
                    <a:pt x="180" y="1140"/>
                  </a:lnTo>
                  <a:lnTo>
                    <a:pt x="180" y="1152"/>
                  </a:lnTo>
                  <a:lnTo>
                    <a:pt x="138" y="1152"/>
                  </a:lnTo>
                  <a:lnTo>
                    <a:pt x="138" y="1146"/>
                  </a:lnTo>
                  <a:lnTo>
                    <a:pt x="132" y="1146"/>
                  </a:lnTo>
                  <a:lnTo>
                    <a:pt x="126" y="1158"/>
                  </a:lnTo>
                  <a:lnTo>
                    <a:pt x="126" y="1170"/>
                  </a:lnTo>
                  <a:lnTo>
                    <a:pt x="120" y="1164"/>
                  </a:lnTo>
                  <a:lnTo>
                    <a:pt x="102" y="1164"/>
                  </a:lnTo>
                  <a:lnTo>
                    <a:pt x="96" y="1158"/>
                  </a:lnTo>
                  <a:lnTo>
                    <a:pt x="90" y="1158"/>
                  </a:lnTo>
                  <a:lnTo>
                    <a:pt x="90" y="1164"/>
                  </a:lnTo>
                  <a:lnTo>
                    <a:pt x="96" y="1170"/>
                  </a:lnTo>
                  <a:lnTo>
                    <a:pt x="120" y="1182"/>
                  </a:lnTo>
                  <a:lnTo>
                    <a:pt x="132" y="1182"/>
                  </a:lnTo>
                  <a:lnTo>
                    <a:pt x="108" y="1200"/>
                  </a:lnTo>
                  <a:lnTo>
                    <a:pt x="108" y="1188"/>
                  </a:lnTo>
                  <a:lnTo>
                    <a:pt x="90" y="1188"/>
                  </a:lnTo>
                  <a:lnTo>
                    <a:pt x="84" y="1194"/>
                  </a:lnTo>
                  <a:lnTo>
                    <a:pt x="60" y="1182"/>
                  </a:lnTo>
                  <a:lnTo>
                    <a:pt x="54" y="1194"/>
                  </a:lnTo>
                  <a:lnTo>
                    <a:pt x="66" y="1200"/>
                  </a:lnTo>
                  <a:lnTo>
                    <a:pt x="30" y="1194"/>
                  </a:lnTo>
                  <a:lnTo>
                    <a:pt x="30" y="1212"/>
                  </a:lnTo>
                  <a:lnTo>
                    <a:pt x="78" y="1212"/>
                  </a:lnTo>
                  <a:lnTo>
                    <a:pt x="54" y="1218"/>
                  </a:lnTo>
                  <a:lnTo>
                    <a:pt x="18" y="1212"/>
                  </a:lnTo>
                  <a:lnTo>
                    <a:pt x="6" y="1224"/>
                  </a:lnTo>
                  <a:lnTo>
                    <a:pt x="6" y="1230"/>
                  </a:lnTo>
                  <a:lnTo>
                    <a:pt x="18" y="1242"/>
                  </a:lnTo>
                  <a:lnTo>
                    <a:pt x="36" y="1242"/>
                  </a:lnTo>
                  <a:lnTo>
                    <a:pt x="18" y="1248"/>
                  </a:lnTo>
                  <a:lnTo>
                    <a:pt x="12" y="1254"/>
                  </a:lnTo>
                  <a:lnTo>
                    <a:pt x="12" y="1260"/>
                  </a:lnTo>
                  <a:lnTo>
                    <a:pt x="66" y="1260"/>
                  </a:lnTo>
                  <a:lnTo>
                    <a:pt x="78" y="1272"/>
                  </a:lnTo>
                  <a:lnTo>
                    <a:pt x="96" y="1260"/>
                  </a:lnTo>
                  <a:lnTo>
                    <a:pt x="108" y="1272"/>
                  </a:lnTo>
                  <a:lnTo>
                    <a:pt x="138" y="1260"/>
                  </a:lnTo>
                  <a:lnTo>
                    <a:pt x="132" y="1266"/>
                  </a:lnTo>
                  <a:lnTo>
                    <a:pt x="126" y="1278"/>
                  </a:lnTo>
                  <a:lnTo>
                    <a:pt x="60" y="1278"/>
                  </a:lnTo>
                  <a:lnTo>
                    <a:pt x="54" y="1272"/>
                  </a:lnTo>
                  <a:lnTo>
                    <a:pt x="24" y="1272"/>
                  </a:lnTo>
                  <a:lnTo>
                    <a:pt x="12" y="1278"/>
                  </a:lnTo>
                  <a:lnTo>
                    <a:pt x="0" y="1278"/>
                  </a:lnTo>
                  <a:lnTo>
                    <a:pt x="6" y="1284"/>
                  </a:lnTo>
                  <a:lnTo>
                    <a:pt x="6" y="1296"/>
                  </a:lnTo>
                  <a:lnTo>
                    <a:pt x="12" y="1296"/>
                  </a:lnTo>
                  <a:lnTo>
                    <a:pt x="18" y="1302"/>
                  </a:lnTo>
                  <a:lnTo>
                    <a:pt x="30" y="1302"/>
                  </a:lnTo>
                  <a:lnTo>
                    <a:pt x="24" y="1308"/>
                  </a:lnTo>
                  <a:lnTo>
                    <a:pt x="18" y="1320"/>
                  </a:lnTo>
                  <a:lnTo>
                    <a:pt x="36" y="1338"/>
                  </a:lnTo>
                  <a:lnTo>
                    <a:pt x="48" y="1338"/>
                  </a:lnTo>
                  <a:lnTo>
                    <a:pt x="72" y="1320"/>
                  </a:lnTo>
                  <a:lnTo>
                    <a:pt x="102" y="1314"/>
                  </a:lnTo>
                  <a:lnTo>
                    <a:pt x="90" y="1338"/>
                  </a:lnTo>
                  <a:lnTo>
                    <a:pt x="78" y="1332"/>
                  </a:lnTo>
                  <a:lnTo>
                    <a:pt x="66" y="1350"/>
                  </a:lnTo>
                  <a:lnTo>
                    <a:pt x="30" y="1350"/>
                  </a:lnTo>
                  <a:lnTo>
                    <a:pt x="48" y="1368"/>
                  </a:lnTo>
                  <a:lnTo>
                    <a:pt x="24" y="1380"/>
                  </a:lnTo>
                  <a:lnTo>
                    <a:pt x="6" y="1380"/>
                  </a:lnTo>
                  <a:lnTo>
                    <a:pt x="6" y="1398"/>
                  </a:lnTo>
                  <a:lnTo>
                    <a:pt x="66" y="1398"/>
                  </a:lnTo>
                  <a:lnTo>
                    <a:pt x="54" y="1422"/>
                  </a:lnTo>
                  <a:lnTo>
                    <a:pt x="66" y="1422"/>
                  </a:lnTo>
                  <a:lnTo>
                    <a:pt x="54" y="1440"/>
                  </a:lnTo>
                  <a:lnTo>
                    <a:pt x="42" y="1434"/>
                  </a:lnTo>
                  <a:lnTo>
                    <a:pt x="36" y="1434"/>
                  </a:lnTo>
                  <a:lnTo>
                    <a:pt x="30" y="1428"/>
                  </a:lnTo>
                  <a:lnTo>
                    <a:pt x="18" y="1428"/>
                  </a:lnTo>
                  <a:lnTo>
                    <a:pt x="18" y="1440"/>
                  </a:lnTo>
                  <a:lnTo>
                    <a:pt x="24" y="1452"/>
                  </a:lnTo>
                  <a:lnTo>
                    <a:pt x="36" y="1464"/>
                  </a:lnTo>
                  <a:lnTo>
                    <a:pt x="84" y="1482"/>
                  </a:lnTo>
                  <a:lnTo>
                    <a:pt x="78" y="1488"/>
                  </a:lnTo>
                  <a:lnTo>
                    <a:pt x="84" y="1494"/>
                  </a:lnTo>
                  <a:lnTo>
                    <a:pt x="126" y="1494"/>
                  </a:lnTo>
                  <a:lnTo>
                    <a:pt x="132" y="1500"/>
                  </a:lnTo>
                  <a:lnTo>
                    <a:pt x="144" y="1500"/>
                  </a:lnTo>
                  <a:lnTo>
                    <a:pt x="192" y="1476"/>
                  </a:lnTo>
                  <a:lnTo>
                    <a:pt x="204" y="1464"/>
                  </a:lnTo>
                  <a:lnTo>
                    <a:pt x="216" y="1458"/>
                  </a:lnTo>
                  <a:lnTo>
                    <a:pt x="222" y="1452"/>
                  </a:lnTo>
                  <a:lnTo>
                    <a:pt x="258" y="1422"/>
                  </a:lnTo>
                  <a:lnTo>
                    <a:pt x="282" y="1422"/>
                  </a:lnTo>
                  <a:lnTo>
                    <a:pt x="294" y="1416"/>
                  </a:lnTo>
                  <a:lnTo>
                    <a:pt x="300" y="1410"/>
                  </a:lnTo>
                  <a:lnTo>
                    <a:pt x="300" y="1386"/>
                  </a:lnTo>
                  <a:lnTo>
                    <a:pt x="294" y="1380"/>
                  </a:lnTo>
                  <a:lnTo>
                    <a:pt x="294" y="1374"/>
                  </a:lnTo>
                  <a:lnTo>
                    <a:pt x="312" y="1368"/>
                  </a:lnTo>
                  <a:lnTo>
                    <a:pt x="306" y="1374"/>
                  </a:lnTo>
                  <a:lnTo>
                    <a:pt x="306" y="1380"/>
                  </a:lnTo>
                  <a:lnTo>
                    <a:pt x="300" y="1386"/>
                  </a:lnTo>
                  <a:lnTo>
                    <a:pt x="300" y="1392"/>
                  </a:lnTo>
                  <a:lnTo>
                    <a:pt x="312" y="1404"/>
                  </a:lnTo>
                  <a:lnTo>
                    <a:pt x="330" y="1410"/>
                  </a:lnTo>
                  <a:lnTo>
                    <a:pt x="342" y="1410"/>
                  </a:lnTo>
                  <a:lnTo>
                    <a:pt x="348" y="1416"/>
                  </a:lnTo>
                  <a:lnTo>
                    <a:pt x="354" y="1416"/>
                  </a:lnTo>
                  <a:lnTo>
                    <a:pt x="372" y="1434"/>
                  </a:lnTo>
                  <a:lnTo>
                    <a:pt x="378" y="1422"/>
                  </a:lnTo>
                  <a:lnTo>
                    <a:pt x="384" y="1416"/>
                  </a:lnTo>
                  <a:lnTo>
                    <a:pt x="384" y="1398"/>
                  </a:lnTo>
                  <a:lnTo>
                    <a:pt x="372" y="1386"/>
                  </a:lnTo>
                  <a:lnTo>
                    <a:pt x="372" y="1380"/>
                  </a:lnTo>
                  <a:lnTo>
                    <a:pt x="378" y="1374"/>
                  </a:lnTo>
                  <a:lnTo>
                    <a:pt x="384" y="1374"/>
                  </a:lnTo>
                  <a:lnTo>
                    <a:pt x="384" y="1368"/>
                  </a:lnTo>
                  <a:lnTo>
                    <a:pt x="378" y="1356"/>
                  </a:lnTo>
                  <a:lnTo>
                    <a:pt x="414" y="1356"/>
                  </a:lnTo>
                  <a:lnTo>
                    <a:pt x="420" y="1350"/>
                  </a:lnTo>
                  <a:lnTo>
                    <a:pt x="420" y="1326"/>
                  </a:lnTo>
                  <a:lnTo>
                    <a:pt x="426" y="1326"/>
                  </a:lnTo>
                  <a:lnTo>
                    <a:pt x="420" y="1314"/>
                  </a:lnTo>
                  <a:lnTo>
                    <a:pt x="420" y="1308"/>
                  </a:lnTo>
                  <a:lnTo>
                    <a:pt x="414" y="1302"/>
                  </a:lnTo>
                  <a:lnTo>
                    <a:pt x="414" y="1296"/>
                  </a:lnTo>
                  <a:lnTo>
                    <a:pt x="408" y="1284"/>
                  </a:lnTo>
                  <a:lnTo>
                    <a:pt x="402" y="1278"/>
                  </a:lnTo>
                  <a:lnTo>
                    <a:pt x="426" y="1272"/>
                  </a:lnTo>
                  <a:lnTo>
                    <a:pt x="438" y="1260"/>
                  </a:lnTo>
                  <a:lnTo>
                    <a:pt x="438" y="1248"/>
                  </a:lnTo>
                  <a:lnTo>
                    <a:pt x="420" y="1230"/>
                  </a:lnTo>
                  <a:lnTo>
                    <a:pt x="414" y="1230"/>
                  </a:lnTo>
                  <a:lnTo>
                    <a:pt x="402" y="1218"/>
                  </a:lnTo>
                  <a:lnTo>
                    <a:pt x="402" y="1200"/>
                  </a:lnTo>
                  <a:lnTo>
                    <a:pt x="408" y="1188"/>
                  </a:lnTo>
                  <a:lnTo>
                    <a:pt x="408" y="1176"/>
                  </a:lnTo>
                  <a:lnTo>
                    <a:pt x="384" y="1152"/>
                  </a:lnTo>
                  <a:lnTo>
                    <a:pt x="384" y="1140"/>
                  </a:lnTo>
                  <a:lnTo>
                    <a:pt x="390" y="1134"/>
                  </a:lnTo>
                  <a:lnTo>
                    <a:pt x="396" y="1134"/>
                  </a:lnTo>
                  <a:lnTo>
                    <a:pt x="402" y="1128"/>
                  </a:lnTo>
                  <a:lnTo>
                    <a:pt x="402" y="1122"/>
                  </a:lnTo>
                  <a:lnTo>
                    <a:pt x="396" y="1116"/>
                  </a:lnTo>
                  <a:lnTo>
                    <a:pt x="390" y="1116"/>
                  </a:lnTo>
                  <a:lnTo>
                    <a:pt x="384" y="1110"/>
                  </a:lnTo>
                  <a:lnTo>
                    <a:pt x="426" y="1068"/>
                  </a:lnTo>
                  <a:lnTo>
                    <a:pt x="438" y="1062"/>
                  </a:lnTo>
                  <a:lnTo>
                    <a:pt x="444" y="1056"/>
                  </a:lnTo>
                  <a:lnTo>
                    <a:pt x="456" y="1050"/>
                  </a:lnTo>
                  <a:lnTo>
                    <a:pt x="498" y="1050"/>
                  </a:lnTo>
                  <a:lnTo>
                    <a:pt x="504" y="1044"/>
                  </a:lnTo>
                  <a:lnTo>
                    <a:pt x="504" y="1038"/>
                  </a:lnTo>
                  <a:lnTo>
                    <a:pt x="486" y="1020"/>
                  </a:lnTo>
                  <a:lnTo>
                    <a:pt x="474" y="1014"/>
                  </a:lnTo>
                  <a:lnTo>
                    <a:pt x="486" y="1008"/>
                  </a:lnTo>
                  <a:lnTo>
                    <a:pt x="492" y="1008"/>
                  </a:lnTo>
                  <a:lnTo>
                    <a:pt x="522" y="978"/>
                  </a:lnTo>
                  <a:lnTo>
                    <a:pt x="528" y="936"/>
                  </a:lnTo>
                  <a:lnTo>
                    <a:pt x="528" y="900"/>
                  </a:lnTo>
                  <a:lnTo>
                    <a:pt x="546" y="912"/>
                  </a:lnTo>
                  <a:lnTo>
                    <a:pt x="558" y="906"/>
                  </a:lnTo>
                  <a:lnTo>
                    <a:pt x="564" y="906"/>
                  </a:lnTo>
                  <a:lnTo>
                    <a:pt x="570" y="900"/>
                  </a:lnTo>
                  <a:lnTo>
                    <a:pt x="576" y="900"/>
                  </a:lnTo>
                  <a:lnTo>
                    <a:pt x="576" y="894"/>
                  </a:lnTo>
                  <a:lnTo>
                    <a:pt x="570" y="888"/>
                  </a:lnTo>
                  <a:lnTo>
                    <a:pt x="570" y="882"/>
                  </a:lnTo>
                  <a:lnTo>
                    <a:pt x="564" y="876"/>
                  </a:lnTo>
                  <a:lnTo>
                    <a:pt x="582" y="876"/>
                  </a:lnTo>
                  <a:lnTo>
                    <a:pt x="588" y="870"/>
                  </a:lnTo>
                  <a:lnTo>
                    <a:pt x="588" y="864"/>
                  </a:lnTo>
                  <a:lnTo>
                    <a:pt x="594" y="858"/>
                  </a:lnTo>
                  <a:lnTo>
                    <a:pt x="606" y="852"/>
                  </a:lnTo>
                  <a:lnTo>
                    <a:pt x="612" y="852"/>
                  </a:lnTo>
                  <a:lnTo>
                    <a:pt x="618" y="834"/>
                  </a:lnTo>
                  <a:lnTo>
                    <a:pt x="612" y="828"/>
                  </a:lnTo>
                  <a:lnTo>
                    <a:pt x="600" y="822"/>
                  </a:lnTo>
                  <a:lnTo>
                    <a:pt x="600" y="810"/>
                  </a:lnTo>
                  <a:lnTo>
                    <a:pt x="606" y="810"/>
                  </a:lnTo>
                  <a:lnTo>
                    <a:pt x="618" y="804"/>
                  </a:lnTo>
                  <a:lnTo>
                    <a:pt x="636" y="786"/>
                  </a:lnTo>
                  <a:lnTo>
                    <a:pt x="678" y="780"/>
                  </a:lnTo>
                  <a:lnTo>
                    <a:pt x="696" y="780"/>
                  </a:lnTo>
                  <a:lnTo>
                    <a:pt x="702" y="774"/>
                  </a:lnTo>
                  <a:lnTo>
                    <a:pt x="702" y="744"/>
                  </a:lnTo>
                  <a:lnTo>
                    <a:pt x="714" y="732"/>
                  </a:lnTo>
                  <a:lnTo>
                    <a:pt x="720" y="738"/>
                  </a:lnTo>
                  <a:lnTo>
                    <a:pt x="720" y="750"/>
                  </a:lnTo>
                  <a:lnTo>
                    <a:pt x="744" y="744"/>
                  </a:lnTo>
                  <a:lnTo>
                    <a:pt x="768" y="750"/>
                  </a:lnTo>
                  <a:lnTo>
                    <a:pt x="792" y="750"/>
                  </a:lnTo>
                  <a:lnTo>
                    <a:pt x="798" y="756"/>
                  </a:lnTo>
                  <a:lnTo>
                    <a:pt x="810" y="756"/>
                  </a:lnTo>
                  <a:lnTo>
                    <a:pt x="816" y="750"/>
                  </a:lnTo>
                  <a:lnTo>
                    <a:pt x="810" y="750"/>
                  </a:lnTo>
                  <a:lnTo>
                    <a:pt x="798" y="738"/>
                  </a:lnTo>
                  <a:lnTo>
                    <a:pt x="798" y="732"/>
                  </a:lnTo>
                  <a:lnTo>
                    <a:pt x="810" y="732"/>
                  </a:lnTo>
                  <a:lnTo>
                    <a:pt x="810" y="708"/>
                  </a:lnTo>
                  <a:lnTo>
                    <a:pt x="840" y="714"/>
                  </a:lnTo>
                  <a:lnTo>
                    <a:pt x="834" y="708"/>
                  </a:lnTo>
                  <a:lnTo>
                    <a:pt x="840" y="702"/>
                  </a:lnTo>
                  <a:lnTo>
                    <a:pt x="858" y="708"/>
                  </a:lnTo>
                  <a:lnTo>
                    <a:pt x="858" y="696"/>
                  </a:lnTo>
                  <a:lnTo>
                    <a:pt x="864" y="690"/>
                  </a:lnTo>
                  <a:lnTo>
                    <a:pt x="882" y="690"/>
                  </a:lnTo>
                  <a:lnTo>
                    <a:pt x="888" y="696"/>
                  </a:lnTo>
                  <a:lnTo>
                    <a:pt x="894" y="708"/>
                  </a:lnTo>
                  <a:lnTo>
                    <a:pt x="906" y="714"/>
                  </a:lnTo>
                  <a:lnTo>
                    <a:pt x="918" y="726"/>
                  </a:lnTo>
                  <a:lnTo>
                    <a:pt x="930" y="726"/>
                  </a:lnTo>
                  <a:lnTo>
                    <a:pt x="942" y="732"/>
                  </a:lnTo>
                  <a:lnTo>
                    <a:pt x="960" y="732"/>
                  </a:lnTo>
                  <a:lnTo>
                    <a:pt x="966" y="738"/>
                  </a:lnTo>
                  <a:lnTo>
                    <a:pt x="978" y="738"/>
                  </a:lnTo>
                  <a:lnTo>
                    <a:pt x="990" y="732"/>
                  </a:lnTo>
                  <a:lnTo>
                    <a:pt x="996" y="726"/>
                  </a:lnTo>
                  <a:lnTo>
                    <a:pt x="1026" y="726"/>
                  </a:lnTo>
                  <a:lnTo>
                    <a:pt x="1038" y="732"/>
                  </a:lnTo>
                  <a:lnTo>
                    <a:pt x="1044" y="738"/>
                  </a:lnTo>
                  <a:lnTo>
                    <a:pt x="1062" y="738"/>
                  </a:lnTo>
                  <a:lnTo>
                    <a:pt x="1062" y="726"/>
                  </a:lnTo>
                  <a:lnTo>
                    <a:pt x="1068" y="720"/>
                  </a:lnTo>
                  <a:lnTo>
                    <a:pt x="1068" y="714"/>
                  </a:lnTo>
                  <a:lnTo>
                    <a:pt x="1092" y="714"/>
                  </a:lnTo>
                  <a:lnTo>
                    <a:pt x="1092" y="678"/>
                  </a:lnTo>
                  <a:lnTo>
                    <a:pt x="1098" y="672"/>
                  </a:lnTo>
                  <a:lnTo>
                    <a:pt x="1098" y="660"/>
                  </a:lnTo>
                  <a:lnTo>
                    <a:pt x="1110" y="654"/>
                  </a:lnTo>
                  <a:lnTo>
                    <a:pt x="1116" y="654"/>
                  </a:lnTo>
                  <a:lnTo>
                    <a:pt x="1128" y="648"/>
                  </a:lnTo>
                  <a:lnTo>
                    <a:pt x="1158" y="648"/>
                  </a:lnTo>
                  <a:lnTo>
                    <a:pt x="1170" y="642"/>
                  </a:lnTo>
                  <a:lnTo>
                    <a:pt x="1206" y="642"/>
                  </a:lnTo>
                  <a:lnTo>
                    <a:pt x="1206" y="654"/>
                  </a:lnTo>
                  <a:lnTo>
                    <a:pt x="1242" y="660"/>
                  </a:lnTo>
                  <a:lnTo>
                    <a:pt x="1248" y="660"/>
                  </a:lnTo>
                  <a:lnTo>
                    <a:pt x="1260" y="672"/>
                  </a:lnTo>
                  <a:lnTo>
                    <a:pt x="1266" y="684"/>
                  </a:lnTo>
                  <a:lnTo>
                    <a:pt x="1266" y="702"/>
                  </a:lnTo>
                  <a:lnTo>
                    <a:pt x="1260" y="702"/>
                  </a:lnTo>
                  <a:lnTo>
                    <a:pt x="1260" y="696"/>
                  </a:lnTo>
                  <a:lnTo>
                    <a:pt x="1254" y="696"/>
                  </a:lnTo>
                  <a:lnTo>
                    <a:pt x="1254" y="708"/>
                  </a:lnTo>
                  <a:lnTo>
                    <a:pt x="1278" y="708"/>
                  </a:lnTo>
                  <a:lnTo>
                    <a:pt x="1284" y="696"/>
                  </a:lnTo>
                  <a:lnTo>
                    <a:pt x="1284" y="690"/>
                  </a:lnTo>
                  <a:lnTo>
                    <a:pt x="1308" y="684"/>
                  </a:lnTo>
                  <a:lnTo>
                    <a:pt x="1314" y="672"/>
                  </a:lnTo>
                  <a:lnTo>
                    <a:pt x="1350" y="672"/>
                  </a:lnTo>
                  <a:lnTo>
                    <a:pt x="1362" y="660"/>
                  </a:lnTo>
                  <a:lnTo>
                    <a:pt x="1356" y="660"/>
                  </a:lnTo>
                  <a:close/>
                  <a:moveTo>
                    <a:pt x="564" y="726"/>
                  </a:moveTo>
                  <a:lnTo>
                    <a:pt x="540" y="738"/>
                  </a:lnTo>
                  <a:lnTo>
                    <a:pt x="546" y="756"/>
                  </a:lnTo>
                  <a:lnTo>
                    <a:pt x="576" y="756"/>
                  </a:lnTo>
                  <a:lnTo>
                    <a:pt x="570" y="738"/>
                  </a:lnTo>
                  <a:lnTo>
                    <a:pt x="564" y="726"/>
                  </a:lnTo>
                  <a:close/>
                  <a:moveTo>
                    <a:pt x="522" y="714"/>
                  </a:moveTo>
                  <a:lnTo>
                    <a:pt x="516" y="720"/>
                  </a:lnTo>
                  <a:lnTo>
                    <a:pt x="510" y="732"/>
                  </a:lnTo>
                  <a:lnTo>
                    <a:pt x="510" y="750"/>
                  </a:lnTo>
                  <a:lnTo>
                    <a:pt x="528" y="768"/>
                  </a:lnTo>
                  <a:lnTo>
                    <a:pt x="528" y="756"/>
                  </a:lnTo>
                  <a:lnTo>
                    <a:pt x="534" y="744"/>
                  </a:lnTo>
                  <a:lnTo>
                    <a:pt x="534" y="720"/>
                  </a:lnTo>
                  <a:lnTo>
                    <a:pt x="528" y="714"/>
                  </a:lnTo>
                  <a:lnTo>
                    <a:pt x="522" y="714"/>
                  </a:lnTo>
                  <a:close/>
                  <a:moveTo>
                    <a:pt x="606" y="738"/>
                  </a:moveTo>
                  <a:lnTo>
                    <a:pt x="618" y="732"/>
                  </a:lnTo>
                  <a:lnTo>
                    <a:pt x="624" y="732"/>
                  </a:lnTo>
                  <a:lnTo>
                    <a:pt x="630" y="726"/>
                  </a:lnTo>
                  <a:lnTo>
                    <a:pt x="618" y="720"/>
                  </a:lnTo>
                  <a:lnTo>
                    <a:pt x="588" y="720"/>
                  </a:lnTo>
                  <a:lnTo>
                    <a:pt x="576" y="732"/>
                  </a:lnTo>
                  <a:lnTo>
                    <a:pt x="582" y="744"/>
                  </a:lnTo>
                  <a:lnTo>
                    <a:pt x="606" y="738"/>
                  </a:lnTo>
                  <a:close/>
                </a:path>
              </a:pathLst>
            </a:custGeom>
            <a:solidFill>
              <a:srgbClr val="005995"/>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97" name="Nigeria" descr="© INSCALE GmbH, 05.05.2010&#10;http://www.presentationload.com/"/>
            <p:cNvSpPr>
              <a:spLocks/>
            </p:cNvSpPr>
            <p:nvPr/>
          </p:nvSpPr>
          <p:spPr bwMode="gray">
            <a:xfrm>
              <a:off x="4294192" y="3627437"/>
              <a:ext cx="336550" cy="311150"/>
            </a:xfrm>
            <a:custGeom>
              <a:avLst/>
              <a:gdLst>
                <a:gd name="T0" fmla="*/ 2147483647 w 840"/>
                <a:gd name="T1" fmla="*/ 2147483647 h 768"/>
                <a:gd name="T2" fmla="*/ 2147483647 w 840"/>
                <a:gd name="T3" fmla="*/ 2147483647 h 768"/>
                <a:gd name="T4" fmla="*/ 2147483647 w 840"/>
                <a:gd name="T5" fmla="*/ 2147483647 h 768"/>
                <a:gd name="T6" fmla="*/ 2147483647 w 840"/>
                <a:gd name="T7" fmla="*/ 2147483647 h 768"/>
                <a:gd name="T8" fmla="*/ 2147483647 w 840"/>
                <a:gd name="T9" fmla="*/ 2147483647 h 768"/>
                <a:gd name="T10" fmla="*/ 2147483647 w 840"/>
                <a:gd name="T11" fmla="*/ 2147483647 h 768"/>
                <a:gd name="T12" fmla="*/ 2147483647 w 840"/>
                <a:gd name="T13" fmla="*/ 2147483647 h 768"/>
                <a:gd name="T14" fmla="*/ 2147483647 w 840"/>
                <a:gd name="T15" fmla="*/ 2147483647 h 768"/>
                <a:gd name="T16" fmla="*/ 2147483647 w 840"/>
                <a:gd name="T17" fmla="*/ 2147483647 h 768"/>
                <a:gd name="T18" fmla="*/ 2147483647 w 840"/>
                <a:gd name="T19" fmla="*/ 2147483647 h 768"/>
                <a:gd name="T20" fmla="*/ 2147483647 w 840"/>
                <a:gd name="T21" fmla="*/ 2147483647 h 768"/>
                <a:gd name="T22" fmla="*/ 2147483647 w 840"/>
                <a:gd name="T23" fmla="*/ 2147483647 h 768"/>
                <a:gd name="T24" fmla="*/ 2147483647 w 840"/>
                <a:gd name="T25" fmla="*/ 2147483647 h 768"/>
                <a:gd name="T26" fmla="*/ 2147483647 w 840"/>
                <a:gd name="T27" fmla="*/ 2147483647 h 768"/>
                <a:gd name="T28" fmla="*/ 2147483647 w 840"/>
                <a:gd name="T29" fmla="*/ 2147483647 h 768"/>
                <a:gd name="T30" fmla="*/ 2147483647 w 840"/>
                <a:gd name="T31" fmla="*/ 2147483647 h 768"/>
                <a:gd name="T32" fmla="*/ 2147483647 w 840"/>
                <a:gd name="T33" fmla="*/ 2147483647 h 768"/>
                <a:gd name="T34" fmla="*/ 2147483647 w 840"/>
                <a:gd name="T35" fmla="*/ 2147483647 h 768"/>
                <a:gd name="T36" fmla="*/ 2147483647 w 840"/>
                <a:gd name="T37" fmla="*/ 2147483647 h 768"/>
                <a:gd name="T38" fmla="*/ 2147483647 w 840"/>
                <a:gd name="T39" fmla="*/ 2147483647 h 768"/>
                <a:gd name="T40" fmla="*/ 2147483647 w 840"/>
                <a:gd name="T41" fmla="*/ 2147483647 h 768"/>
                <a:gd name="T42" fmla="*/ 2147483647 w 840"/>
                <a:gd name="T43" fmla="*/ 2147483647 h 768"/>
                <a:gd name="T44" fmla="*/ 2147483647 w 840"/>
                <a:gd name="T45" fmla="*/ 2147483647 h 768"/>
                <a:gd name="T46" fmla="*/ 2147483647 w 840"/>
                <a:gd name="T47" fmla="*/ 2147483647 h 768"/>
                <a:gd name="T48" fmla="*/ 2147483647 w 840"/>
                <a:gd name="T49" fmla="*/ 2147483647 h 768"/>
                <a:gd name="T50" fmla="*/ 2147483647 w 840"/>
                <a:gd name="T51" fmla="*/ 2147483647 h 768"/>
                <a:gd name="T52" fmla="*/ 2147483647 w 840"/>
                <a:gd name="T53" fmla="*/ 2147483647 h 768"/>
                <a:gd name="T54" fmla="*/ 2147483647 w 840"/>
                <a:gd name="T55" fmla="*/ 2147483647 h 768"/>
                <a:gd name="T56" fmla="*/ 2147483647 w 840"/>
                <a:gd name="T57" fmla="*/ 2147483647 h 768"/>
                <a:gd name="T58" fmla="*/ 2147483647 w 840"/>
                <a:gd name="T59" fmla="*/ 2147483647 h 768"/>
                <a:gd name="T60" fmla="*/ 2147483647 w 840"/>
                <a:gd name="T61" fmla="*/ 2147483647 h 768"/>
                <a:gd name="T62" fmla="*/ 2147483647 w 840"/>
                <a:gd name="T63" fmla="*/ 2147483647 h 768"/>
                <a:gd name="T64" fmla="*/ 2147483647 w 840"/>
                <a:gd name="T65" fmla="*/ 2147483647 h 768"/>
                <a:gd name="T66" fmla="*/ 2147483647 w 840"/>
                <a:gd name="T67" fmla="*/ 2147483647 h 768"/>
                <a:gd name="T68" fmla="*/ 2147483647 w 840"/>
                <a:gd name="T69" fmla="*/ 2147483647 h 768"/>
                <a:gd name="T70" fmla="*/ 2147483647 w 840"/>
                <a:gd name="T71" fmla="*/ 2147483647 h 768"/>
                <a:gd name="T72" fmla="*/ 2147483647 w 840"/>
                <a:gd name="T73" fmla="*/ 2147483647 h 768"/>
                <a:gd name="T74" fmla="*/ 2147483647 w 840"/>
                <a:gd name="T75" fmla="*/ 2147483647 h 768"/>
                <a:gd name="T76" fmla="*/ 2147483647 w 840"/>
                <a:gd name="T77" fmla="*/ 2147483647 h 768"/>
                <a:gd name="T78" fmla="*/ 2147483647 w 840"/>
                <a:gd name="T79" fmla="*/ 2147483647 h 768"/>
                <a:gd name="T80" fmla="*/ 2147483647 w 840"/>
                <a:gd name="T81" fmla="*/ 2147483647 h 768"/>
                <a:gd name="T82" fmla="*/ 2147483647 w 840"/>
                <a:gd name="T83" fmla="*/ 2147483647 h 768"/>
                <a:gd name="T84" fmla="*/ 2147483647 w 840"/>
                <a:gd name="T85" fmla="*/ 2147483647 h 768"/>
                <a:gd name="T86" fmla="*/ 2147483647 w 840"/>
                <a:gd name="T87" fmla="*/ 2147483647 h 768"/>
                <a:gd name="T88" fmla="*/ 2147483647 w 840"/>
                <a:gd name="T89" fmla="*/ 2147483647 h 768"/>
                <a:gd name="T90" fmla="*/ 2147483647 w 840"/>
                <a:gd name="T91" fmla="*/ 2147483647 h 768"/>
                <a:gd name="T92" fmla="*/ 2147483647 w 840"/>
                <a:gd name="T93" fmla="*/ 2147483647 h 768"/>
                <a:gd name="T94" fmla="*/ 2147483647 w 840"/>
                <a:gd name="T95" fmla="*/ 2147483647 h 768"/>
                <a:gd name="T96" fmla="*/ 2147483647 w 840"/>
                <a:gd name="T97" fmla="*/ 2147483647 h 768"/>
                <a:gd name="T98" fmla="*/ 2147483647 w 840"/>
                <a:gd name="T99" fmla="*/ 2147483647 h 768"/>
                <a:gd name="T100" fmla="*/ 2147483647 w 840"/>
                <a:gd name="T101" fmla="*/ 2147483647 h 768"/>
                <a:gd name="T102" fmla="*/ 2147483647 w 840"/>
                <a:gd name="T103" fmla="*/ 2147483647 h 768"/>
                <a:gd name="T104" fmla="*/ 2147483647 w 840"/>
                <a:gd name="T105" fmla="*/ 2147483647 h 768"/>
                <a:gd name="T106" fmla="*/ 2147483647 w 840"/>
                <a:gd name="T107" fmla="*/ 2147483647 h 768"/>
                <a:gd name="T108" fmla="*/ 2147483647 w 840"/>
                <a:gd name="T109" fmla="*/ 2147483647 h 768"/>
                <a:gd name="T110" fmla="*/ 2147483647 w 840"/>
                <a:gd name="T111" fmla="*/ 2147483647 h 768"/>
                <a:gd name="T112" fmla="*/ 2147483647 w 840"/>
                <a:gd name="T113" fmla="*/ 2147483647 h 768"/>
                <a:gd name="T114" fmla="*/ 2147483647 w 840"/>
                <a:gd name="T115" fmla="*/ 2147483647 h 768"/>
                <a:gd name="T116" fmla="*/ 2147483647 w 840"/>
                <a:gd name="T117" fmla="*/ 2147483647 h 768"/>
                <a:gd name="T118" fmla="*/ 2147483647 w 840"/>
                <a:gd name="T119" fmla="*/ 2147483647 h 76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40"/>
                <a:gd name="T181" fmla="*/ 0 h 768"/>
                <a:gd name="T182" fmla="*/ 840 w 840"/>
                <a:gd name="T183" fmla="*/ 768 h 76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40" h="768">
                  <a:moveTo>
                    <a:pt x="420" y="738"/>
                  </a:moveTo>
                  <a:lnTo>
                    <a:pt x="420" y="732"/>
                  </a:lnTo>
                  <a:lnTo>
                    <a:pt x="426" y="726"/>
                  </a:lnTo>
                  <a:lnTo>
                    <a:pt x="426" y="714"/>
                  </a:lnTo>
                  <a:lnTo>
                    <a:pt x="432" y="702"/>
                  </a:lnTo>
                  <a:lnTo>
                    <a:pt x="432" y="648"/>
                  </a:lnTo>
                  <a:lnTo>
                    <a:pt x="498" y="594"/>
                  </a:lnTo>
                  <a:lnTo>
                    <a:pt x="498" y="588"/>
                  </a:lnTo>
                  <a:lnTo>
                    <a:pt x="504" y="582"/>
                  </a:lnTo>
                  <a:lnTo>
                    <a:pt x="516" y="558"/>
                  </a:lnTo>
                  <a:lnTo>
                    <a:pt x="522" y="552"/>
                  </a:lnTo>
                  <a:lnTo>
                    <a:pt x="528" y="552"/>
                  </a:lnTo>
                  <a:lnTo>
                    <a:pt x="534" y="558"/>
                  </a:lnTo>
                  <a:lnTo>
                    <a:pt x="546" y="564"/>
                  </a:lnTo>
                  <a:lnTo>
                    <a:pt x="552" y="564"/>
                  </a:lnTo>
                  <a:lnTo>
                    <a:pt x="558" y="558"/>
                  </a:lnTo>
                  <a:lnTo>
                    <a:pt x="558" y="546"/>
                  </a:lnTo>
                  <a:lnTo>
                    <a:pt x="552" y="540"/>
                  </a:lnTo>
                  <a:lnTo>
                    <a:pt x="564" y="540"/>
                  </a:lnTo>
                  <a:lnTo>
                    <a:pt x="570" y="552"/>
                  </a:lnTo>
                  <a:lnTo>
                    <a:pt x="582" y="564"/>
                  </a:lnTo>
                  <a:lnTo>
                    <a:pt x="588" y="576"/>
                  </a:lnTo>
                  <a:lnTo>
                    <a:pt x="588" y="582"/>
                  </a:lnTo>
                  <a:lnTo>
                    <a:pt x="594" y="594"/>
                  </a:lnTo>
                  <a:lnTo>
                    <a:pt x="600" y="600"/>
                  </a:lnTo>
                  <a:lnTo>
                    <a:pt x="606" y="600"/>
                  </a:lnTo>
                  <a:lnTo>
                    <a:pt x="624" y="582"/>
                  </a:lnTo>
                  <a:lnTo>
                    <a:pt x="624" y="570"/>
                  </a:lnTo>
                  <a:lnTo>
                    <a:pt x="630" y="558"/>
                  </a:lnTo>
                  <a:lnTo>
                    <a:pt x="642" y="552"/>
                  </a:lnTo>
                  <a:lnTo>
                    <a:pt x="648" y="546"/>
                  </a:lnTo>
                  <a:lnTo>
                    <a:pt x="648" y="516"/>
                  </a:lnTo>
                  <a:lnTo>
                    <a:pt x="672" y="486"/>
                  </a:lnTo>
                  <a:lnTo>
                    <a:pt x="684" y="438"/>
                  </a:lnTo>
                  <a:lnTo>
                    <a:pt x="696" y="432"/>
                  </a:lnTo>
                  <a:lnTo>
                    <a:pt x="702" y="426"/>
                  </a:lnTo>
                  <a:lnTo>
                    <a:pt x="714" y="420"/>
                  </a:lnTo>
                  <a:lnTo>
                    <a:pt x="720" y="414"/>
                  </a:lnTo>
                  <a:lnTo>
                    <a:pt x="720" y="402"/>
                  </a:lnTo>
                  <a:lnTo>
                    <a:pt x="726" y="384"/>
                  </a:lnTo>
                  <a:lnTo>
                    <a:pt x="726" y="354"/>
                  </a:lnTo>
                  <a:lnTo>
                    <a:pt x="744" y="354"/>
                  </a:lnTo>
                  <a:lnTo>
                    <a:pt x="750" y="348"/>
                  </a:lnTo>
                  <a:lnTo>
                    <a:pt x="756" y="330"/>
                  </a:lnTo>
                  <a:lnTo>
                    <a:pt x="756" y="300"/>
                  </a:lnTo>
                  <a:lnTo>
                    <a:pt x="762" y="294"/>
                  </a:lnTo>
                  <a:lnTo>
                    <a:pt x="768" y="264"/>
                  </a:lnTo>
                  <a:lnTo>
                    <a:pt x="774" y="252"/>
                  </a:lnTo>
                  <a:lnTo>
                    <a:pt x="786" y="240"/>
                  </a:lnTo>
                  <a:lnTo>
                    <a:pt x="786" y="234"/>
                  </a:lnTo>
                  <a:lnTo>
                    <a:pt x="792" y="228"/>
                  </a:lnTo>
                  <a:lnTo>
                    <a:pt x="792" y="222"/>
                  </a:lnTo>
                  <a:lnTo>
                    <a:pt x="798" y="216"/>
                  </a:lnTo>
                  <a:lnTo>
                    <a:pt x="798" y="210"/>
                  </a:lnTo>
                  <a:lnTo>
                    <a:pt x="810" y="210"/>
                  </a:lnTo>
                  <a:lnTo>
                    <a:pt x="822" y="204"/>
                  </a:lnTo>
                  <a:lnTo>
                    <a:pt x="840" y="186"/>
                  </a:lnTo>
                  <a:lnTo>
                    <a:pt x="840" y="174"/>
                  </a:lnTo>
                  <a:lnTo>
                    <a:pt x="834" y="168"/>
                  </a:lnTo>
                  <a:lnTo>
                    <a:pt x="834" y="162"/>
                  </a:lnTo>
                  <a:lnTo>
                    <a:pt x="840" y="156"/>
                  </a:lnTo>
                  <a:lnTo>
                    <a:pt x="840" y="126"/>
                  </a:lnTo>
                  <a:lnTo>
                    <a:pt x="810" y="126"/>
                  </a:lnTo>
                  <a:lnTo>
                    <a:pt x="810" y="120"/>
                  </a:lnTo>
                  <a:lnTo>
                    <a:pt x="804" y="108"/>
                  </a:lnTo>
                  <a:lnTo>
                    <a:pt x="804" y="60"/>
                  </a:lnTo>
                  <a:lnTo>
                    <a:pt x="774" y="12"/>
                  </a:lnTo>
                  <a:lnTo>
                    <a:pt x="756" y="12"/>
                  </a:lnTo>
                  <a:lnTo>
                    <a:pt x="750" y="18"/>
                  </a:lnTo>
                  <a:lnTo>
                    <a:pt x="750" y="24"/>
                  </a:lnTo>
                  <a:lnTo>
                    <a:pt x="744" y="30"/>
                  </a:lnTo>
                  <a:lnTo>
                    <a:pt x="744" y="36"/>
                  </a:lnTo>
                  <a:lnTo>
                    <a:pt x="720" y="36"/>
                  </a:lnTo>
                  <a:lnTo>
                    <a:pt x="714" y="42"/>
                  </a:lnTo>
                  <a:lnTo>
                    <a:pt x="702" y="48"/>
                  </a:lnTo>
                  <a:lnTo>
                    <a:pt x="696" y="54"/>
                  </a:lnTo>
                  <a:lnTo>
                    <a:pt x="684" y="60"/>
                  </a:lnTo>
                  <a:lnTo>
                    <a:pt x="654" y="60"/>
                  </a:lnTo>
                  <a:lnTo>
                    <a:pt x="648" y="54"/>
                  </a:lnTo>
                  <a:lnTo>
                    <a:pt x="636" y="48"/>
                  </a:lnTo>
                  <a:lnTo>
                    <a:pt x="600" y="36"/>
                  </a:lnTo>
                  <a:lnTo>
                    <a:pt x="546" y="36"/>
                  </a:lnTo>
                  <a:lnTo>
                    <a:pt x="528" y="42"/>
                  </a:lnTo>
                  <a:lnTo>
                    <a:pt x="516" y="54"/>
                  </a:lnTo>
                  <a:lnTo>
                    <a:pt x="504" y="60"/>
                  </a:lnTo>
                  <a:lnTo>
                    <a:pt x="492" y="84"/>
                  </a:lnTo>
                  <a:lnTo>
                    <a:pt x="486" y="90"/>
                  </a:lnTo>
                  <a:lnTo>
                    <a:pt x="480" y="90"/>
                  </a:lnTo>
                  <a:lnTo>
                    <a:pt x="468" y="84"/>
                  </a:lnTo>
                  <a:lnTo>
                    <a:pt x="438" y="84"/>
                  </a:lnTo>
                  <a:lnTo>
                    <a:pt x="414" y="72"/>
                  </a:lnTo>
                  <a:lnTo>
                    <a:pt x="402" y="60"/>
                  </a:lnTo>
                  <a:lnTo>
                    <a:pt x="390" y="54"/>
                  </a:lnTo>
                  <a:lnTo>
                    <a:pt x="384" y="48"/>
                  </a:lnTo>
                  <a:lnTo>
                    <a:pt x="372" y="42"/>
                  </a:lnTo>
                  <a:lnTo>
                    <a:pt x="360" y="42"/>
                  </a:lnTo>
                  <a:lnTo>
                    <a:pt x="336" y="54"/>
                  </a:lnTo>
                  <a:lnTo>
                    <a:pt x="324" y="66"/>
                  </a:lnTo>
                  <a:lnTo>
                    <a:pt x="312" y="72"/>
                  </a:lnTo>
                  <a:lnTo>
                    <a:pt x="306" y="72"/>
                  </a:lnTo>
                  <a:lnTo>
                    <a:pt x="294" y="66"/>
                  </a:lnTo>
                  <a:lnTo>
                    <a:pt x="288" y="60"/>
                  </a:lnTo>
                  <a:lnTo>
                    <a:pt x="288" y="54"/>
                  </a:lnTo>
                  <a:lnTo>
                    <a:pt x="282" y="48"/>
                  </a:lnTo>
                  <a:lnTo>
                    <a:pt x="282" y="42"/>
                  </a:lnTo>
                  <a:lnTo>
                    <a:pt x="258" y="18"/>
                  </a:lnTo>
                  <a:lnTo>
                    <a:pt x="222" y="18"/>
                  </a:lnTo>
                  <a:lnTo>
                    <a:pt x="222" y="12"/>
                  </a:lnTo>
                  <a:lnTo>
                    <a:pt x="210" y="0"/>
                  </a:lnTo>
                  <a:lnTo>
                    <a:pt x="198" y="0"/>
                  </a:lnTo>
                  <a:lnTo>
                    <a:pt x="186" y="6"/>
                  </a:lnTo>
                  <a:lnTo>
                    <a:pt x="180" y="6"/>
                  </a:lnTo>
                  <a:lnTo>
                    <a:pt x="180" y="12"/>
                  </a:lnTo>
                  <a:lnTo>
                    <a:pt x="126" y="12"/>
                  </a:lnTo>
                  <a:lnTo>
                    <a:pt x="102" y="36"/>
                  </a:lnTo>
                  <a:lnTo>
                    <a:pt x="102" y="60"/>
                  </a:lnTo>
                  <a:lnTo>
                    <a:pt x="96" y="78"/>
                  </a:lnTo>
                  <a:lnTo>
                    <a:pt x="90" y="90"/>
                  </a:lnTo>
                  <a:lnTo>
                    <a:pt x="84" y="96"/>
                  </a:lnTo>
                  <a:lnTo>
                    <a:pt x="78" y="108"/>
                  </a:lnTo>
                  <a:lnTo>
                    <a:pt x="72" y="114"/>
                  </a:lnTo>
                  <a:lnTo>
                    <a:pt x="66" y="114"/>
                  </a:lnTo>
                  <a:lnTo>
                    <a:pt x="66" y="168"/>
                  </a:lnTo>
                  <a:lnTo>
                    <a:pt x="60" y="180"/>
                  </a:lnTo>
                  <a:lnTo>
                    <a:pt x="60" y="186"/>
                  </a:lnTo>
                  <a:lnTo>
                    <a:pt x="54" y="192"/>
                  </a:lnTo>
                  <a:lnTo>
                    <a:pt x="66" y="216"/>
                  </a:lnTo>
                  <a:lnTo>
                    <a:pt x="72" y="222"/>
                  </a:lnTo>
                  <a:lnTo>
                    <a:pt x="78" y="234"/>
                  </a:lnTo>
                  <a:lnTo>
                    <a:pt x="78" y="246"/>
                  </a:lnTo>
                  <a:lnTo>
                    <a:pt x="84" y="252"/>
                  </a:lnTo>
                  <a:lnTo>
                    <a:pt x="84" y="264"/>
                  </a:lnTo>
                  <a:lnTo>
                    <a:pt x="78" y="270"/>
                  </a:lnTo>
                  <a:lnTo>
                    <a:pt x="72" y="270"/>
                  </a:lnTo>
                  <a:lnTo>
                    <a:pt x="60" y="276"/>
                  </a:lnTo>
                  <a:lnTo>
                    <a:pt x="60" y="318"/>
                  </a:lnTo>
                  <a:lnTo>
                    <a:pt x="48" y="324"/>
                  </a:lnTo>
                  <a:lnTo>
                    <a:pt x="42" y="336"/>
                  </a:lnTo>
                  <a:lnTo>
                    <a:pt x="36" y="342"/>
                  </a:lnTo>
                  <a:lnTo>
                    <a:pt x="36" y="372"/>
                  </a:lnTo>
                  <a:lnTo>
                    <a:pt x="24" y="396"/>
                  </a:lnTo>
                  <a:lnTo>
                    <a:pt x="6" y="396"/>
                  </a:lnTo>
                  <a:lnTo>
                    <a:pt x="0" y="426"/>
                  </a:lnTo>
                  <a:lnTo>
                    <a:pt x="6" y="462"/>
                  </a:lnTo>
                  <a:lnTo>
                    <a:pt x="0" y="492"/>
                  </a:lnTo>
                  <a:lnTo>
                    <a:pt x="0" y="606"/>
                  </a:lnTo>
                  <a:lnTo>
                    <a:pt x="6" y="612"/>
                  </a:lnTo>
                  <a:lnTo>
                    <a:pt x="30" y="612"/>
                  </a:lnTo>
                  <a:lnTo>
                    <a:pt x="54" y="600"/>
                  </a:lnTo>
                  <a:lnTo>
                    <a:pt x="60" y="594"/>
                  </a:lnTo>
                  <a:lnTo>
                    <a:pt x="66" y="600"/>
                  </a:lnTo>
                  <a:lnTo>
                    <a:pt x="108" y="600"/>
                  </a:lnTo>
                  <a:lnTo>
                    <a:pt x="126" y="606"/>
                  </a:lnTo>
                  <a:lnTo>
                    <a:pt x="138" y="618"/>
                  </a:lnTo>
                  <a:lnTo>
                    <a:pt x="150" y="636"/>
                  </a:lnTo>
                  <a:lnTo>
                    <a:pt x="156" y="648"/>
                  </a:lnTo>
                  <a:lnTo>
                    <a:pt x="168" y="660"/>
                  </a:lnTo>
                  <a:lnTo>
                    <a:pt x="186" y="660"/>
                  </a:lnTo>
                  <a:lnTo>
                    <a:pt x="180" y="666"/>
                  </a:lnTo>
                  <a:lnTo>
                    <a:pt x="180" y="678"/>
                  </a:lnTo>
                  <a:lnTo>
                    <a:pt x="174" y="684"/>
                  </a:lnTo>
                  <a:lnTo>
                    <a:pt x="186" y="684"/>
                  </a:lnTo>
                  <a:lnTo>
                    <a:pt x="198" y="678"/>
                  </a:lnTo>
                  <a:lnTo>
                    <a:pt x="198" y="684"/>
                  </a:lnTo>
                  <a:lnTo>
                    <a:pt x="192" y="690"/>
                  </a:lnTo>
                  <a:lnTo>
                    <a:pt x="186" y="702"/>
                  </a:lnTo>
                  <a:lnTo>
                    <a:pt x="186" y="714"/>
                  </a:lnTo>
                  <a:lnTo>
                    <a:pt x="204" y="750"/>
                  </a:lnTo>
                  <a:lnTo>
                    <a:pt x="216" y="762"/>
                  </a:lnTo>
                  <a:lnTo>
                    <a:pt x="234" y="768"/>
                  </a:lnTo>
                  <a:lnTo>
                    <a:pt x="270" y="768"/>
                  </a:lnTo>
                  <a:lnTo>
                    <a:pt x="276" y="762"/>
                  </a:lnTo>
                  <a:lnTo>
                    <a:pt x="282" y="762"/>
                  </a:lnTo>
                  <a:lnTo>
                    <a:pt x="288" y="738"/>
                  </a:lnTo>
                  <a:lnTo>
                    <a:pt x="312" y="750"/>
                  </a:lnTo>
                  <a:lnTo>
                    <a:pt x="336" y="744"/>
                  </a:lnTo>
                  <a:lnTo>
                    <a:pt x="354" y="756"/>
                  </a:lnTo>
                  <a:lnTo>
                    <a:pt x="396" y="756"/>
                  </a:lnTo>
                  <a:lnTo>
                    <a:pt x="396" y="732"/>
                  </a:lnTo>
                  <a:lnTo>
                    <a:pt x="420" y="732"/>
                  </a:lnTo>
                  <a:lnTo>
                    <a:pt x="420" y="738"/>
                  </a:lnTo>
                  <a:close/>
                </a:path>
              </a:pathLst>
            </a:custGeom>
            <a:solidFill>
              <a:srgbClr val="692864"/>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98" name="Niger" descr="© INSCALE GmbH, 05.05.2010&#10;http://www.presentationload.com/"/>
            <p:cNvSpPr>
              <a:spLocks/>
            </p:cNvSpPr>
            <p:nvPr/>
          </p:nvSpPr>
          <p:spPr bwMode="gray">
            <a:xfrm>
              <a:off x="4222754" y="3316286"/>
              <a:ext cx="446088" cy="379412"/>
            </a:xfrm>
            <a:custGeom>
              <a:avLst/>
              <a:gdLst>
                <a:gd name="T0" fmla="*/ 2147483647 w 1110"/>
                <a:gd name="T1" fmla="*/ 2147483647 h 942"/>
                <a:gd name="T2" fmla="*/ 2147483647 w 1110"/>
                <a:gd name="T3" fmla="*/ 2147483647 h 942"/>
                <a:gd name="T4" fmla="*/ 2147483647 w 1110"/>
                <a:gd name="T5" fmla="*/ 2147483647 h 942"/>
                <a:gd name="T6" fmla="*/ 2147483647 w 1110"/>
                <a:gd name="T7" fmla="*/ 2147483647 h 942"/>
                <a:gd name="T8" fmla="*/ 2147483647 w 1110"/>
                <a:gd name="T9" fmla="*/ 2147483647 h 942"/>
                <a:gd name="T10" fmla="*/ 2147483647 w 1110"/>
                <a:gd name="T11" fmla="*/ 2147483647 h 942"/>
                <a:gd name="T12" fmla="*/ 2147483647 w 1110"/>
                <a:gd name="T13" fmla="*/ 2147483647 h 942"/>
                <a:gd name="T14" fmla="*/ 2147483647 w 1110"/>
                <a:gd name="T15" fmla="*/ 2147483647 h 942"/>
                <a:gd name="T16" fmla="*/ 2147483647 w 1110"/>
                <a:gd name="T17" fmla="*/ 2147483647 h 942"/>
                <a:gd name="T18" fmla="*/ 2147483647 w 1110"/>
                <a:gd name="T19" fmla="*/ 2147483647 h 942"/>
                <a:gd name="T20" fmla="*/ 2147483647 w 1110"/>
                <a:gd name="T21" fmla="*/ 2147483647 h 942"/>
                <a:gd name="T22" fmla="*/ 2147483647 w 1110"/>
                <a:gd name="T23" fmla="*/ 2147483647 h 942"/>
                <a:gd name="T24" fmla="*/ 2147483647 w 1110"/>
                <a:gd name="T25" fmla="*/ 2147483647 h 942"/>
                <a:gd name="T26" fmla="*/ 2147483647 w 1110"/>
                <a:gd name="T27" fmla="*/ 2147483647 h 942"/>
                <a:gd name="T28" fmla="*/ 2147483647 w 1110"/>
                <a:gd name="T29" fmla="*/ 2147483647 h 942"/>
                <a:gd name="T30" fmla="*/ 2147483647 w 1110"/>
                <a:gd name="T31" fmla="*/ 2147483647 h 942"/>
                <a:gd name="T32" fmla="*/ 2147483647 w 1110"/>
                <a:gd name="T33" fmla="*/ 2147483647 h 942"/>
                <a:gd name="T34" fmla="*/ 2147483647 w 1110"/>
                <a:gd name="T35" fmla="*/ 2147483647 h 942"/>
                <a:gd name="T36" fmla="*/ 2147483647 w 1110"/>
                <a:gd name="T37" fmla="*/ 2147483647 h 942"/>
                <a:gd name="T38" fmla="*/ 2147483647 w 1110"/>
                <a:gd name="T39" fmla="*/ 2147483647 h 942"/>
                <a:gd name="T40" fmla="*/ 2147483647 w 1110"/>
                <a:gd name="T41" fmla="*/ 2147483647 h 942"/>
                <a:gd name="T42" fmla="*/ 2147483647 w 1110"/>
                <a:gd name="T43" fmla="*/ 2147483647 h 942"/>
                <a:gd name="T44" fmla="*/ 2147483647 w 1110"/>
                <a:gd name="T45" fmla="*/ 2147483647 h 942"/>
                <a:gd name="T46" fmla="*/ 2147483647 w 1110"/>
                <a:gd name="T47" fmla="*/ 2147483647 h 942"/>
                <a:gd name="T48" fmla="*/ 2147483647 w 1110"/>
                <a:gd name="T49" fmla="*/ 2147483647 h 942"/>
                <a:gd name="T50" fmla="*/ 2147483647 w 1110"/>
                <a:gd name="T51" fmla="*/ 2147483647 h 942"/>
                <a:gd name="T52" fmla="*/ 2147483647 w 1110"/>
                <a:gd name="T53" fmla="*/ 2147483647 h 942"/>
                <a:gd name="T54" fmla="*/ 2147483647 w 1110"/>
                <a:gd name="T55" fmla="*/ 2147483647 h 942"/>
                <a:gd name="T56" fmla="*/ 2147483647 w 1110"/>
                <a:gd name="T57" fmla="*/ 2147483647 h 942"/>
                <a:gd name="T58" fmla="*/ 2147483647 w 1110"/>
                <a:gd name="T59" fmla="*/ 2147483647 h 942"/>
                <a:gd name="T60" fmla="*/ 2147483647 w 1110"/>
                <a:gd name="T61" fmla="*/ 2147483647 h 942"/>
                <a:gd name="T62" fmla="*/ 2147483647 w 1110"/>
                <a:gd name="T63" fmla="*/ 2147483647 h 942"/>
                <a:gd name="T64" fmla="*/ 2147483647 w 1110"/>
                <a:gd name="T65" fmla="*/ 2147483647 h 942"/>
                <a:gd name="T66" fmla="*/ 2147483647 w 1110"/>
                <a:gd name="T67" fmla="*/ 2147483647 h 942"/>
                <a:gd name="T68" fmla="*/ 2147483647 w 1110"/>
                <a:gd name="T69" fmla="*/ 2147483647 h 942"/>
                <a:gd name="T70" fmla="*/ 2147483647 w 1110"/>
                <a:gd name="T71" fmla="*/ 2147483647 h 942"/>
                <a:gd name="T72" fmla="*/ 2147483647 w 1110"/>
                <a:gd name="T73" fmla="*/ 2147483647 h 942"/>
                <a:gd name="T74" fmla="*/ 2147483647 w 1110"/>
                <a:gd name="T75" fmla="*/ 2147483647 h 942"/>
                <a:gd name="T76" fmla="*/ 2147483647 w 1110"/>
                <a:gd name="T77" fmla="*/ 2147483647 h 942"/>
                <a:gd name="T78" fmla="*/ 2147483647 w 1110"/>
                <a:gd name="T79" fmla="*/ 2147483647 h 942"/>
                <a:gd name="T80" fmla="*/ 2147483647 w 1110"/>
                <a:gd name="T81" fmla="*/ 2147483647 h 942"/>
                <a:gd name="T82" fmla="*/ 2147483647 w 1110"/>
                <a:gd name="T83" fmla="*/ 2147483647 h 942"/>
                <a:gd name="T84" fmla="*/ 2147483647 w 1110"/>
                <a:gd name="T85" fmla="*/ 2147483647 h 942"/>
                <a:gd name="T86" fmla="*/ 2147483647 w 1110"/>
                <a:gd name="T87" fmla="*/ 2147483647 h 942"/>
                <a:gd name="T88" fmla="*/ 2147483647 w 1110"/>
                <a:gd name="T89" fmla="*/ 2147483647 h 942"/>
                <a:gd name="T90" fmla="*/ 2147483647 w 1110"/>
                <a:gd name="T91" fmla="*/ 2147483647 h 942"/>
                <a:gd name="T92" fmla="*/ 2147483647 w 1110"/>
                <a:gd name="T93" fmla="*/ 2147483647 h 942"/>
                <a:gd name="T94" fmla="*/ 2147483647 w 1110"/>
                <a:gd name="T95" fmla="*/ 2147483647 h 942"/>
                <a:gd name="T96" fmla="*/ 2147483647 w 1110"/>
                <a:gd name="T97" fmla="*/ 2147483647 h 942"/>
                <a:gd name="T98" fmla="*/ 0 w 1110"/>
                <a:gd name="T99" fmla="*/ 2147483647 h 942"/>
                <a:gd name="T100" fmla="*/ 2147483647 w 1110"/>
                <a:gd name="T101" fmla="*/ 2147483647 h 94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110"/>
                <a:gd name="T154" fmla="*/ 0 h 942"/>
                <a:gd name="T155" fmla="*/ 1110 w 1110"/>
                <a:gd name="T156" fmla="*/ 942 h 94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110" h="942">
                  <a:moveTo>
                    <a:pt x="54" y="792"/>
                  </a:moveTo>
                  <a:lnTo>
                    <a:pt x="54" y="810"/>
                  </a:lnTo>
                  <a:lnTo>
                    <a:pt x="66" y="810"/>
                  </a:lnTo>
                  <a:lnTo>
                    <a:pt x="48" y="828"/>
                  </a:lnTo>
                  <a:lnTo>
                    <a:pt x="48" y="834"/>
                  </a:lnTo>
                  <a:lnTo>
                    <a:pt x="72" y="858"/>
                  </a:lnTo>
                  <a:lnTo>
                    <a:pt x="84" y="864"/>
                  </a:lnTo>
                  <a:lnTo>
                    <a:pt x="90" y="876"/>
                  </a:lnTo>
                  <a:lnTo>
                    <a:pt x="108" y="876"/>
                  </a:lnTo>
                  <a:lnTo>
                    <a:pt x="120" y="864"/>
                  </a:lnTo>
                  <a:lnTo>
                    <a:pt x="132" y="864"/>
                  </a:lnTo>
                  <a:lnTo>
                    <a:pt x="144" y="876"/>
                  </a:lnTo>
                  <a:lnTo>
                    <a:pt x="150" y="888"/>
                  </a:lnTo>
                  <a:lnTo>
                    <a:pt x="126" y="894"/>
                  </a:lnTo>
                  <a:lnTo>
                    <a:pt x="150" y="930"/>
                  </a:lnTo>
                  <a:lnTo>
                    <a:pt x="150" y="906"/>
                  </a:lnTo>
                  <a:lnTo>
                    <a:pt x="180" y="894"/>
                  </a:lnTo>
                  <a:lnTo>
                    <a:pt x="192" y="906"/>
                  </a:lnTo>
                  <a:lnTo>
                    <a:pt x="198" y="918"/>
                  </a:lnTo>
                  <a:lnTo>
                    <a:pt x="204" y="924"/>
                  </a:lnTo>
                  <a:lnTo>
                    <a:pt x="210" y="924"/>
                  </a:lnTo>
                  <a:lnTo>
                    <a:pt x="216" y="930"/>
                  </a:lnTo>
                  <a:lnTo>
                    <a:pt x="222" y="930"/>
                  </a:lnTo>
                  <a:lnTo>
                    <a:pt x="234" y="936"/>
                  </a:lnTo>
                  <a:lnTo>
                    <a:pt x="240" y="942"/>
                  </a:lnTo>
                  <a:lnTo>
                    <a:pt x="240" y="888"/>
                  </a:lnTo>
                  <a:lnTo>
                    <a:pt x="246" y="888"/>
                  </a:lnTo>
                  <a:lnTo>
                    <a:pt x="252" y="882"/>
                  </a:lnTo>
                  <a:lnTo>
                    <a:pt x="258" y="870"/>
                  </a:lnTo>
                  <a:lnTo>
                    <a:pt x="264" y="864"/>
                  </a:lnTo>
                  <a:lnTo>
                    <a:pt x="270" y="852"/>
                  </a:lnTo>
                  <a:lnTo>
                    <a:pt x="276" y="834"/>
                  </a:lnTo>
                  <a:lnTo>
                    <a:pt x="276" y="810"/>
                  </a:lnTo>
                  <a:lnTo>
                    <a:pt x="300" y="786"/>
                  </a:lnTo>
                  <a:lnTo>
                    <a:pt x="354" y="786"/>
                  </a:lnTo>
                  <a:lnTo>
                    <a:pt x="354" y="780"/>
                  </a:lnTo>
                  <a:lnTo>
                    <a:pt x="360" y="780"/>
                  </a:lnTo>
                  <a:lnTo>
                    <a:pt x="372" y="774"/>
                  </a:lnTo>
                  <a:lnTo>
                    <a:pt x="384" y="774"/>
                  </a:lnTo>
                  <a:lnTo>
                    <a:pt x="396" y="786"/>
                  </a:lnTo>
                  <a:lnTo>
                    <a:pt x="396" y="792"/>
                  </a:lnTo>
                  <a:lnTo>
                    <a:pt x="432" y="792"/>
                  </a:lnTo>
                  <a:lnTo>
                    <a:pt x="456" y="816"/>
                  </a:lnTo>
                  <a:lnTo>
                    <a:pt x="456" y="822"/>
                  </a:lnTo>
                  <a:lnTo>
                    <a:pt x="462" y="828"/>
                  </a:lnTo>
                  <a:lnTo>
                    <a:pt x="462" y="834"/>
                  </a:lnTo>
                  <a:lnTo>
                    <a:pt x="468" y="840"/>
                  </a:lnTo>
                  <a:lnTo>
                    <a:pt x="480" y="846"/>
                  </a:lnTo>
                  <a:lnTo>
                    <a:pt x="486" y="846"/>
                  </a:lnTo>
                  <a:lnTo>
                    <a:pt x="498" y="840"/>
                  </a:lnTo>
                  <a:lnTo>
                    <a:pt x="510" y="828"/>
                  </a:lnTo>
                  <a:lnTo>
                    <a:pt x="534" y="816"/>
                  </a:lnTo>
                  <a:lnTo>
                    <a:pt x="546" y="816"/>
                  </a:lnTo>
                  <a:lnTo>
                    <a:pt x="558" y="822"/>
                  </a:lnTo>
                  <a:lnTo>
                    <a:pt x="564" y="828"/>
                  </a:lnTo>
                  <a:lnTo>
                    <a:pt x="576" y="834"/>
                  </a:lnTo>
                  <a:lnTo>
                    <a:pt x="588" y="846"/>
                  </a:lnTo>
                  <a:lnTo>
                    <a:pt x="612" y="858"/>
                  </a:lnTo>
                  <a:lnTo>
                    <a:pt x="642" y="858"/>
                  </a:lnTo>
                  <a:lnTo>
                    <a:pt x="654" y="864"/>
                  </a:lnTo>
                  <a:lnTo>
                    <a:pt x="660" y="864"/>
                  </a:lnTo>
                  <a:lnTo>
                    <a:pt x="666" y="858"/>
                  </a:lnTo>
                  <a:lnTo>
                    <a:pt x="678" y="834"/>
                  </a:lnTo>
                  <a:lnTo>
                    <a:pt x="690" y="828"/>
                  </a:lnTo>
                  <a:lnTo>
                    <a:pt x="702" y="816"/>
                  </a:lnTo>
                  <a:lnTo>
                    <a:pt x="720" y="810"/>
                  </a:lnTo>
                  <a:lnTo>
                    <a:pt x="774" y="810"/>
                  </a:lnTo>
                  <a:lnTo>
                    <a:pt x="810" y="822"/>
                  </a:lnTo>
                  <a:lnTo>
                    <a:pt x="822" y="828"/>
                  </a:lnTo>
                  <a:lnTo>
                    <a:pt x="828" y="834"/>
                  </a:lnTo>
                  <a:lnTo>
                    <a:pt x="858" y="834"/>
                  </a:lnTo>
                  <a:lnTo>
                    <a:pt x="870" y="828"/>
                  </a:lnTo>
                  <a:lnTo>
                    <a:pt x="876" y="822"/>
                  </a:lnTo>
                  <a:lnTo>
                    <a:pt x="888" y="816"/>
                  </a:lnTo>
                  <a:lnTo>
                    <a:pt x="894" y="810"/>
                  </a:lnTo>
                  <a:lnTo>
                    <a:pt x="918" y="810"/>
                  </a:lnTo>
                  <a:lnTo>
                    <a:pt x="918" y="804"/>
                  </a:lnTo>
                  <a:lnTo>
                    <a:pt x="924" y="798"/>
                  </a:lnTo>
                  <a:lnTo>
                    <a:pt x="924" y="792"/>
                  </a:lnTo>
                  <a:lnTo>
                    <a:pt x="930" y="786"/>
                  </a:lnTo>
                  <a:lnTo>
                    <a:pt x="936" y="786"/>
                  </a:lnTo>
                  <a:lnTo>
                    <a:pt x="930" y="726"/>
                  </a:lnTo>
                  <a:lnTo>
                    <a:pt x="948" y="720"/>
                  </a:lnTo>
                  <a:lnTo>
                    <a:pt x="948" y="714"/>
                  </a:lnTo>
                  <a:lnTo>
                    <a:pt x="954" y="708"/>
                  </a:lnTo>
                  <a:lnTo>
                    <a:pt x="954" y="696"/>
                  </a:lnTo>
                  <a:lnTo>
                    <a:pt x="960" y="678"/>
                  </a:lnTo>
                  <a:lnTo>
                    <a:pt x="966" y="666"/>
                  </a:lnTo>
                  <a:lnTo>
                    <a:pt x="978" y="648"/>
                  </a:lnTo>
                  <a:lnTo>
                    <a:pt x="984" y="636"/>
                  </a:lnTo>
                  <a:lnTo>
                    <a:pt x="1002" y="618"/>
                  </a:lnTo>
                  <a:lnTo>
                    <a:pt x="1026" y="588"/>
                  </a:lnTo>
                  <a:lnTo>
                    <a:pt x="1050" y="564"/>
                  </a:lnTo>
                  <a:lnTo>
                    <a:pt x="1068" y="540"/>
                  </a:lnTo>
                  <a:lnTo>
                    <a:pt x="1074" y="534"/>
                  </a:lnTo>
                  <a:lnTo>
                    <a:pt x="1092" y="288"/>
                  </a:lnTo>
                  <a:lnTo>
                    <a:pt x="1110" y="252"/>
                  </a:lnTo>
                  <a:lnTo>
                    <a:pt x="1080" y="216"/>
                  </a:lnTo>
                  <a:lnTo>
                    <a:pt x="1074" y="192"/>
                  </a:lnTo>
                  <a:lnTo>
                    <a:pt x="1044" y="156"/>
                  </a:lnTo>
                  <a:lnTo>
                    <a:pt x="1056" y="108"/>
                  </a:lnTo>
                  <a:lnTo>
                    <a:pt x="1038" y="42"/>
                  </a:lnTo>
                  <a:lnTo>
                    <a:pt x="1020" y="48"/>
                  </a:lnTo>
                  <a:lnTo>
                    <a:pt x="1002" y="60"/>
                  </a:lnTo>
                  <a:lnTo>
                    <a:pt x="990" y="66"/>
                  </a:lnTo>
                  <a:lnTo>
                    <a:pt x="984" y="66"/>
                  </a:lnTo>
                  <a:lnTo>
                    <a:pt x="978" y="60"/>
                  </a:lnTo>
                  <a:lnTo>
                    <a:pt x="966" y="54"/>
                  </a:lnTo>
                  <a:lnTo>
                    <a:pt x="960" y="42"/>
                  </a:lnTo>
                  <a:lnTo>
                    <a:pt x="954" y="36"/>
                  </a:lnTo>
                  <a:lnTo>
                    <a:pt x="942" y="30"/>
                  </a:lnTo>
                  <a:lnTo>
                    <a:pt x="936" y="24"/>
                  </a:lnTo>
                  <a:lnTo>
                    <a:pt x="930" y="24"/>
                  </a:lnTo>
                  <a:lnTo>
                    <a:pt x="918" y="18"/>
                  </a:lnTo>
                  <a:lnTo>
                    <a:pt x="900" y="12"/>
                  </a:lnTo>
                  <a:lnTo>
                    <a:pt x="888" y="12"/>
                  </a:lnTo>
                  <a:lnTo>
                    <a:pt x="876" y="6"/>
                  </a:lnTo>
                  <a:lnTo>
                    <a:pt x="864" y="6"/>
                  </a:lnTo>
                  <a:lnTo>
                    <a:pt x="828" y="0"/>
                  </a:lnTo>
                  <a:lnTo>
                    <a:pt x="816" y="6"/>
                  </a:lnTo>
                  <a:lnTo>
                    <a:pt x="786" y="30"/>
                  </a:lnTo>
                  <a:lnTo>
                    <a:pt x="738" y="66"/>
                  </a:lnTo>
                  <a:lnTo>
                    <a:pt x="684" y="102"/>
                  </a:lnTo>
                  <a:lnTo>
                    <a:pt x="624" y="144"/>
                  </a:lnTo>
                  <a:lnTo>
                    <a:pt x="576" y="180"/>
                  </a:lnTo>
                  <a:lnTo>
                    <a:pt x="534" y="210"/>
                  </a:lnTo>
                  <a:lnTo>
                    <a:pt x="510" y="222"/>
                  </a:lnTo>
                  <a:lnTo>
                    <a:pt x="480" y="246"/>
                  </a:lnTo>
                  <a:lnTo>
                    <a:pt x="450" y="282"/>
                  </a:lnTo>
                  <a:lnTo>
                    <a:pt x="414" y="312"/>
                  </a:lnTo>
                  <a:lnTo>
                    <a:pt x="390" y="330"/>
                  </a:lnTo>
                  <a:lnTo>
                    <a:pt x="366" y="336"/>
                  </a:lnTo>
                  <a:lnTo>
                    <a:pt x="324" y="342"/>
                  </a:lnTo>
                  <a:lnTo>
                    <a:pt x="282" y="354"/>
                  </a:lnTo>
                  <a:lnTo>
                    <a:pt x="282" y="558"/>
                  </a:lnTo>
                  <a:lnTo>
                    <a:pt x="264" y="582"/>
                  </a:lnTo>
                  <a:lnTo>
                    <a:pt x="264" y="594"/>
                  </a:lnTo>
                  <a:lnTo>
                    <a:pt x="258" y="606"/>
                  </a:lnTo>
                  <a:lnTo>
                    <a:pt x="258" y="624"/>
                  </a:lnTo>
                  <a:lnTo>
                    <a:pt x="252" y="636"/>
                  </a:lnTo>
                  <a:lnTo>
                    <a:pt x="240" y="642"/>
                  </a:lnTo>
                  <a:lnTo>
                    <a:pt x="222" y="648"/>
                  </a:lnTo>
                  <a:lnTo>
                    <a:pt x="198" y="648"/>
                  </a:lnTo>
                  <a:lnTo>
                    <a:pt x="186" y="654"/>
                  </a:lnTo>
                  <a:lnTo>
                    <a:pt x="138" y="648"/>
                  </a:lnTo>
                  <a:lnTo>
                    <a:pt x="138" y="666"/>
                  </a:lnTo>
                  <a:lnTo>
                    <a:pt x="72" y="660"/>
                  </a:lnTo>
                  <a:lnTo>
                    <a:pt x="48" y="678"/>
                  </a:lnTo>
                  <a:lnTo>
                    <a:pt x="0" y="690"/>
                  </a:lnTo>
                  <a:lnTo>
                    <a:pt x="0" y="726"/>
                  </a:lnTo>
                  <a:lnTo>
                    <a:pt x="6" y="738"/>
                  </a:lnTo>
                  <a:lnTo>
                    <a:pt x="6" y="762"/>
                  </a:lnTo>
                  <a:lnTo>
                    <a:pt x="18" y="786"/>
                  </a:lnTo>
                  <a:lnTo>
                    <a:pt x="30" y="792"/>
                  </a:lnTo>
                  <a:lnTo>
                    <a:pt x="54" y="792"/>
                  </a:lnTo>
                  <a:close/>
                </a:path>
              </a:pathLst>
            </a:custGeom>
            <a:solidFill>
              <a:srgbClr val="692864"/>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99" name="Nicaragua" descr="© INSCALE GmbH, 05.05.2010&#10;http://www.presentationload.com/"/>
            <p:cNvSpPr>
              <a:spLocks/>
            </p:cNvSpPr>
            <p:nvPr/>
          </p:nvSpPr>
          <p:spPr bwMode="gray">
            <a:xfrm>
              <a:off x="1722440" y="3597275"/>
              <a:ext cx="131762" cy="133351"/>
            </a:xfrm>
            <a:custGeom>
              <a:avLst/>
              <a:gdLst>
                <a:gd name="T0" fmla="*/ 2147483647 w 324"/>
                <a:gd name="T1" fmla="*/ 2147483647 h 330"/>
                <a:gd name="T2" fmla="*/ 2147483647 w 324"/>
                <a:gd name="T3" fmla="*/ 0 h 330"/>
                <a:gd name="T4" fmla="*/ 2147483647 w 324"/>
                <a:gd name="T5" fmla="*/ 2147483647 h 330"/>
                <a:gd name="T6" fmla="*/ 2147483647 w 324"/>
                <a:gd name="T7" fmla="*/ 2147483647 h 330"/>
                <a:gd name="T8" fmla="*/ 2147483647 w 324"/>
                <a:gd name="T9" fmla="*/ 0 h 330"/>
                <a:gd name="T10" fmla="*/ 2147483647 w 324"/>
                <a:gd name="T11" fmla="*/ 2147483647 h 330"/>
                <a:gd name="T12" fmla="*/ 2147483647 w 324"/>
                <a:gd name="T13" fmla="*/ 2147483647 h 330"/>
                <a:gd name="T14" fmla="*/ 2147483647 w 324"/>
                <a:gd name="T15" fmla="*/ 2147483647 h 330"/>
                <a:gd name="T16" fmla="*/ 2147483647 w 324"/>
                <a:gd name="T17" fmla="*/ 2147483647 h 330"/>
                <a:gd name="T18" fmla="*/ 2147483647 w 324"/>
                <a:gd name="T19" fmla="*/ 2147483647 h 330"/>
                <a:gd name="T20" fmla="*/ 2147483647 w 324"/>
                <a:gd name="T21" fmla="*/ 2147483647 h 330"/>
                <a:gd name="T22" fmla="*/ 2147483647 w 324"/>
                <a:gd name="T23" fmla="*/ 2147483647 h 330"/>
                <a:gd name="T24" fmla="*/ 2147483647 w 324"/>
                <a:gd name="T25" fmla="*/ 2147483647 h 330"/>
                <a:gd name="T26" fmla="*/ 2147483647 w 324"/>
                <a:gd name="T27" fmla="*/ 2147483647 h 330"/>
                <a:gd name="T28" fmla="*/ 2147483647 w 324"/>
                <a:gd name="T29" fmla="*/ 2147483647 h 330"/>
                <a:gd name="T30" fmla="*/ 2147483647 w 324"/>
                <a:gd name="T31" fmla="*/ 2147483647 h 330"/>
                <a:gd name="T32" fmla="*/ 2147483647 w 324"/>
                <a:gd name="T33" fmla="*/ 2147483647 h 330"/>
                <a:gd name="T34" fmla="*/ 2147483647 w 324"/>
                <a:gd name="T35" fmla="*/ 2147483647 h 330"/>
                <a:gd name="T36" fmla="*/ 2147483647 w 324"/>
                <a:gd name="T37" fmla="*/ 2147483647 h 330"/>
                <a:gd name="T38" fmla="*/ 2147483647 w 324"/>
                <a:gd name="T39" fmla="*/ 2147483647 h 330"/>
                <a:gd name="T40" fmla="*/ 2147483647 w 324"/>
                <a:gd name="T41" fmla="*/ 2147483647 h 330"/>
                <a:gd name="T42" fmla="*/ 2147483647 w 324"/>
                <a:gd name="T43" fmla="*/ 2147483647 h 330"/>
                <a:gd name="T44" fmla="*/ 2147483647 w 324"/>
                <a:gd name="T45" fmla="*/ 2147483647 h 330"/>
                <a:gd name="T46" fmla="*/ 2147483647 w 324"/>
                <a:gd name="T47" fmla="*/ 2147483647 h 330"/>
                <a:gd name="T48" fmla="*/ 2147483647 w 324"/>
                <a:gd name="T49" fmla="*/ 2147483647 h 330"/>
                <a:gd name="T50" fmla="*/ 2147483647 w 324"/>
                <a:gd name="T51" fmla="*/ 2147483647 h 330"/>
                <a:gd name="T52" fmla="*/ 2147483647 w 324"/>
                <a:gd name="T53" fmla="*/ 2147483647 h 330"/>
                <a:gd name="T54" fmla="*/ 2147483647 w 324"/>
                <a:gd name="T55" fmla="*/ 2147483647 h 330"/>
                <a:gd name="T56" fmla="*/ 2147483647 w 324"/>
                <a:gd name="T57" fmla="*/ 2147483647 h 330"/>
                <a:gd name="T58" fmla="*/ 2147483647 w 324"/>
                <a:gd name="T59" fmla="*/ 2147483647 h 330"/>
                <a:gd name="T60" fmla="*/ 2147483647 w 324"/>
                <a:gd name="T61" fmla="*/ 2147483647 h 330"/>
                <a:gd name="T62" fmla="*/ 2147483647 w 324"/>
                <a:gd name="T63" fmla="*/ 2147483647 h 330"/>
                <a:gd name="T64" fmla="*/ 2147483647 w 324"/>
                <a:gd name="T65" fmla="*/ 2147483647 h 330"/>
                <a:gd name="T66" fmla="*/ 2147483647 w 324"/>
                <a:gd name="T67" fmla="*/ 2147483647 h 330"/>
                <a:gd name="T68" fmla="*/ 2147483647 w 324"/>
                <a:gd name="T69" fmla="*/ 2147483647 h 330"/>
                <a:gd name="T70" fmla="*/ 2147483647 w 324"/>
                <a:gd name="T71" fmla="*/ 2147483647 h 330"/>
                <a:gd name="T72" fmla="*/ 2147483647 w 324"/>
                <a:gd name="T73" fmla="*/ 2147483647 h 330"/>
                <a:gd name="T74" fmla="*/ 2147483647 w 324"/>
                <a:gd name="T75" fmla="*/ 2147483647 h 330"/>
                <a:gd name="T76" fmla="*/ 2147483647 w 324"/>
                <a:gd name="T77" fmla="*/ 2147483647 h 330"/>
                <a:gd name="T78" fmla="*/ 2147483647 w 324"/>
                <a:gd name="T79" fmla="*/ 2147483647 h 330"/>
                <a:gd name="T80" fmla="*/ 2147483647 w 324"/>
                <a:gd name="T81" fmla="*/ 2147483647 h 33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24"/>
                <a:gd name="T124" fmla="*/ 0 h 330"/>
                <a:gd name="T125" fmla="*/ 324 w 324"/>
                <a:gd name="T126" fmla="*/ 330 h 33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24" h="330">
                  <a:moveTo>
                    <a:pt x="324" y="18"/>
                  </a:moveTo>
                  <a:lnTo>
                    <a:pt x="318" y="12"/>
                  </a:lnTo>
                  <a:lnTo>
                    <a:pt x="318" y="6"/>
                  </a:lnTo>
                  <a:lnTo>
                    <a:pt x="312" y="0"/>
                  </a:lnTo>
                  <a:lnTo>
                    <a:pt x="264" y="0"/>
                  </a:lnTo>
                  <a:lnTo>
                    <a:pt x="264" y="6"/>
                  </a:lnTo>
                  <a:lnTo>
                    <a:pt x="252" y="18"/>
                  </a:lnTo>
                  <a:lnTo>
                    <a:pt x="240" y="18"/>
                  </a:lnTo>
                  <a:lnTo>
                    <a:pt x="222" y="0"/>
                  </a:lnTo>
                  <a:lnTo>
                    <a:pt x="210" y="0"/>
                  </a:lnTo>
                  <a:lnTo>
                    <a:pt x="198" y="12"/>
                  </a:lnTo>
                  <a:lnTo>
                    <a:pt x="198" y="30"/>
                  </a:lnTo>
                  <a:lnTo>
                    <a:pt x="180" y="30"/>
                  </a:lnTo>
                  <a:lnTo>
                    <a:pt x="168" y="54"/>
                  </a:lnTo>
                  <a:lnTo>
                    <a:pt x="144" y="78"/>
                  </a:lnTo>
                  <a:lnTo>
                    <a:pt x="126" y="78"/>
                  </a:lnTo>
                  <a:lnTo>
                    <a:pt x="120" y="72"/>
                  </a:lnTo>
                  <a:lnTo>
                    <a:pt x="120" y="66"/>
                  </a:lnTo>
                  <a:lnTo>
                    <a:pt x="108" y="66"/>
                  </a:lnTo>
                  <a:lnTo>
                    <a:pt x="102" y="72"/>
                  </a:lnTo>
                  <a:lnTo>
                    <a:pt x="96" y="84"/>
                  </a:lnTo>
                  <a:lnTo>
                    <a:pt x="60" y="84"/>
                  </a:lnTo>
                  <a:lnTo>
                    <a:pt x="54" y="90"/>
                  </a:lnTo>
                  <a:lnTo>
                    <a:pt x="54" y="102"/>
                  </a:lnTo>
                  <a:lnTo>
                    <a:pt x="60" y="108"/>
                  </a:lnTo>
                  <a:lnTo>
                    <a:pt x="60" y="120"/>
                  </a:lnTo>
                  <a:lnTo>
                    <a:pt x="66" y="126"/>
                  </a:lnTo>
                  <a:lnTo>
                    <a:pt x="48" y="126"/>
                  </a:lnTo>
                  <a:lnTo>
                    <a:pt x="48" y="144"/>
                  </a:lnTo>
                  <a:lnTo>
                    <a:pt x="36" y="150"/>
                  </a:lnTo>
                  <a:lnTo>
                    <a:pt x="0" y="150"/>
                  </a:lnTo>
                  <a:lnTo>
                    <a:pt x="48" y="204"/>
                  </a:lnTo>
                  <a:lnTo>
                    <a:pt x="48" y="210"/>
                  </a:lnTo>
                  <a:lnTo>
                    <a:pt x="54" y="216"/>
                  </a:lnTo>
                  <a:lnTo>
                    <a:pt x="54" y="228"/>
                  </a:lnTo>
                  <a:lnTo>
                    <a:pt x="66" y="252"/>
                  </a:lnTo>
                  <a:lnTo>
                    <a:pt x="72" y="258"/>
                  </a:lnTo>
                  <a:lnTo>
                    <a:pt x="96" y="270"/>
                  </a:lnTo>
                  <a:lnTo>
                    <a:pt x="108" y="282"/>
                  </a:lnTo>
                  <a:lnTo>
                    <a:pt x="114" y="294"/>
                  </a:lnTo>
                  <a:lnTo>
                    <a:pt x="138" y="294"/>
                  </a:lnTo>
                  <a:lnTo>
                    <a:pt x="132" y="294"/>
                  </a:lnTo>
                  <a:lnTo>
                    <a:pt x="120" y="282"/>
                  </a:lnTo>
                  <a:lnTo>
                    <a:pt x="120" y="276"/>
                  </a:lnTo>
                  <a:lnTo>
                    <a:pt x="126" y="270"/>
                  </a:lnTo>
                  <a:lnTo>
                    <a:pt x="138" y="270"/>
                  </a:lnTo>
                  <a:lnTo>
                    <a:pt x="138" y="264"/>
                  </a:lnTo>
                  <a:lnTo>
                    <a:pt x="132" y="258"/>
                  </a:lnTo>
                  <a:lnTo>
                    <a:pt x="126" y="258"/>
                  </a:lnTo>
                  <a:lnTo>
                    <a:pt x="120" y="264"/>
                  </a:lnTo>
                  <a:lnTo>
                    <a:pt x="114" y="264"/>
                  </a:lnTo>
                  <a:lnTo>
                    <a:pt x="114" y="222"/>
                  </a:lnTo>
                  <a:lnTo>
                    <a:pt x="120" y="222"/>
                  </a:lnTo>
                  <a:lnTo>
                    <a:pt x="132" y="228"/>
                  </a:lnTo>
                  <a:lnTo>
                    <a:pt x="144" y="240"/>
                  </a:lnTo>
                  <a:lnTo>
                    <a:pt x="156" y="246"/>
                  </a:lnTo>
                  <a:lnTo>
                    <a:pt x="180" y="270"/>
                  </a:lnTo>
                  <a:lnTo>
                    <a:pt x="192" y="306"/>
                  </a:lnTo>
                  <a:lnTo>
                    <a:pt x="210" y="306"/>
                  </a:lnTo>
                  <a:lnTo>
                    <a:pt x="216" y="312"/>
                  </a:lnTo>
                  <a:lnTo>
                    <a:pt x="222" y="312"/>
                  </a:lnTo>
                  <a:lnTo>
                    <a:pt x="222" y="318"/>
                  </a:lnTo>
                  <a:lnTo>
                    <a:pt x="234" y="330"/>
                  </a:lnTo>
                  <a:lnTo>
                    <a:pt x="270" y="330"/>
                  </a:lnTo>
                  <a:lnTo>
                    <a:pt x="270" y="324"/>
                  </a:lnTo>
                  <a:lnTo>
                    <a:pt x="258" y="312"/>
                  </a:lnTo>
                  <a:lnTo>
                    <a:pt x="252" y="300"/>
                  </a:lnTo>
                  <a:lnTo>
                    <a:pt x="252" y="276"/>
                  </a:lnTo>
                  <a:lnTo>
                    <a:pt x="264" y="264"/>
                  </a:lnTo>
                  <a:lnTo>
                    <a:pt x="270" y="264"/>
                  </a:lnTo>
                  <a:lnTo>
                    <a:pt x="270" y="246"/>
                  </a:lnTo>
                  <a:lnTo>
                    <a:pt x="264" y="234"/>
                  </a:lnTo>
                  <a:lnTo>
                    <a:pt x="264" y="222"/>
                  </a:lnTo>
                  <a:lnTo>
                    <a:pt x="270" y="174"/>
                  </a:lnTo>
                  <a:lnTo>
                    <a:pt x="282" y="192"/>
                  </a:lnTo>
                  <a:lnTo>
                    <a:pt x="288" y="108"/>
                  </a:lnTo>
                  <a:lnTo>
                    <a:pt x="288" y="102"/>
                  </a:lnTo>
                  <a:lnTo>
                    <a:pt x="294" y="96"/>
                  </a:lnTo>
                  <a:lnTo>
                    <a:pt x="306" y="72"/>
                  </a:lnTo>
                  <a:lnTo>
                    <a:pt x="312" y="66"/>
                  </a:lnTo>
                  <a:lnTo>
                    <a:pt x="324" y="42"/>
                  </a:lnTo>
                  <a:lnTo>
                    <a:pt x="324" y="18"/>
                  </a:lnTo>
                  <a:close/>
                </a:path>
              </a:pathLst>
            </a:custGeom>
            <a:solidFill>
              <a:srgbClr val="658B26"/>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00" name="New Zealand" descr="© INSCALE GmbH, 05.05.2010&#10;http://www.presentationload.com/"/>
            <p:cNvSpPr>
              <a:spLocks noEditPoints="1"/>
            </p:cNvSpPr>
            <p:nvPr/>
          </p:nvSpPr>
          <p:spPr bwMode="gray">
            <a:xfrm>
              <a:off x="8488370" y="5191125"/>
              <a:ext cx="511176" cy="395288"/>
            </a:xfrm>
            <a:custGeom>
              <a:avLst/>
              <a:gdLst>
                <a:gd name="T0" fmla="*/ 2147483647 w 1272"/>
                <a:gd name="T1" fmla="*/ 2147483647 h 984"/>
                <a:gd name="T2" fmla="*/ 2147483647 w 1272"/>
                <a:gd name="T3" fmla="*/ 2147483647 h 984"/>
                <a:gd name="T4" fmla="*/ 2147483647 w 1272"/>
                <a:gd name="T5" fmla="*/ 2147483647 h 984"/>
                <a:gd name="T6" fmla="*/ 2147483647 w 1272"/>
                <a:gd name="T7" fmla="*/ 2147483647 h 984"/>
                <a:gd name="T8" fmla="*/ 2147483647 w 1272"/>
                <a:gd name="T9" fmla="*/ 2147483647 h 984"/>
                <a:gd name="T10" fmla="*/ 2147483647 w 1272"/>
                <a:gd name="T11" fmla="*/ 2147483647 h 984"/>
                <a:gd name="T12" fmla="*/ 2147483647 w 1272"/>
                <a:gd name="T13" fmla="*/ 2147483647 h 984"/>
                <a:gd name="T14" fmla="*/ 2147483647 w 1272"/>
                <a:gd name="T15" fmla="*/ 2147483647 h 984"/>
                <a:gd name="T16" fmla="*/ 2147483647 w 1272"/>
                <a:gd name="T17" fmla="*/ 2147483647 h 984"/>
                <a:gd name="T18" fmla="*/ 2147483647 w 1272"/>
                <a:gd name="T19" fmla="*/ 2147483647 h 984"/>
                <a:gd name="T20" fmla="*/ 2147483647 w 1272"/>
                <a:gd name="T21" fmla="*/ 2147483647 h 984"/>
                <a:gd name="T22" fmla="*/ 2147483647 w 1272"/>
                <a:gd name="T23" fmla="*/ 2147483647 h 984"/>
                <a:gd name="T24" fmla="*/ 2147483647 w 1272"/>
                <a:gd name="T25" fmla="*/ 2147483647 h 984"/>
                <a:gd name="T26" fmla="*/ 2147483647 w 1272"/>
                <a:gd name="T27" fmla="*/ 2147483647 h 984"/>
                <a:gd name="T28" fmla="*/ 2147483647 w 1272"/>
                <a:gd name="T29" fmla="*/ 2147483647 h 984"/>
                <a:gd name="T30" fmla="*/ 2147483647 w 1272"/>
                <a:gd name="T31" fmla="*/ 2147483647 h 984"/>
                <a:gd name="T32" fmla="*/ 2147483647 w 1272"/>
                <a:gd name="T33" fmla="*/ 2147483647 h 984"/>
                <a:gd name="T34" fmla="*/ 2147483647 w 1272"/>
                <a:gd name="T35" fmla="*/ 2147483647 h 984"/>
                <a:gd name="T36" fmla="*/ 2147483647 w 1272"/>
                <a:gd name="T37" fmla="*/ 2147483647 h 984"/>
                <a:gd name="T38" fmla="*/ 2147483647 w 1272"/>
                <a:gd name="T39" fmla="*/ 2147483647 h 984"/>
                <a:gd name="T40" fmla="*/ 2147483647 w 1272"/>
                <a:gd name="T41" fmla="*/ 2147483647 h 984"/>
                <a:gd name="T42" fmla="*/ 2147483647 w 1272"/>
                <a:gd name="T43" fmla="*/ 2147483647 h 984"/>
                <a:gd name="T44" fmla="*/ 2147483647 w 1272"/>
                <a:gd name="T45" fmla="*/ 2147483647 h 984"/>
                <a:gd name="T46" fmla="*/ 2147483647 w 1272"/>
                <a:gd name="T47" fmla="*/ 2147483647 h 984"/>
                <a:gd name="T48" fmla="*/ 2147483647 w 1272"/>
                <a:gd name="T49" fmla="*/ 2147483647 h 984"/>
                <a:gd name="T50" fmla="*/ 2147483647 w 1272"/>
                <a:gd name="T51" fmla="*/ 2147483647 h 984"/>
                <a:gd name="T52" fmla="*/ 2147483647 w 1272"/>
                <a:gd name="T53" fmla="*/ 2147483647 h 984"/>
                <a:gd name="T54" fmla="*/ 2147483647 w 1272"/>
                <a:gd name="T55" fmla="*/ 2147483647 h 984"/>
                <a:gd name="T56" fmla="*/ 2147483647 w 1272"/>
                <a:gd name="T57" fmla="*/ 2147483647 h 984"/>
                <a:gd name="T58" fmla="*/ 2147483647 w 1272"/>
                <a:gd name="T59" fmla="*/ 2147483647 h 984"/>
                <a:gd name="T60" fmla="*/ 2147483647 w 1272"/>
                <a:gd name="T61" fmla="*/ 2147483647 h 984"/>
                <a:gd name="T62" fmla="*/ 2147483647 w 1272"/>
                <a:gd name="T63" fmla="*/ 2147483647 h 984"/>
                <a:gd name="T64" fmla="*/ 2147483647 w 1272"/>
                <a:gd name="T65" fmla="*/ 2147483647 h 984"/>
                <a:gd name="T66" fmla="*/ 2147483647 w 1272"/>
                <a:gd name="T67" fmla="*/ 2147483647 h 984"/>
                <a:gd name="T68" fmla="*/ 2147483647 w 1272"/>
                <a:gd name="T69" fmla="*/ 2147483647 h 984"/>
                <a:gd name="T70" fmla="*/ 2147483647 w 1272"/>
                <a:gd name="T71" fmla="*/ 2147483647 h 984"/>
                <a:gd name="T72" fmla="*/ 2147483647 w 1272"/>
                <a:gd name="T73" fmla="*/ 2147483647 h 984"/>
                <a:gd name="T74" fmla="*/ 2147483647 w 1272"/>
                <a:gd name="T75" fmla="*/ 2147483647 h 984"/>
                <a:gd name="T76" fmla="*/ 2147483647 w 1272"/>
                <a:gd name="T77" fmla="*/ 2147483647 h 984"/>
                <a:gd name="T78" fmla="*/ 2147483647 w 1272"/>
                <a:gd name="T79" fmla="*/ 2147483647 h 984"/>
                <a:gd name="T80" fmla="*/ 2147483647 w 1272"/>
                <a:gd name="T81" fmla="*/ 2147483647 h 984"/>
                <a:gd name="T82" fmla="*/ 2147483647 w 1272"/>
                <a:gd name="T83" fmla="*/ 2147483647 h 984"/>
                <a:gd name="T84" fmla="*/ 2147483647 w 1272"/>
                <a:gd name="T85" fmla="*/ 2147483647 h 984"/>
                <a:gd name="T86" fmla="*/ 2147483647 w 1272"/>
                <a:gd name="T87" fmla="*/ 2147483647 h 984"/>
                <a:gd name="T88" fmla="*/ 2147483647 w 1272"/>
                <a:gd name="T89" fmla="*/ 2147483647 h 984"/>
                <a:gd name="T90" fmla="*/ 2147483647 w 1272"/>
                <a:gd name="T91" fmla="*/ 2147483647 h 984"/>
                <a:gd name="T92" fmla="*/ 2147483647 w 1272"/>
                <a:gd name="T93" fmla="*/ 2147483647 h 984"/>
                <a:gd name="T94" fmla="*/ 2147483647 w 1272"/>
                <a:gd name="T95" fmla="*/ 2147483647 h 984"/>
                <a:gd name="T96" fmla="*/ 2147483647 w 1272"/>
                <a:gd name="T97" fmla="*/ 2147483647 h 984"/>
                <a:gd name="T98" fmla="*/ 2147483647 w 1272"/>
                <a:gd name="T99" fmla="*/ 2147483647 h 984"/>
                <a:gd name="T100" fmla="*/ 2147483647 w 1272"/>
                <a:gd name="T101" fmla="*/ 2147483647 h 984"/>
                <a:gd name="T102" fmla="*/ 2147483647 w 1272"/>
                <a:gd name="T103" fmla="*/ 2147483647 h 984"/>
                <a:gd name="T104" fmla="*/ 2147483647 w 1272"/>
                <a:gd name="T105" fmla="*/ 2147483647 h 984"/>
                <a:gd name="T106" fmla="*/ 2147483647 w 1272"/>
                <a:gd name="T107" fmla="*/ 2147483647 h 984"/>
                <a:gd name="T108" fmla="*/ 2147483647 w 1272"/>
                <a:gd name="T109" fmla="*/ 2147483647 h 984"/>
                <a:gd name="T110" fmla="*/ 2147483647 w 1272"/>
                <a:gd name="T111" fmla="*/ 2147483647 h 984"/>
                <a:gd name="T112" fmla="*/ 2147483647 w 1272"/>
                <a:gd name="T113" fmla="*/ 2147483647 h 984"/>
                <a:gd name="T114" fmla="*/ 2147483647 w 1272"/>
                <a:gd name="T115" fmla="*/ 2147483647 h 984"/>
                <a:gd name="T116" fmla="*/ 2147483647 w 1272"/>
                <a:gd name="T117" fmla="*/ 2147483647 h 984"/>
                <a:gd name="T118" fmla="*/ 2147483647 w 1272"/>
                <a:gd name="T119" fmla="*/ 2147483647 h 984"/>
                <a:gd name="T120" fmla="*/ 2147483647 w 1272"/>
                <a:gd name="T121" fmla="*/ 2147483647 h 98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72"/>
                <a:gd name="T184" fmla="*/ 0 h 984"/>
                <a:gd name="T185" fmla="*/ 1272 w 1272"/>
                <a:gd name="T186" fmla="*/ 984 h 98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72" h="984">
                  <a:moveTo>
                    <a:pt x="750" y="564"/>
                  </a:moveTo>
                  <a:lnTo>
                    <a:pt x="738" y="564"/>
                  </a:lnTo>
                  <a:lnTo>
                    <a:pt x="744" y="528"/>
                  </a:lnTo>
                  <a:lnTo>
                    <a:pt x="720" y="546"/>
                  </a:lnTo>
                  <a:lnTo>
                    <a:pt x="726" y="540"/>
                  </a:lnTo>
                  <a:lnTo>
                    <a:pt x="726" y="504"/>
                  </a:lnTo>
                  <a:lnTo>
                    <a:pt x="708" y="504"/>
                  </a:lnTo>
                  <a:lnTo>
                    <a:pt x="702" y="510"/>
                  </a:lnTo>
                  <a:lnTo>
                    <a:pt x="696" y="522"/>
                  </a:lnTo>
                  <a:lnTo>
                    <a:pt x="690" y="528"/>
                  </a:lnTo>
                  <a:lnTo>
                    <a:pt x="672" y="540"/>
                  </a:lnTo>
                  <a:lnTo>
                    <a:pt x="660" y="546"/>
                  </a:lnTo>
                  <a:lnTo>
                    <a:pt x="654" y="558"/>
                  </a:lnTo>
                  <a:lnTo>
                    <a:pt x="642" y="570"/>
                  </a:lnTo>
                  <a:lnTo>
                    <a:pt x="630" y="576"/>
                  </a:lnTo>
                  <a:lnTo>
                    <a:pt x="618" y="588"/>
                  </a:lnTo>
                  <a:lnTo>
                    <a:pt x="606" y="588"/>
                  </a:lnTo>
                  <a:lnTo>
                    <a:pt x="588" y="600"/>
                  </a:lnTo>
                  <a:lnTo>
                    <a:pt x="576" y="606"/>
                  </a:lnTo>
                  <a:lnTo>
                    <a:pt x="546" y="636"/>
                  </a:lnTo>
                  <a:lnTo>
                    <a:pt x="540" y="648"/>
                  </a:lnTo>
                  <a:lnTo>
                    <a:pt x="534" y="648"/>
                  </a:lnTo>
                  <a:lnTo>
                    <a:pt x="528" y="654"/>
                  </a:lnTo>
                  <a:lnTo>
                    <a:pt x="510" y="660"/>
                  </a:lnTo>
                  <a:lnTo>
                    <a:pt x="498" y="666"/>
                  </a:lnTo>
                  <a:lnTo>
                    <a:pt x="462" y="678"/>
                  </a:lnTo>
                  <a:lnTo>
                    <a:pt x="438" y="690"/>
                  </a:lnTo>
                  <a:lnTo>
                    <a:pt x="426" y="702"/>
                  </a:lnTo>
                  <a:lnTo>
                    <a:pt x="414" y="708"/>
                  </a:lnTo>
                  <a:lnTo>
                    <a:pt x="408" y="720"/>
                  </a:lnTo>
                  <a:lnTo>
                    <a:pt x="396" y="726"/>
                  </a:lnTo>
                  <a:lnTo>
                    <a:pt x="378" y="726"/>
                  </a:lnTo>
                  <a:lnTo>
                    <a:pt x="366" y="732"/>
                  </a:lnTo>
                  <a:lnTo>
                    <a:pt x="312" y="750"/>
                  </a:lnTo>
                  <a:lnTo>
                    <a:pt x="288" y="762"/>
                  </a:lnTo>
                  <a:lnTo>
                    <a:pt x="270" y="774"/>
                  </a:lnTo>
                  <a:lnTo>
                    <a:pt x="246" y="786"/>
                  </a:lnTo>
                  <a:lnTo>
                    <a:pt x="222" y="792"/>
                  </a:lnTo>
                  <a:lnTo>
                    <a:pt x="198" y="804"/>
                  </a:lnTo>
                  <a:lnTo>
                    <a:pt x="180" y="810"/>
                  </a:lnTo>
                  <a:lnTo>
                    <a:pt x="174" y="816"/>
                  </a:lnTo>
                  <a:lnTo>
                    <a:pt x="168" y="828"/>
                  </a:lnTo>
                  <a:lnTo>
                    <a:pt x="168" y="846"/>
                  </a:lnTo>
                  <a:lnTo>
                    <a:pt x="156" y="834"/>
                  </a:lnTo>
                  <a:lnTo>
                    <a:pt x="150" y="834"/>
                  </a:lnTo>
                  <a:lnTo>
                    <a:pt x="144" y="840"/>
                  </a:lnTo>
                  <a:lnTo>
                    <a:pt x="120" y="852"/>
                  </a:lnTo>
                  <a:lnTo>
                    <a:pt x="108" y="864"/>
                  </a:lnTo>
                  <a:lnTo>
                    <a:pt x="72" y="882"/>
                  </a:lnTo>
                  <a:lnTo>
                    <a:pt x="66" y="882"/>
                  </a:lnTo>
                  <a:lnTo>
                    <a:pt x="54" y="888"/>
                  </a:lnTo>
                  <a:lnTo>
                    <a:pt x="36" y="888"/>
                  </a:lnTo>
                  <a:lnTo>
                    <a:pt x="18" y="894"/>
                  </a:lnTo>
                  <a:lnTo>
                    <a:pt x="12" y="906"/>
                  </a:lnTo>
                  <a:lnTo>
                    <a:pt x="0" y="912"/>
                  </a:lnTo>
                  <a:lnTo>
                    <a:pt x="18" y="912"/>
                  </a:lnTo>
                  <a:lnTo>
                    <a:pt x="24" y="918"/>
                  </a:lnTo>
                  <a:lnTo>
                    <a:pt x="30" y="918"/>
                  </a:lnTo>
                  <a:lnTo>
                    <a:pt x="24" y="924"/>
                  </a:lnTo>
                  <a:lnTo>
                    <a:pt x="24" y="942"/>
                  </a:lnTo>
                  <a:lnTo>
                    <a:pt x="30" y="948"/>
                  </a:lnTo>
                  <a:lnTo>
                    <a:pt x="42" y="948"/>
                  </a:lnTo>
                  <a:lnTo>
                    <a:pt x="54" y="942"/>
                  </a:lnTo>
                  <a:lnTo>
                    <a:pt x="60" y="936"/>
                  </a:lnTo>
                  <a:lnTo>
                    <a:pt x="72" y="948"/>
                  </a:lnTo>
                  <a:lnTo>
                    <a:pt x="96" y="948"/>
                  </a:lnTo>
                  <a:lnTo>
                    <a:pt x="102" y="954"/>
                  </a:lnTo>
                  <a:lnTo>
                    <a:pt x="132" y="954"/>
                  </a:lnTo>
                  <a:lnTo>
                    <a:pt x="150" y="972"/>
                  </a:lnTo>
                  <a:lnTo>
                    <a:pt x="180" y="966"/>
                  </a:lnTo>
                  <a:lnTo>
                    <a:pt x="192" y="972"/>
                  </a:lnTo>
                  <a:lnTo>
                    <a:pt x="198" y="978"/>
                  </a:lnTo>
                  <a:lnTo>
                    <a:pt x="216" y="984"/>
                  </a:lnTo>
                  <a:lnTo>
                    <a:pt x="228" y="984"/>
                  </a:lnTo>
                  <a:lnTo>
                    <a:pt x="252" y="972"/>
                  </a:lnTo>
                  <a:lnTo>
                    <a:pt x="264" y="948"/>
                  </a:lnTo>
                  <a:lnTo>
                    <a:pt x="288" y="936"/>
                  </a:lnTo>
                  <a:lnTo>
                    <a:pt x="312" y="936"/>
                  </a:lnTo>
                  <a:lnTo>
                    <a:pt x="336" y="924"/>
                  </a:lnTo>
                  <a:lnTo>
                    <a:pt x="342" y="912"/>
                  </a:lnTo>
                  <a:lnTo>
                    <a:pt x="342" y="894"/>
                  </a:lnTo>
                  <a:lnTo>
                    <a:pt x="348" y="882"/>
                  </a:lnTo>
                  <a:lnTo>
                    <a:pt x="372" y="870"/>
                  </a:lnTo>
                  <a:lnTo>
                    <a:pt x="396" y="870"/>
                  </a:lnTo>
                  <a:lnTo>
                    <a:pt x="408" y="858"/>
                  </a:lnTo>
                  <a:lnTo>
                    <a:pt x="408" y="846"/>
                  </a:lnTo>
                  <a:lnTo>
                    <a:pt x="402" y="840"/>
                  </a:lnTo>
                  <a:lnTo>
                    <a:pt x="420" y="840"/>
                  </a:lnTo>
                  <a:lnTo>
                    <a:pt x="480" y="792"/>
                  </a:lnTo>
                  <a:lnTo>
                    <a:pt x="462" y="774"/>
                  </a:lnTo>
                  <a:lnTo>
                    <a:pt x="504" y="792"/>
                  </a:lnTo>
                  <a:lnTo>
                    <a:pt x="504" y="774"/>
                  </a:lnTo>
                  <a:lnTo>
                    <a:pt x="510" y="768"/>
                  </a:lnTo>
                  <a:lnTo>
                    <a:pt x="540" y="768"/>
                  </a:lnTo>
                  <a:lnTo>
                    <a:pt x="546" y="774"/>
                  </a:lnTo>
                  <a:lnTo>
                    <a:pt x="558" y="780"/>
                  </a:lnTo>
                  <a:lnTo>
                    <a:pt x="570" y="780"/>
                  </a:lnTo>
                  <a:lnTo>
                    <a:pt x="576" y="774"/>
                  </a:lnTo>
                  <a:lnTo>
                    <a:pt x="576" y="768"/>
                  </a:lnTo>
                  <a:lnTo>
                    <a:pt x="582" y="762"/>
                  </a:lnTo>
                  <a:lnTo>
                    <a:pt x="582" y="756"/>
                  </a:lnTo>
                  <a:lnTo>
                    <a:pt x="570" y="744"/>
                  </a:lnTo>
                  <a:lnTo>
                    <a:pt x="612" y="702"/>
                  </a:lnTo>
                  <a:lnTo>
                    <a:pt x="618" y="702"/>
                  </a:lnTo>
                  <a:lnTo>
                    <a:pt x="624" y="696"/>
                  </a:lnTo>
                  <a:lnTo>
                    <a:pt x="660" y="678"/>
                  </a:lnTo>
                  <a:lnTo>
                    <a:pt x="666" y="666"/>
                  </a:lnTo>
                  <a:lnTo>
                    <a:pt x="672" y="660"/>
                  </a:lnTo>
                  <a:lnTo>
                    <a:pt x="672" y="654"/>
                  </a:lnTo>
                  <a:lnTo>
                    <a:pt x="696" y="654"/>
                  </a:lnTo>
                  <a:lnTo>
                    <a:pt x="708" y="648"/>
                  </a:lnTo>
                  <a:lnTo>
                    <a:pt x="738" y="618"/>
                  </a:lnTo>
                  <a:lnTo>
                    <a:pt x="738" y="612"/>
                  </a:lnTo>
                  <a:lnTo>
                    <a:pt x="744" y="612"/>
                  </a:lnTo>
                  <a:lnTo>
                    <a:pt x="750" y="606"/>
                  </a:lnTo>
                  <a:lnTo>
                    <a:pt x="768" y="594"/>
                  </a:lnTo>
                  <a:lnTo>
                    <a:pt x="780" y="582"/>
                  </a:lnTo>
                  <a:lnTo>
                    <a:pt x="786" y="570"/>
                  </a:lnTo>
                  <a:lnTo>
                    <a:pt x="786" y="546"/>
                  </a:lnTo>
                  <a:lnTo>
                    <a:pt x="780" y="540"/>
                  </a:lnTo>
                  <a:lnTo>
                    <a:pt x="780" y="534"/>
                  </a:lnTo>
                  <a:lnTo>
                    <a:pt x="750" y="564"/>
                  </a:lnTo>
                  <a:close/>
                  <a:moveTo>
                    <a:pt x="1224" y="324"/>
                  </a:moveTo>
                  <a:lnTo>
                    <a:pt x="1236" y="318"/>
                  </a:lnTo>
                  <a:lnTo>
                    <a:pt x="1242" y="318"/>
                  </a:lnTo>
                  <a:lnTo>
                    <a:pt x="1266" y="306"/>
                  </a:lnTo>
                  <a:lnTo>
                    <a:pt x="1272" y="300"/>
                  </a:lnTo>
                  <a:lnTo>
                    <a:pt x="1272" y="282"/>
                  </a:lnTo>
                  <a:lnTo>
                    <a:pt x="1266" y="270"/>
                  </a:lnTo>
                  <a:lnTo>
                    <a:pt x="1260" y="264"/>
                  </a:lnTo>
                  <a:lnTo>
                    <a:pt x="1248" y="264"/>
                  </a:lnTo>
                  <a:lnTo>
                    <a:pt x="1236" y="276"/>
                  </a:lnTo>
                  <a:lnTo>
                    <a:pt x="1236" y="282"/>
                  </a:lnTo>
                  <a:lnTo>
                    <a:pt x="1224" y="282"/>
                  </a:lnTo>
                  <a:lnTo>
                    <a:pt x="1212" y="276"/>
                  </a:lnTo>
                  <a:lnTo>
                    <a:pt x="1200" y="276"/>
                  </a:lnTo>
                  <a:lnTo>
                    <a:pt x="1194" y="282"/>
                  </a:lnTo>
                  <a:lnTo>
                    <a:pt x="1176" y="288"/>
                  </a:lnTo>
                  <a:lnTo>
                    <a:pt x="1158" y="288"/>
                  </a:lnTo>
                  <a:lnTo>
                    <a:pt x="1146" y="276"/>
                  </a:lnTo>
                  <a:lnTo>
                    <a:pt x="1146" y="222"/>
                  </a:lnTo>
                  <a:lnTo>
                    <a:pt x="1170" y="180"/>
                  </a:lnTo>
                  <a:lnTo>
                    <a:pt x="1170" y="174"/>
                  </a:lnTo>
                  <a:lnTo>
                    <a:pt x="1164" y="162"/>
                  </a:lnTo>
                  <a:lnTo>
                    <a:pt x="1158" y="156"/>
                  </a:lnTo>
                  <a:lnTo>
                    <a:pt x="1146" y="156"/>
                  </a:lnTo>
                  <a:lnTo>
                    <a:pt x="1140" y="168"/>
                  </a:lnTo>
                  <a:lnTo>
                    <a:pt x="1134" y="174"/>
                  </a:lnTo>
                  <a:lnTo>
                    <a:pt x="1134" y="204"/>
                  </a:lnTo>
                  <a:lnTo>
                    <a:pt x="1128" y="216"/>
                  </a:lnTo>
                  <a:lnTo>
                    <a:pt x="1116" y="222"/>
                  </a:lnTo>
                  <a:lnTo>
                    <a:pt x="1116" y="192"/>
                  </a:lnTo>
                  <a:lnTo>
                    <a:pt x="1092" y="174"/>
                  </a:lnTo>
                  <a:lnTo>
                    <a:pt x="1104" y="150"/>
                  </a:lnTo>
                  <a:lnTo>
                    <a:pt x="1116" y="138"/>
                  </a:lnTo>
                  <a:lnTo>
                    <a:pt x="1122" y="126"/>
                  </a:lnTo>
                  <a:lnTo>
                    <a:pt x="1128" y="108"/>
                  </a:lnTo>
                  <a:lnTo>
                    <a:pt x="1128" y="84"/>
                  </a:lnTo>
                  <a:lnTo>
                    <a:pt x="1116" y="78"/>
                  </a:lnTo>
                  <a:lnTo>
                    <a:pt x="1110" y="72"/>
                  </a:lnTo>
                  <a:lnTo>
                    <a:pt x="1098" y="66"/>
                  </a:lnTo>
                  <a:lnTo>
                    <a:pt x="1092" y="60"/>
                  </a:lnTo>
                  <a:lnTo>
                    <a:pt x="1080" y="60"/>
                  </a:lnTo>
                  <a:lnTo>
                    <a:pt x="1086" y="42"/>
                  </a:lnTo>
                  <a:lnTo>
                    <a:pt x="1062" y="42"/>
                  </a:lnTo>
                  <a:lnTo>
                    <a:pt x="1044" y="18"/>
                  </a:lnTo>
                  <a:lnTo>
                    <a:pt x="1050" y="0"/>
                  </a:lnTo>
                  <a:lnTo>
                    <a:pt x="1020" y="18"/>
                  </a:lnTo>
                  <a:lnTo>
                    <a:pt x="1044" y="54"/>
                  </a:lnTo>
                  <a:lnTo>
                    <a:pt x="1032" y="90"/>
                  </a:lnTo>
                  <a:lnTo>
                    <a:pt x="1056" y="102"/>
                  </a:lnTo>
                  <a:lnTo>
                    <a:pt x="1044" y="108"/>
                  </a:lnTo>
                  <a:lnTo>
                    <a:pt x="1044" y="126"/>
                  </a:lnTo>
                  <a:lnTo>
                    <a:pt x="1068" y="132"/>
                  </a:lnTo>
                  <a:lnTo>
                    <a:pt x="1044" y="150"/>
                  </a:lnTo>
                  <a:lnTo>
                    <a:pt x="1062" y="156"/>
                  </a:lnTo>
                  <a:lnTo>
                    <a:pt x="1062" y="168"/>
                  </a:lnTo>
                  <a:lnTo>
                    <a:pt x="1056" y="174"/>
                  </a:lnTo>
                  <a:lnTo>
                    <a:pt x="1056" y="192"/>
                  </a:lnTo>
                  <a:lnTo>
                    <a:pt x="1068" y="198"/>
                  </a:lnTo>
                  <a:lnTo>
                    <a:pt x="1074" y="204"/>
                  </a:lnTo>
                  <a:lnTo>
                    <a:pt x="1056" y="210"/>
                  </a:lnTo>
                  <a:lnTo>
                    <a:pt x="1044" y="222"/>
                  </a:lnTo>
                  <a:lnTo>
                    <a:pt x="1062" y="234"/>
                  </a:lnTo>
                  <a:lnTo>
                    <a:pt x="1038" y="258"/>
                  </a:lnTo>
                  <a:lnTo>
                    <a:pt x="1032" y="270"/>
                  </a:lnTo>
                  <a:lnTo>
                    <a:pt x="1026" y="276"/>
                  </a:lnTo>
                  <a:lnTo>
                    <a:pt x="1026" y="288"/>
                  </a:lnTo>
                  <a:lnTo>
                    <a:pt x="1038" y="300"/>
                  </a:lnTo>
                  <a:lnTo>
                    <a:pt x="1026" y="300"/>
                  </a:lnTo>
                  <a:lnTo>
                    <a:pt x="1014" y="306"/>
                  </a:lnTo>
                  <a:lnTo>
                    <a:pt x="1002" y="306"/>
                  </a:lnTo>
                  <a:lnTo>
                    <a:pt x="978" y="318"/>
                  </a:lnTo>
                  <a:lnTo>
                    <a:pt x="948" y="348"/>
                  </a:lnTo>
                  <a:lnTo>
                    <a:pt x="930" y="360"/>
                  </a:lnTo>
                  <a:lnTo>
                    <a:pt x="894" y="372"/>
                  </a:lnTo>
                  <a:lnTo>
                    <a:pt x="870" y="384"/>
                  </a:lnTo>
                  <a:lnTo>
                    <a:pt x="858" y="396"/>
                  </a:lnTo>
                  <a:lnTo>
                    <a:pt x="858" y="432"/>
                  </a:lnTo>
                  <a:lnTo>
                    <a:pt x="864" y="444"/>
                  </a:lnTo>
                  <a:lnTo>
                    <a:pt x="870" y="450"/>
                  </a:lnTo>
                  <a:lnTo>
                    <a:pt x="870" y="456"/>
                  </a:lnTo>
                  <a:lnTo>
                    <a:pt x="924" y="456"/>
                  </a:lnTo>
                  <a:lnTo>
                    <a:pt x="924" y="474"/>
                  </a:lnTo>
                  <a:lnTo>
                    <a:pt x="918" y="486"/>
                  </a:lnTo>
                  <a:lnTo>
                    <a:pt x="918" y="522"/>
                  </a:lnTo>
                  <a:lnTo>
                    <a:pt x="894" y="534"/>
                  </a:lnTo>
                  <a:lnTo>
                    <a:pt x="882" y="534"/>
                  </a:lnTo>
                  <a:lnTo>
                    <a:pt x="864" y="540"/>
                  </a:lnTo>
                  <a:lnTo>
                    <a:pt x="852" y="546"/>
                  </a:lnTo>
                  <a:lnTo>
                    <a:pt x="852" y="558"/>
                  </a:lnTo>
                  <a:lnTo>
                    <a:pt x="840" y="570"/>
                  </a:lnTo>
                  <a:lnTo>
                    <a:pt x="852" y="576"/>
                  </a:lnTo>
                  <a:lnTo>
                    <a:pt x="858" y="582"/>
                  </a:lnTo>
                  <a:lnTo>
                    <a:pt x="876" y="588"/>
                  </a:lnTo>
                  <a:lnTo>
                    <a:pt x="888" y="588"/>
                  </a:lnTo>
                  <a:lnTo>
                    <a:pt x="912" y="576"/>
                  </a:lnTo>
                  <a:lnTo>
                    <a:pt x="924" y="558"/>
                  </a:lnTo>
                  <a:lnTo>
                    <a:pt x="972" y="510"/>
                  </a:lnTo>
                  <a:lnTo>
                    <a:pt x="996" y="498"/>
                  </a:lnTo>
                  <a:lnTo>
                    <a:pt x="1014" y="492"/>
                  </a:lnTo>
                  <a:lnTo>
                    <a:pt x="1026" y="486"/>
                  </a:lnTo>
                  <a:lnTo>
                    <a:pt x="1032" y="480"/>
                  </a:lnTo>
                  <a:lnTo>
                    <a:pt x="1038" y="480"/>
                  </a:lnTo>
                  <a:lnTo>
                    <a:pt x="1044" y="474"/>
                  </a:lnTo>
                  <a:lnTo>
                    <a:pt x="1050" y="462"/>
                  </a:lnTo>
                  <a:lnTo>
                    <a:pt x="1056" y="462"/>
                  </a:lnTo>
                  <a:lnTo>
                    <a:pt x="1062" y="456"/>
                  </a:lnTo>
                  <a:lnTo>
                    <a:pt x="1074" y="450"/>
                  </a:lnTo>
                  <a:lnTo>
                    <a:pt x="1080" y="444"/>
                  </a:lnTo>
                  <a:lnTo>
                    <a:pt x="1080" y="420"/>
                  </a:lnTo>
                  <a:lnTo>
                    <a:pt x="1074" y="414"/>
                  </a:lnTo>
                  <a:lnTo>
                    <a:pt x="1080" y="414"/>
                  </a:lnTo>
                  <a:lnTo>
                    <a:pt x="1086" y="408"/>
                  </a:lnTo>
                  <a:lnTo>
                    <a:pt x="1110" y="396"/>
                  </a:lnTo>
                  <a:lnTo>
                    <a:pt x="1140" y="396"/>
                  </a:lnTo>
                  <a:lnTo>
                    <a:pt x="1152" y="402"/>
                  </a:lnTo>
                  <a:lnTo>
                    <a:pt x="1164" y="402"/>
                  </a:lnTo>
                  <a:lnTo>
                    <a:pt x="1176" y="390"/>
                  </a:lnTo>
                  <a:lnTo>
                    <a:pt x="1176" y="360"/>
                  </a:lnTo>
                  <a:lnTo>
                    <a:pt x="1200" y="360"/>
                  </a:lnTo>
                  <a:lnTo>
                    <a:pt x="1212" y="354"/>
                  </a:lnTo>
                  <a:lnTo>
                    <a:pt x="1218" y="354"/>
                  </a:lnTo>
                  <a:lnTo>
                    <a:pt x="1224" y="348"/>
                  </a:lnTo>
                  <a:lnTo>
                    <a:pt x="1224" y="324"/>
                  </a:lnTo>
                  <a:close/>
                </a:path>
              </a:pathLst>
            </a:custGeom>
            <a:gradFill flip="none" rotWithShape="1">
              <a:gsLst>
                <a:gs pos="0">
                  <a:srgbClr val="692864">
                    <a:shade val="30000"/>
                    <a:satMod val="115000"/>
                  </a:srgbClr>
                </a:gs>
                <a:gs pos="50000">
                  <a:srgbClr val="692864">
                    <a:shade val="67500"/>
                    <a:satMod val="115000"/>
                  </a:srgbClr>
                </a:gs>
                <a:gs pos="100000">
                  <a:srgbClr val="692864">
                    <a:shade val="100000"/>
                    <a:satMod val="115000"/>
                  </a:srgbClr>
                </a:gs>
              </a:gsLst>
              <a:lin ang="2700000" scaled="1"/>
              <a:tileRect/>
            </a:gra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01" name="Newfoundland" descr="© INSCALE GmbH, 05.05.2010&#10;http://www.presentationload.com/"/>
            <p:cNvSpPr>
              <a:spLocks/>
            </p:cNvSpPr>
            <p:nvPr/>
          </p:nvSpPr>
          <p:spPr bwMode="gray">
            <a:xfrm>
              <a:off x="2749552" y="2416176"/>
              <a:ext cx="171451" cy="153988"/>
            </a:xfrm>
            <a:custGeom>
              <a:avLst/>
              <a:gdLst>
                <a:gd name="T0" fmla="*/ 2147483647 w 426"/>
                <a:gd name="T1" fmla="*/ 2147483647 h 384"/>
                <a:gd name="T2" fmla="*/ 2147483647 w 426"/>
                <a:gd name="T3" fmla="*/ 2147483647 h 384"/>
                <a:gd name="T4" fmla="*/ 2147483647 w 426"/>
                <a:gd name="T5" fmla="*/ 0 h 384"/>
                <a:gd name="T6" fmla="*/ 2147483647 w 426"/>
                <a:gd name="T7" fmla="*/ 2147483647 h 384"/>
                <a:gd name="T8" fmla="*/ 2147483647 w 426"/>
                <a:gd name="T9" fmla="*/ 2147483647 h 384"/>
                <a:gd name="T10" fmla="*/ 2147483647 w 426"/>
                <a:gd name="T11" fmla="*/ 2147483647 h 384"/>
                <a:gd name="T12" fmla="*/ 2147483647 w 426"/>
                <a:gd name="T13" fmla="*/ 2147483647 h 384"/>
                <a:gd name="T14" fmla="*/ 2147483647 w 426"/>
                <a:gd name="T15" fmla="*/ 2147483647 h 384"/>
                <a:gd name="T16" fmla="*/ 2147483647 w 426"/>
                <a:gd name="T17" fmla="*/ 2147483647 h 384"/>
                <a:gd name="T18" fmla="*/ 2147483647 w 426"/>
                <a:gd name="T19" fmla="*/ 2147483647 h 384"/>
                <a:gd name="T20" fmla="*/ 2147483647 w 426"/>
                <a:gd name="T21" fmla="*/ 2147483647 h 384"/>
                <a:gd name="T22" fmla="*/ 2147483647 w 426"/>
                <a:gd name="T23" fmla="*/ 2147483647 h 384"/>
                <a:gd name="T24" fmla="*/ 2147483647 w 426"/>
                <a:gd name="T25" fmla="*/ 2147483647 h 384"/>
                <a:gd name="T26" fmla="*/ 2147483647 w 426"/>
                <a:gd name="T27" fmla="*/ 2147483647 h 384"/>
                <a:gd name="T28" fmla="*/ 2147483647 w 426"/>
                <a:gd name="T29" fmla="*/ 2147483647 h 384"/>
                <a:gd name="T30" fmla="*/ 2147483647 w 426"/>
                <a:gd name="T31" fmla="*/ 2147483647 h 384"/>
                <a:gd name="T32" fmla="*/ 2147483647 w 426"/>
                <a:gd name="T33" fmla="*/ 2147483647 h 384"/>
                <a:gd name="T34" fmla="*/ 2147483647 w 426"/>
                <a:gd name="T35" fmla="*/ 2147483647 h 384"/>
                <a:gd name="T36" fmla="*/ 2147483647 w 426"/>
                <a:gd name="T37" fmla="*/ 2147483647 h 384"/>
                <a:gd name="T38" fmla="*/ 2147483647 w 426"/>
                <a:gd name="T39" fmla="*/ 2147483647 h 384"/>
                <a:gd name="T40" fmla="*/ 2147483647 w 426"/>
                <a:gd name="T41" fmla="*/ 2147483647 h 384"/>
                <a:gd name="T42" fmla="*/ 2147483647 w 426"/>
                <a:gd name="T43" fmla="*/ 2147483647 h 384"/>
                <a:gd name="T44" fmla="*/ 2147483647 w 426"/>
                <a:gd name="T45" fmla="*/ 2147483647 h 384"/>
                <a:gd name="T46" fmla="*/ 2147483647 w 426"/>
                <a:gd name="T47" fmla="*/ 2147483647 h 384"/>
                <a:gd name="T48" fmla="*/ 2147483647 w 426"/>
                <a:gd name="T49" fmla="*/ 2147483647 h 384"/>
                <a:gd name="T50" fmla="*/ 2147483647 w 426"/>
                <a:gd name="T51" fmla="*/ 2147483647 h 384"/>
                <a:gd name="T52" fmla="*/ 2147483647 w 426"/>
                <a:gd name="T53" fmla="*/ 2147483647 h 384"/>
                <a:gd name="T54" fmla="*/ 2147483647 w 426"/>
                <a:gd name="T55" fmla="*/ 2147483647 h 384"/>
                <a:gd name="T56" fmla="*/ 2147483647 w 426"/>
                <a:gd name="T57" fmla="*/ 2147483647 h 384"/>
                <a:gd name="T58" fmla="*/ 2147483647 w 426"/>
                <a:gd name="T59" fmla="*/ 2147483647 h 384"/>
                <a:gd name="T60" fmla="*/ 2147483647 w 426"/>
                <a:gd name="T61" fmla="*/ 2147483647 h 384"/>
                <a:gd name="T62" fmla="*/ 2147483647 w 426"/>
                <a:gd name="T63" fmla="*/ 2147483647 h 384"/>
                <a:gd name="T64" fmla="*/ 2147483647 w 426"/>
                <a:gd name="T65" fmla="*/ 2147483647 h 384"/>
                <a:gd name="T66" fmla="*/ 2147483647 w 426"/>
                <a:gd name="T67" fmla="*/ 2147483647 h 384"/>
                <a:gd name="T68" fmla="*/ 2147483647 w 426"/>
                <a:gd name="T69" fmla="*/ 2147483647 h 384"/>
                <a:gd name="T70" fmla="*/ 2147483647 w 426"/>
                <a:gd name="T71" fmla="*/ 2147483647 h 384"/>
                <a:gd name="T72" fmla="*/ 2147483647 w 426"/>
                <a:gd name="T73" fmla="*/ 2147483647 h 384"/>
                <a:gd name="T74" fmla="*/ 2147483647 w 426"/>
                <a:gd name="T75" fmla="*/ 2147483647 h 384"/>
                <a:gd name="T76" fmla="*/ 2147483647 w 426"/>
                <a:gd name="T77" fmla="*/ 2147483647 h 384"/>
                <a:gd name="T78" fmla="*/ 2147483647 w 426"/>
                <a:gd name="T79" fmla="*/ 2147483647 h 384"/>
                <a:gd name="T80" fmla="*/ 2147483647 w 426"/>
                <a:gd name="T81" fmla="*/ 2147483647 h 384"/>
                <a:gd name="T82" fmla="*/ 2147483647 w 426"/>
                <a:gd name="T83" fmla="*/ 2147483647 h 38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26"/>
                <a:gd name="T127" fmla="*/ 0 h 384"/>
                <a:gd name="T128" fmla="*/ 426 w 426"/>
                <a:gd name="T129" fmla="*/ 384 h 38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26" h="384">
                  <a:moveTo>
                    <a:pt x="258" y="18"/>
                  </a:moveTo>
                  <a:lnTo>
                    <a:pt x="270" y="12"/>
                  </a:lnTo>
                  <a:lnTo>
                    <a:pt x="276" y="12"/>
                  </a:lnTo>
                  <a:lnTo>
                    <a:pt x="294" y="6"/>
                  </a:lnTo>
                  <a:lnTo>
                    <a:pt x="306" y="0"/>
                  </a:lnTo>
                  <a:lnTo>
                    <a:pt x="330" y="0"/>
                  </a:lnTo>
                  <a:lnTo>
                    <a:pt x="342" y="6"/>
                  </a:lnTo>
                  <a:lnTo>
                    <a:pt x="342" y="18"/>
                  </a:lnTo>
                  <a:lnTo>
                    <a:pt x="336" y="24"/>
                  </a:lnTo>
                  <a:lnTo>
                    <a:pt x="312" y="42"/>
                  </a:lnTo>
                  <a:lnTo>
                    <a:pt x="312" y="48"/>
                  </a:lnTo>
                  <a:lnTo>
                    <a:pt x="306" y="54"/>
                  </a:lnTo>
                  <a:lnTo>
                    <a:pt x="300" y="72"/>
                  </a:lnTo>
                  <a:lnTo>
                    <a:pt x="276" y="96"/>
                  </a:lnTo>
                  <a:lnTo>
                    <a:pt x="258" y="102"/>
                  </a:lnTo>
                  <a:lnTo>
                    <a:pt x="246" y="102"/>
                  </a:lnTo>
                  <a:lnTo>
                    <a:pt x="210" y="150"/>
                  </a:lnTo>
                  <a:lnTo>
                    <a:pt x="210" y="174"/>
                  </a:lnTo>
                  <a:lnTo>
                    <a:pt x="234" y="156"/>
                  </a:lnTo>
                  <a:lnTo>
                    <a:pt x="264" y="108"/>
                  </a:lnTo>
                  <a:lnTo>
                    <a:pt x="282" y="126"/>
                  </a:lnTo>
                  <a:lnTo>
                    <a:pt x="306" y="138"/>
                  </a:lnTo>
                  <a:lnTo>
                    <a:pt x="294" y="168"/>
                  </a:lnTo>
                  <a:lnTo>
                    <a:pt x="324" y="168"/>
                  </a:lnTo>
                  <a:lnTo>
                    <a:pt x="330" y="192"/>
                  </a:lnTo>
                  <a:lnTo>
                    <a:pt x="384" y="162"/>
                  </a:lnTo>
                  <a:lnTo>
                    <a:pt x="402" y="174"/>
                  </a:lnTo>
                  <a:lnTo>
                    <a:pt x="396" y="180"/>
                  </a:lnTo>
                  <a:lnTo>
                    <a:pt x="390" y="192"/>
                  </a:lnTo>
                  <a:lnTo>
                    <a:pt x="378" y="204"/>
                  </a:lnTo>
                  <a:lnTo>
                    <a:pt x="372" y="204"/>
                  </a:lnTo>
                  <a:lnTo>
                    <a:pt x="384" y="204"/>
                  </a:lnTo>
                  <a:lnTo>
                    <a:pt x="396" y="210"/>
                  </a:lnTo>
                  <a:lnTo>
                    <a:pt x="408" y="210"/>
                  </a:lnTo>
                  <a:lnTo>
                    <a:pt x="408" y="216"/>
                  </a:lnTo>
                  <a:lnTo>
                    <a:pt x="396" y="240"/>
                  </a:lnTo>
                  <a:lnTo>
                    <a:pt x="384" y="252"/>
                  </a:lnTo>
                  <a:lnTo>
                    <a:pt x="378" y="264"/>
                  </a:lnTo>
                  <a:lnTo>
                    <a:pt x="366" y="276"/>
                  </a:lnTo>
                  <a:lnTo>
                    <a:pt x="360" y="288"/>
                  </a:lnTo>
                  <a:lnTo>
                    <a:pt x="354" y="294"/>
                  </a:lnTo>
                  <a:lnTo>
                    <a:pt x="390" y="294"/>
                  </a:lnTo>
                  <a:lnTo>
                    <a:pt x="354" y="312"/>
                  </a:lnTo>
                  <a:lnTo>
                    <a:pt x="384" y="312"/>
                  </a:lnTo>
                  <a:lnTo>
                    <a:pt x="420" y="300"/>
                  </a:lnTo>
                  <a:lnTo>
                    <a:pt x="426" y="324"/>
                  </a:lnTo>
                  <a:lnTo>
                    <a:pt x="360" y="384"/>
                  </a:lnTo>
                  <a:lnTo>
                    <a:pt x="318" y="378"/>
                  </a:lnTo>
                  <a:lnTo>
                    <a:pt x="336" y="354"/>
                  </a:lnTo>
                  <a:lnTo>
                    <a:pt x="306" y="360"/>
                  </a:lnTo>
                  <a:lnTo>
                    <a:pt x="300" y="348"/>
                  </a:lnTo>
                  <a:lnTo>
                    <a:pt x="228" y="360"/>
                  </a:lnTo>
                  <a:lnTo>
                    <a:pt x="192" y="354"/>
                  </a:lnTo>
                  <a:lnTo>
                    <a:pt x="186" y="348"/>
                  </a:lnTo>
                  <a:lnTo>
                    <a:pt x="228" y="336"/>
                  </a:lnTo>
                  <a:lnTo>
                    <a:pt x="234" y="330"/>
                  </a:lnTo>
                  <a:lnTo>
                    <a:pt x="234" y="324"/>
                  </a:lnTo>
                  <a:lnTo>
                    <a:pt x="228" y="324"/>
                  </a:lnTo>
                  <a:lnTo>
                    <a:pt x="222" y="318"/>
                  </a:lnTo>
                  <a:lnTo>
                    <a:pt x="198" y="318"/>
                  </a:lnTo>
                  <a:lnTo>
                    <a:pt x="162" y="312"/>
                  </a:lnTo>
                  <a:lnTo>
                    <a:pt x="126" y="300"/>
                  </a:lnTo>
                  <a:lnTo>
                    <a:pt x="96" y="294"/>
                  </a:lnTo>
                  <a:lnTo>
                    <a:pt x="78" y="294"/>
                  </a:lnTo>
                  <a:lnTo>
                    <a:pt x="72" y="300"/>
                  </a:lnTo>
                  <a:lnTo>
                    <a:pt x="48" y="300"/>
                  </a:lnTo>
                  <a:lnTo>
                    <a:pt x="36" y="306"/>
                  </a:lnTo>
                  <a:lnTo>
                    <a:pt x="24" y="306"/>
                  </a:lnTo>
                  <a:lnTo>
                    <a:pt x="12" y="300"/>
                  </a:lnTo>
                  <a:lnTo>
                    <a:pt x="6" y="294"/>
                  </a:lnTo>
                  <a:lnTo>
                    <a:pt x="18" y="282"/>
                  </a:lnTo>
                  <a:lnTo>
                    <a:pt x="24" y="282"/>
                  </a:lnTo>
                  <a:lnTo>
                    <a:pt x="30" y="276"/>
                  </a:lnTo>
                  <a:lnTo>
                    <a:pt x="42" y="276"/>
                  </a:lnTo>
                  <a:lnTo>
                    <a:pt x="30" y="276"/>
                  </a:lnTo>
                  <a:lnTo>
                    <a:pt x="12" y="270"/>
                  </a:lnTo>
                  <a:lnTo>
                    <a:pt x="0" y="258"/>
                  </a:lnTo>
                  <a:lnTo>
                    <a:pt x="6" y="252"/>
                  </a:lnTo>
                  <a:lnTo>
                    <a:pt x="18" y="252"/>
                  </a:lnTo>
                  <a:lnTo>
                    <a:pt x="54" y="234"/>
                  </a:lnTo>
                  <a:lnTo>
                    <a:pt x="60" y="228"/>
                  </a:lnTo>
                  <a:lnTo>
                    <a:pt x="66" y="228"/>
                  </a:lnTo>
                  <a:lnTo>
                    <a:pt x="204" y="90"/>
                  </a:lnTo>
                  <a:lnTo>
                    <a:pt x="258" y="18"/>
                  </a:lnTo>
                  <a:close/>
                </a:path>
              </a:pathLst>
            </a:custGeom>
            <a:solidFill>
              <a:srgbClr val="658B26"/>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02" name="Netherlands" descr="© INSCALE GmbH, 05.05.2010&#10;http://www.presentationload.com/"/>
            <p:cNvSpPr>
              <a:spLocks/>
            </p:cNvSpPr>
            <p:nvPr/>
          </p:nvSpPr>
          <p:spPr bwMode="gray">
            <a:xfrm>
              <a:off x="4325941" y="2355850"/>
              <a:ext cx="109537" cy="84138"/>
            </a:xfrm>
            <a:custGeom>
              <a:avLst/>
              <a:gdLst>
                <a:gd name="T0" fmla="*/ 0 w 270"/>
                <a:gd name="T1" fmla="*/ 2147483647 h 210"/>
                <a:gd name="T2" fmla="*/ 2147483647 w 270"/>
                <a:gd name="T3" fmla="*/ 2147483647 h 210"/>
                <a:gd name="T4" fmla="*/ 2147483647 w 270"/>
                <a:gd name="T5" fmla="*/ 2147483647 h 210"/>
                <a:gd name="T6" fmla="*/ 2147483647 w 270"/>
                <a:gd name="T7" fmla="*/ 2147483647 h 210"/>
                <a:gd name="T8" fmla="*/ 2147483647 w 270"/>
                <a:gd name="T9" fmla="*/ 2147483647 h 210"/>
                <a:gd name="T10" fmla="*/ 2147483647 w 270"/>
                <a:gd name="T11" fmla="*/ 2147483647 h 210"/>
                <a:gd name="T12" fmla="*/ 2147483647 w 270"/>
                <a:gd name="T13" fmla="*/ 2147483647 h 210"/>
                <a:gd name="T14" fmla="*/ 2147483647 w 270"/>
                <a:gd name="T15" fmla="*/ 2147483647 h 210"/>
                <a:gd name="T16" fmla="*/ 2147483647 w 270"/>
                <a:gd name="T17" fmla="*/ 2147483647 h 210"/>
                <a:gd name="T18" fmla="*/ 2147483647 w 270"/>
                <a:gd name="T19" fmla="*/ 2147483647 h 210"/>
                <a:gd name="T20" fmla="*/ 2147483647 w 270"/>
                <a:gd name="T21" fmla="*/ 2147483647 h 210"/>
                <a:gd name="T22" fmla="*/ 2147483647 w 270"/>
                <a:gd name="T23" fmla="*/ 2147483647 h 210"/>
                <a:gd name="T24" fmla="*/ 2147483647 w 270"/>
                <a:gd name="T25" fmla="*/ 2147483647 h 210"/>
                <a:gd name="T26" fmla="*/ 2147483647 w 270"/>
                <a:gd name="T27" fmla="*/ 2147483647 h 210"/>
                <a:gd name="T28" fmla="*/ 2147483647 w 270"/>
                <a:gd name="T29" fmla="*/ 2147483647 h 210"/>
                <a:gd name="T30" fmla="*/ 2147483647 w 270"/>
                <a:gd name="T31" fmla="*/ 2147483647 h 210"/>
                <a:gd name="T32" fmla="*/ 2147483647 w 270"/>
                <a:gd name="T33" fmla="*/ 2147483647 h 210"/>
                <a:gd name="T34" fmla="*/ 2147483647 w 270"/>
                <a:gd name="T35" fmla="*/ 2147483647 h 210"/>
                <a:gd name="T36" fmla="*/ 2147483647 w 270"/>
                <a:gd name="T37" fmla="*/ 2147483647 h 210"/>
                <a:gd name="T38" fmla="*/ 2147483647 w 270"/>
                <a:gd name="T39" fmla="*/ 2147483647 h 210"/>
                <a:gd name="T40" fmla="*/ 2147483647 w 270"/>
                <a:gd name="T41" fmla="*/ 2147483647 h 210"/>
                <a:gd name="T42" fmla="*/ 2147483647 w 270"/>
                <a:gd name="T43" fmla="*/ 2147483647 h 210"/>
                <a:gd name="T44" fmla="*/ 2147483647 w 270"/>
                <a:gd name="T45" fmla="*/ 2147483647 h 210"/>
                <a:gd name="T46" fmla="*/ 2147483647 w 270"/>
                <a:gd name="T47" fmla="*/ 2147483647 h 210"/>
                <a:gd name="T48" fmla="*/ 2147483647 w 270"/>
                <a:gd name="T49" fmla="*/ 2147483647 h 210"/>
                <a:gd name="T50" fmla="*/ 2147483647 w 270"/>
                <a:gd name="T51" fmla="*/ 2147483647 h 210"/>
                <a:gd name="T52" fmla="*/ 2147483647 w 270"/>
                <a:gd name="T53" fmla="*/ 2147483647 h 210"/>
                <a:gd name="T54" fmla="*/ 2147483647 w 270"/>
                <a:gd name="T55" fmla="*/ 2147483647 h 210"/>
                <a:gd name="T56" fmla="*/ 2147483647 w 270"/>
                <a:gd name="T57" fmla="*/ 2147483647 h 210"/>
                <a:gd name="T58" fmla="*/ 2147483647 w 270"/>
                <a:gd name="T59" fmla="*/ 0 h 210"/>
                <a:gd name="T60" fmla="*/ 2147483647 w 270"/>
                <a:gd name="T61" fmla="*/ 2147483647 h 210"/>
                <a:gd name="T62" fmla="*/ 2147483647 w 270"/>
                <a:gd name="T63" fmla="*/ 2147483647 h 210"/>
                <a:gd name="T64" fmla="*/ 2147483647 w 270"/>
                <a:gd name="T65" fmla="*/ 2147483647 h 210"/>
                <a:gd name="T66" fmla="*/ 2147483647 w 270"/>
                <a:gd name="T67" fmla="*/ 2147483647 h 210"/>
                <a:gd name="T68" fmla="*/ 2147483647 w 270"/>
                <a:gd name="T69" fmla="*/ 2147483647 h 210"/>
                <a:gd name="T70" fmla="*/ 2147483647 w 270"/>
                <a:gd name="T71" fmla="*/ 2147483647 h 210"/>
                <a:gd name="T72" fmla="*/ 2147483647 w 270"/>
                <a:gd name="T73" fmla="*/ 2147483647 h 210"/>
                <a:gd name="T74" fmla="*/ 2147483647 w 270"/>
                <a:gd name="T75" fmla="*/ 2147483647 h 210"/>
                <a:gd name="T76" fmla="*/ 2147483647 w 270"/>
                <a:gd name="T77" fmla="*/ 2147483647 h 210"/>
                <a:gd name="T78" fmla="*/ 2147483647 w 270"/>
                <a:gd name="T79" fmla="*/ 2147483647 h 210"/>
                <a:gd name="T80" fmla="*/ 2147483647 w 270"/>
                <a:gd name="T81" fmla="*/ 2147483647 h 210"/>
                <a:gd name="T82" fmla="*/ 2147483647 w 270"/>
                <a:gd name="T83" fmla="*/ 2147483647 h 210"/>
                <a:gd name="T84" fmla="*/ 2147483647 w 270"/>
                <a:gd name="T85" fmla="*/ 2147483647 h 210"/>
                <a:gd name="T86" fmla="*/ 2147483647 w 270"/>
                <a:gd name="T87" fmla="*/ 2147483647 h 210"/>
                <a:gd name="T88" fmla="*/ 2147483647 w 270"/>
                <a:gd name="T89" fmla="*/ 2147483647 h 21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70"/>
                <a:gd name="T136" fmla="*/ 0 h 210"/>
                <a:gd name="T137" fmla="*/ 270 w 270"/>
                <a:gd name="T138" fmla="*/ 210 h 21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70" h="210">
                  <a:moveTo>
                    <a:pt x="18" y="156"/>
                  </a:moveTo>
                  <a:lnTo>
                    <a:pt x="0" y="174"/>
                  </a:lnTo>
                  <a:lnTo>
                    <a:pt x="12" y="162"/>
                  </a:lnTo>
                  <a:lnTo>
                    <a:pt x="24" y="162"/>
                  </a:lnTo>
                  <a:lnTo>
                    <a:pt x="30" y="168"/>
                  </a:lnTo>
                  <a:lnTo>
                    <a:pt x="54" y="168"/>
                  </a:lnTo>
                  <a:lnTo>
                    <a:pt x="60" y="174"/>
                  </a:lnTo>
                  <a:lnTo>
                    <a:pt x="66" y="162"/>
                  </a:lnTo>
                  <a:lnTo>
                    <a:pt x="84" y="168"/>
                  </a:lnTo>
                  <a:lnTo>
                    <a:pt x="84" y="156"/>
                  </a:lnTo>
                  <a:lnTo>
                    <a:pt x="96" y="162"/>
                  </a:lnTo>
                  <a:lnTo>
                    <a:pt x="96" y="156"/>
                  </a:lnTo>
                  <a:lnTo>
                    <a:pt x="132" y="156"/>
                  </a:lnTo>
                  <a:lnTo>
                    <a:pt x="132" y="168"/>
                  </a:lnTo>
                  <a:lnTo>
                    <a:pt x="138" y="174"/>
                  </a:lnTo>
                  <a:lnTo>
                    <a:pt x="150" y="174"/>
                  </a:lnTo>
                  <a:lnTo>
                    <a:pt x="162" y="168"/>
                  </a:lnTo>
                  <a:lnTo>
                    <a:pt x="168" y="168"/>
                  </a:lnTo>
                  <a:lnTo>
                    <a:pt x="174" y="174"/>
                  </a:lnTo>
                  <a:lnTo>
                    <a:pt x="174" y="192"/>
                  </a:lnTo>
                  <a:lnTo>
                    <a:pt x="168" y="198"/>
                  </a:lnTo>
                  <a:lnTo>
                    <a:pt x="168" y="210"/>
                  </a:lnTo>
                  <a:lnTo>
                    <a:pt x="180" y="210"/>
                  </a:lnTo>
                  <a:lnTo>
                    <a:pt x="180" y="198"/>
                  </a:lnTo>
                  <a:lnTo>
                    <a:pt x="186" y="192"/>
                  </a:lnTo>
                  <a:lnTo>
                    <a:pt x="186" y="180"/>
                  </a:lnTo>
                  <a:lnTo>
                    <a:pt x="180" y="174"/>
                  </a:lnTo>
                  <a:lnTo>
                    <a:pt x="186" y="168"/>
                  </a:lnTo>
                  <a:lnTo>
                    <a:pt x="198" y="162"/>
                  </a:lnTo>
                  <a:lnTo>
                    <a:pt x="198" y="156"/>
                  </a:lnTo>
                  <a:lnTo>
                    <a:pt x="192" y="150"/>
                  </a:lnTo>
                  <a:lnTo>
                    <a:pt x="192" y="144"/>
                  </a:lnTo>
                  <a:lnTo>
                    <a:pt x="186" y="120"/>
                  </a:lnTo>
                  <a:lnTo>
                    <a:pt x="192" y="120"/>
                  </a:lnTo>
                  <a:lnTo>
                    <a:pt x="198" y="126"/>
                  </a:lnTo>
                  <a:lnTo>
                    <a:pt x="222" y="126"/>
                  </a:lnTo>
                  <a:lnTo>
                    <a:pt x="222" y="120"/>
                  </a:lnTo>
                  <a:lnTo>
                    <a:pt x="228" y="114"/>
                  </a:lnTo>
                  <a:lnTo>
                    <a:pt x="234" y="114"/>
                  </a:lnTo>
                  <a:lnTo>
                    <a:pt x="240" y="102"/>
                  </a:lnTo>
                  <a:lnTo>
                    <a:pt x="246" y="96"/>
                  </a:lnTo>
                  <a:lnTo>
                    <a:pt x="252" y="96"/>
                  </a:lnTo>
                  <a:lnTo>
                    <a:pt x="252" y="90"/>
                  </a:lnTo>
                  <a:lnTo>
                    <a:pt x="240" y="78"/>
                  </a:lnTo>
                  <a:lnTo>
                    <a:pt x="234" y="78"/>
                  </a:lnTo>
                  <a:lnTo>
                    <a:pt x="228" y="72"/>
                  </a:lnTo>
                  <a:lnTo>
                    <a:pt x="228" y="66"/>
                  </a:lnTo>
                  <a:lnTo>
                    <a:pt x="234" y="66"/>
                  </a:lnTo>
                  <a:lnTo>
                    <a:pt x="246" y="60"/>
                  </a:lnTo>
                  <a:lnTo>
                    <a:pt x="258" y="60"/>
                  </a:lnTo>
                  <a:lnTo>
                    <a:pt x="252" y="54"/>
                  </a:lnTo>
                  <a:lnTo>
                    <a:pt x="252" y="36"/>
                  </a:lnTo>
                  <a:lnTo>
                    <a:pt x="258" y="36"/>
                  </a:lnTo>
                  <a:lnTo>
                    <a:pt x="270" y="30"/>
                  </a:lnTo>
                  <a:lnTo>
                    <a:pt x="264" y="18"/>
                  </a:lnTo>
                  <a:lnTo>
                    <a:pt x="270" y="12"/>
                  </a:lnTo>
                  <a:lnTo>
                    <a:pt x="264" y="12"/>
                  </a:lnTo>
                  <a:lnTo>
                    <a:pt x="252" y="6"/>
                  </a:lnTo>
                  <a:lnTo>
                    <a:pt x="246" y="6"/>
                  </a:lnTo>
                  <a:lnTo>
                    <a:pt x="234" y="0"/>
                  </a:lnTo>
                  <a:lnTo>
                    <a:pt x="180" y="0"/>
                  </a:lnTo>
                  <a:lnTo>
                    <a:pt x="168" y="12"/>
                  </a:lnTo>
                  <a:lnTo>
                    <a:pt x="156" y="18"/>
                  </a:lnTo>
                  <a:lnTo>
                    <a:pt x="156" y="30"/>
                  </a:lnTo>
                  <a:lnTo>
                    <a:pt x="162" y="36"/>
                  </a:lnTo>
                  <a:lnTo>
                    <a:pt x="162" y="54"/>
                  </a:lnTo>
                  <a:lnTo>
                    <a:pt x="168" y="60"/>
                  </a:lnTo>
                  <a:lnTo>
                    <a:pt x="174" y="60"/>
                  </a:lnTo>
                  <a:lnTo>
                    <a:pt x="180" y="66"/>
                  </a:lnTo>
                  <a:lnTo>
                    <a:pt x="180" y="78"/>
                  </a:lnTo>
                  <a:lnTo>
                    <a:pt x="168" y="84"/>
                  </a:lnTo>
                  <a:lnTo>
                    <a:pt x="162" y="90"/>
                  </a:lnTo>
                  <a:lnTo>
                    <a:pt x="144" y="90"/>
                  </a:lnTo>
                  <a:lnTo>
                    <a:pt x="138" y="84"/>
                  </a:lnTo>
                  <a:lnTo>
                    <a:pt x="138" y="66"/>
                  </a:lnTo>
                  <a:lnTo>
                    <a:pt x="150" y="54"/>
                  </a:lnTo>
                  <a:lnTo>
                    <a:pt x="150" y="36"/>
                  </a:lnTo>
                  <a:lnTo>
                    <a:pt x="144" y="30"/>
                  </a:lnTo>
                  <a:lnTo>
                    <a:pt x="144" y="24"/>
                  </a:lnTo>
                  <a:lnTo>
                    <a:pt x="132" y="36"/>
                  </a:lnTo>
                  <a:lnTo>
                    <a:pt x="120" y="42"/>
                  </a:lnTo>
                  <a:lnTo>
                    <a:pt x="114" y="48"/>
                  </a:lnTo>
                  <a:lnTo>
                    <a:pt x="102" y="54"/>
                  </a:lnTo>
                  <a:lnTo>
                    <a:pt x="96" y="66"/>
                  </a:lnTo>
                  <a:lnTo>
                    <a:pt x="96" y="84"/>
                  </a:lnTo>
                  <a:lnTo>
                    <a:pt x="90" y="90"/>
                  </a:lnTo>
                  <a:lnTo>
                    <a:pt x="90" y="102"/>
                  </a:lnTo>
                  <a:lnTo>
                    <a:pt x="60" y="132"/>
                  </a:lnTo>
                  <a:lnTo>
                    <a:pt x="72" y="144"/>
                  </a:lnTo>
                  <a:lnTo>
                    <a:pt x="42" y="144"/>
                  </a:lnTo>
                  <a:lnTo>
                    <a:pt x="18" y="156"/>
                  </a:lnTo>
                  <a:close/>
                </a:path>
              </a:pathLst>
            </a:custGeom>
            <a:solidFill>
              <a:srgbClr val="005995"/>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03" name="Nepal" descr="© INSCALE GmbH, 05.05.2010&#10;http://www.presentationload.com/"/>
            <p:cNvSpPr>
              <a:spLocks/>
            </p:cNvSpPr>
            <p:nvPr/>
          </p:nvSpPr>
          <p:spPr bwMode="gray">
            <a:xfrm>
              <a:off x="6435730" y="3089275"/>
              <a:ext cx="236538" cy="133351"/>
            </a:xfrm>
            <a:custGeom>
              <a:avLst/>
              <a:gdLst>
                <a:gd name="T0" fmla="*/ 2147483647 w 588"/>
                <a:gd name="T1" fmla="*/ 2147483647 h 330"/>
                <a:gd name="T2" fmla="*/ 2147483647 w 588"/>
                <a:gd name="T3" fmla="*/ 2147483647 h 330"/>
                <a:gd name="T4" fmla="*/ 2147483647 w 588"/>
                <a:gd name="T5" fmla="*/ 2147483647 h 330"/>
                <a:gd name="T6" fmla="*/ 2147483647 w 588"/>
                <a:gd name="T7" fmla="*/ 2147483647 h 330"/>
                <a:gd name="T8" fmla="*/ 2147483647 w 588"/>
                <a:gd name="T9" fmla="*/ 2147483647 h 330"/>
                <a:gd name="T10" fmla="*/ 2147483647 w 588"/>
                <a:gd name="T11" fmla="*/ 2147483647 h 330"/>
                <a:gd name="T12" fmla="*/ 2147483647 w 588"/>
                <a:gd name="T13" fmla="*/ 2147483647 h 330"/>
                <a:gd name="T14" fmla="*/ 2147483647 w 588"/>
                <a:gd name="T15" fmla="*/ 2147483647 h 330"/>
                <a:gd name="T16" fmla="*/ 2147483647 w 588"/>
                <a:gd name="T17" fmla="*/ 2147483647 h 330"/>
                <a:gd name="T18" fmla="*/ 2147483647 w 588"/>
                <a:gd name="T19" fmla="*/ 2147483647 h 330"/>
                <a:gd name="T20" fmla="*/ 2147483647 w 588"/>
                <a:gd name="T21" fmla="*/ 2147483647 h 330"/>
                <a:gd name="T22" fmla="*/ 2147483647 w 588"/>
                <a:gd name="T23" fmla="*/ 2147483647 h 330"/>
                <a:gd name="T24" fmla="*/ 2147483647 w 588"/>
                <a:gd name="T25" fmla="*/ 2147483647 h 330"/>
                <a:gd name="T26" fmla="*/ 2147483647 w 588"/>
                <a:gd name="T27" fmla="*/ 2147483647 h 330"/>
                <a:gd name="T28" fmla="*/ 2147483647 w 588"/>
                <a:gd name="T29" fmla="*/ 2147483647 h 330"/>
                <a:gd name="T30" fmla="*/ 2147483647 w 588"/>
                <a:gd name="T31" fmla="*/ 2147483647 h 330"/>
                <a:gd name="T32" fmla="*/ 2147483647 w 588"/>
                <a:gd name="T33" fmla="*/ 2147483647 h 330"/>
                <a:gd name="T34" fmla="*/ 2147483647 w 588"/>
                <a:gd name="T35" fmla="*/ 2147483647 h 330"/>
                <a:gd name="T36" fmla="*/ 2147483647 w 588"/>
                <a:gd name="T37" fmla="*/ 2147483647 h 330"/>
                <a:gd name="T38" fmla="*/ 2147483647 w 588"/>
                <a:gd name="T39" fmla="*/ 2147483647 h 330"/>
                <a:gd name="T40" fmla="*/ 2147483647 w 588"/>
                <a:gd name="T41" fmla="*/ 2147483647 h 330"/>
                <a:gd name="T42" fmla="*/ 2147483647 w 588"/>
                <a:gd name="T43" fmla="*/ 2147483647 h 330"/>
                <a:gd name="T44" fmla="*/ 2147483647 w 588"/>
                <a:gd name="T45" fmla="*/ 2147483647 h 330"/>
                <a:gd name="T46" fmla="*/ 2147483647 w 588"/>
                <a:gd name="T47" fmla="*/ 2147483647 h 330"/>
                <a:gd name="T48" fmla="*/ 2147483647 w 588"/>
                <a:gd name="T49" fmla="*/ 2147483647 h 330"/>
                <a:gd name="T50" fmla="*/ 2147483647 w 588"/>
                <a:gd name="T51" fmla="*/ 2147483647 h 330"/>
                <a:gd name="T52" fmla="*/ 2147483647 w 588"/>
                <a:gd name="T53" fmla="*/ 2147483647 h 330"/>
                <a:gd name="T54" fmla="*/ 2147483647 w 588"/>
                <a:gd name="T55" fmla="*/ 2147483647 h 330"/>
                <a:gd name="T56" fmla="*/ 2147483647 w 588"/>
                <a:gd name="T57" fmla="*/ 2147483647 h 330"/>
                <a:gd name="T58" fmla="*/ 2147483647 w 588"/>
                <a:gd name="T59" fmla="*/ 2147483647 h 330"/>
                <a:gd name="T60" fmla="*/ 2147483647 w 588"/>
                <a:gd name="T61" fmla="*/ 2147483647 h 330"/>
                <a:gd name="T62" fmla="*/ 2147483647 w 588"/>
                <a:gd name="T63" fmla="*/ 2147483647 h 330"/>
                <a:gd name="T64" fmla="*/ 2147483647 w 588"/>
                <a:gd name="T65" fmla="*/ 2147483647 h 330"/>
                <a:gd name="T66" fmla="*/ 2147483647 w 588"/>
                <a:gd name="T67" fmla="*/ 2147483647 h 330"/>
                <a:gd name="T68" fmla="*/ 2147483647 w 588"/>
                <a:gd name="T69" fmla="*/ 2147483647 h 330"/>
                <a:gd name="T70" fmla="*/ 2147483647 w 588"/>
                <a:gd name="T71" fmla="*/ 0 h 330"/>
                <a:gd name="T72" fmla="*/ 2147483647 w 588"/>
                <a:gd name="T73" fmla="*/ 2147483647 h 330"/>
                <a:gd name="T74" fmla="*/ 2147483647 w 588"/>
                <a:gd name="T75" fmla="*/ 2147483647 h 330"/>
                <a:gd name="T76" fmla="*/ 2147483647 w 588"/>
                <a:gd name="T77" fmla="*/ 2147483647 h 330"/>
                <a:gd name="T78" fmla="*/ 2147483647 w 588"/>
                <a:gd name="T79" fmla="*/ 2147483647 h 330"/>
                <a:gd name="T80" fmla="*/ 2147483647 w 588"/>
                <a:gd name="T81" fmla="*/ 2147483647 h 330"/>
                <a:gd name="T82" fmla="*/ 2147483647 w 588"/>
                <a:gd name="T83" fmla="*/ 2147483647 h 330"/>
                <a:gd name="T84" fmla="*/ 0 w 588"/>
                <a:gd name="T85" fmla="*/ 2147483647 h 330"/>
                <a:gd name="T86" fmla="*/ 2147483647 w 588"/>
                <a:gd name="T87" fmla="*/ 2147483647 h 330"/>
                <a:gd name="T88" fmla="*/ 2147483647 w 588"/>
                <a:gd name="T89" fmla="*/ 2147483647 h 330"/>
                <a:gd name="T90" fmla="*/ 2147483647 w 588"/>
                <a:gd name="T91" fmla="*/ 2147483647 h 330"/>
                <a:gd name="T92" fmla="*/ 2147483647 w 588"/>
                <a:gd name="T93" fmla="*/ 2147483647 h 330"/>
                <a:gd name="T94" fmla="*/ 2147483647 w 588"/>
                <a:gd name="T95" fmla="*/ 2147483647 h 330"/>
                <a:gd name="T96" fmla="*/ 2147483647 w 588"/>
                <a:gd name="T97" fmla="*/ 2147483647 h 330"/>
                <a:gd name="T98" fmla="*/ 2147483647 w 588"/>
                <a:gd name="T99" fmla="*/ 2147483647 h 330"/>
                <a:gd name="T100" fmla="*/ 2147483647 w 588"/>
                <a:gd name="T101" fmla="*/ 2147483647 h 330"/>
                <a:gd name="T102" fmla="*/ 2147483647 w 588"/>
                <a:gd name="T103" fmla="*/ 2147483647 h 330"/>
                <a:gd name="T104" fmla="*/ 2147483647 w 588"/>
                <a:gd name="T105" fmla="*/ 2147483647 h 330"/>
                <a:gd name="T106" fmla="*/ 2147483647 w 588"/>
                <a:gd name="T107" fmla="*/ 2147483647 h 330"/>
                <a:gd name="T108" fmla="*/ 2147483647 w 588"/>
                <a:gd name="T109" fmla="*/ 2147483647 h 3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88"/>
                <a:gd name="T166" fmla="*/ 0 h 330"/>
                <a:gd name="T167" fmla="*/ 588 w 588"/>
                <a:gd name="T168" fmla="*/ 330 h 3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88" h="330">
                  <a:moveTo>
                    <a:pt x="294" y="234"/>
                  </a:moveTo>
                  <a:lnTo>
                    <a:pt x="306" y="246"/>
                  </a:lnTo>
                  <a:lnTo>
                    <a:pt x="306" y="252"/>
                  </a:lnTo>
                  <a:lnTo>
                    <a:pt x="330" y="252"/>
                  </a:lnTo>
                  <a:lnTo>
                    <a:pt x="384" y="306"/>
                  </a:lnTo>
                  <a:lnTo>
                    <a:pt x="402" y="294"/>
                  </a:lnTo>
                  <a:lnTo>
                    <a:pt x="432" y="312"/>
                  </a:lnTo>
                  <a:lnTo>
                    <a:pt x="438" y="306"/>
                  </a:lnTo>
                  <a:lnTo>
                    <a:pt x="456" y="306"/>
                  </a:lnTo>
                  <a:lnTo>
                    <a:pt x="474" y="312"/>
                  </a:lnTo>
                  <a:lnTo>
                    <a:pt x="486" y="318"/>
                  </a:lnTo>
                  <a:lnTo>
                    <a:pt x="492" y="330"/>
                  </a:lnTo>
                  <a:lnTo>
                    <a:pt x="498" y="318"/>
                  </a:lnTo>
                  <a:lnTo>
                    <a:pt x="510" y="312"/>
                  </a:lnTo>
                  <a:lnTo>
                    <a:pt x="516" y="312"/>
                  </a:lnTo>
                  <a:lnTo>
                    <a:pt x="522" y="318"/>
                  </a:lnTo>
                  <a:lnTo>
                    <a:pt x="522" y="330"/>
                  </a:lnTo>
                  <a:lnTo>
                    <a:pt x="588" y="330"/>
                  </a:lnTo>
                  <a:lnTo>
                    <a:pt x="588" y="294"/>
                  </a:lnTo>
                  <a:lnTo>
                    <a:pt x="576" y="270"/>
                  </a:lnTo>
                  <a:lnTo>
                    <a:pt x="576" y="222"/>
                  </a:lnTo>
                  <a:lnTo>
                    <a:pt x="564" y="204"/>
                  </a:lnTo>
                  <a:lnTo>
                    <a:pt x="540" y="216"/>
                  </a:lnTo>
                  <a:lnTo>
                    <a:pt x="522" y="216"/>
                  </a:lnTo>
                  <a:lnTo>
                    <a:pt x="498" y="204"/>
                  </a:lnTo>
                  <a:lnTo>
                    <a:pt x="480" y="198"/>
                  </a:lnTo>
                  <a:lnTo>
                    <a:pt x="474" y="192"/>
                  </a:lnTo>
                  <a:lnTo>
                    <a:pt x="462" y="186"/>
                  </a:lnTo>
                  <a:lnTo>
                    <a:pt x="462" y="192"/>
                  </a:lnTo>
                  <a:lnTo>
                    <a:pt x="456" y="198"/>
                  </a:lnTo>
                  <a:lnTo>
                    <a:pt x="438" y="198"/>
                  </a:lnTo>
                  <a:lnTo>
                    <a:pt x="432" y="192"/>
                  </a:lnTo>
                  <a:lnTo>
                    <a:pt x="432" y="180"/>
                  </a:lnTo>
                  <a:lnTo>
                    <a:pt x="432" y="186"/>
                  </a:lnTo>
                  <a:lnTo>
                    <a:pt x="420" y="198"/>
                  </a:lnTo>
                  <a:lnTo>
                    <a:pt x="408" y="198"/>
                  </a:lnTo>
                  <a:lnTo>
                    <a:pt x="402" y="192"/>
                  </a:lnTo>
                  <a:lnTo>
                    <a:pt x="402" y="174"/>
                  </a:lnTo>
                  <a:lnTo>
                    <a:pt x="396" y="174"/>
                  </a:lnTo>
                  <a:lnTo>
                    <a:pt x="390" y="180"/>
                  </a:lnTo>
                  <a:lnTo>
                    <a:pt x="378" y="180"/>
                  </a:lnTo>
                  <a:lnTo>
                    <a:pt x="360" y="174"/>
                  </a:lnTo>
                  <a:lnTo>
                    <a:pt x="354" y="168"/>
                  </a:lnTo>
                  <a:lnTo>
                    <a:pt x="348" y="168"/>
                  </a:lnTo>
                  <a:lnTo>
                    <a:pt x="348" y="162"/>
                  </a:lnTo>
                  <a:lnTo>
                    <a:pt x="354" y="156"/>
                  </a:lnTo>
                  <a:lnTo>
                    <a:pt x="354" y="150"/>
                  </a:lnTo>
                  <a:lnTo>
                    <a:pt x="348" y="144"/>
                  </a:lnTo>
                  <a:lnTo>
                    <a:pt x="342" y="144"/>
                  </a:lnTo>
                  <a:lnTo>
                    <a:pt x="330" y="150"/>
                  </a:lnTo>
                  <a:lnTo>
                    <a:pt x="324" y="156"/>
                  </a:lnTo>
                  <a:lnTo>
                    <a:pt x="312" y="150"/>
                  </a:lnTo>
                  <a:lnTo>
                    <a:pt x="282" y="120"/>
                  </a:lnTo>
                  <a:lnTo>
                    <a:pt x="282" y="102"/>
                  </a:lnTo>
                  <a:lnTo>
                    <a:pt x="276" y="90"/>
                  </a:lnTo>
                  <a:lnTo>
                    <a:pt x="270" y="84"/>
                  </a:lnTo>
                  <a:lnTo>
                    <a:pt x="258" y="84"/>
                  </a:lnTo>
                  <a:lnTo>
                    <a:pt x="252" y="96"/>
                  </a:lnTo>
                  <a:lnTo>
                    <a:pt x="246" y="102"/>
                  </a:lnTo>
                  <a:lnTo>
                    <a:pt x="246" y="108"/>
                  </a:lnTo>
                  <a:lnTo>
                    <a:pt x="234" y="108"/>
                  </a:lnTo>
                  <a:lnTo>
                    <a:pt x="234" y="96"/>
                  </a:lnTo>
                  <a:lnTo>
                    <a:pt x="228" y="90"/>
                  </a:lnTo>
                  <a:lnTo>
                    <a:pt x="222" y="78"/>
                  </a:lnTo>
                  <a:lnTo>
                    <a:pt x="216" y="72"/>
                  </a:lnTo>
                  <a:lnTo>
                    <a:pt x="210" y="60"/>
                  </a:lnTo>
                  <a:lnTo>
                    <a:pt x="168" y="54"/>
                  </a:lnTo>
                  <a:lnTo>
                    <a:pt x="150" y="36"/>
                  </a:lnTo>
                  <a:lnTo>
                    <a:pt x="138" y="30"/>
                  </a:lnTo>
                  <a:lnTo>
                    <a:pt x="132" y="18"/>
                  </a:lnTo>
                  <a:lnTo>
                    <a:pt x="120" y="6"/>
                  </a:lnTo>
                  <a:lnTo>
                    <a:pt x="108" y="0"/>
                  </a:lnTo>
                  <a:lnTo>
                    <a:pt x="96" y="0"/>
                  </a:lnTo>
                  <a:lnTo>
                    <a:pt x="84" y="6"/>
                  </a:lnTo>
                  <a:lnTo>
                    <a:pt x="78" y="12"/>
                  </a:lnTo>
                  <a:lnTo>
                    <a:pt x="54" y="30"/>
                  </a:lnTo>
                  <a:lnTo>
                    <a:pt x="36" y="12"/>
                  </a:lnTo>
                  <a:lnTo>
                    <a:pt x="30" y="36"/>
                  </a:lnTo>
                  <a:lnTo>
                    <a:pt x="6" y="60"/>
                  </a:lnTo>
                  <a:lnTo>
                    <a:pt x="12" y="72"/>
                  </a:lnTo>
                  <a:lnTo>
                    <a:pt x="6" y="78"/>
                  </a:lnTo>
                  <a:lnTo>
                    <a:pt x="6" y="84"/>
                  </a:lnTo>
                  <a:lnTo>
                    <a:pt x="18" y="96"/>
                  </a:lnTo>
                  <a:lnTo>
                    <a:pt x="12" y="96"/>
                  </a:lnTo>
                  <a:lnTo>
                    <a:pt x="0" y="108"/>
                  </a:lnTo>
                  <a:lnTo>
                    <a:pt x="0" y="120"/>
                  </a:lnTo>
                  <a:lnTo>
                    <a:pt x="30" y="150"/>
                  </a:lnTo>
                  <a:lnTo>
                    <a:pt x="42" y="144"/>
                  </a:lnTo>
                  <a:lnTo>
                    <a:pt x="60" y="168"/>
                  </a:lnTo>
                  <a:lnTo>
                    <a:pt x="84" y="168"/>
                  </a:lnTo>
                  <a:lnTo>
                    <a:pt x="96" y="186"/>
                  </a:lnTo>
                  <a:lnTo>
                    <a:pt x="138" y="204"/>
                  </a:lnTo>
                  <a:lnTo>
                    <a:pt x="150" y="204"/>
                  </a:lnTo>
                  <a:lnTo>
                    <a:pt x="156" y="210"/>
                  </a:lnTo>
                  <a:lnTo>
                    <a:pt x="162" y="222"/>
                  </a:lnTo>
                  <a:lnTo>
                    <a:pt x="168" y="228"/>
                  </a:lnTo>
                  <a:lnTo>
                    <a:pt x="186" y="228"/>
                  </a:lnTo>
                  <a:lnTo>
                    <a:pt x="192" y="222"/>
                  </a:lnTo>
                  <a:lnTo>
                    <a:pt x="204" y="222"/>
                  </a:lnTo>
                  <a:lnTo>
                    <a:pt x="204" y="234"/>
                  </a:lnTo>
                  <a:lnTo>
                    <a:pt x="210" y="240"/>
                  </a:lnTo>
                  <a:lnTo>
                    <a:pt x="234" y="240"/>
                  </a:lnTo>
                  <a:lnTo>
                    <a:pt x="240" y="246"/>
                  </a:lnTo>
                  <a:lnTo>
                    <a:pt x="246" y="258"/>
                  </a:lnTo>
                  <a:lnTo>
                    <a:pt x="258" y="246"/>
                  </a:lnTo>
                  <a:lnTo>
                    <a:pt x="276" y="246"/>
                  </a:lnTo>
                  <a:lnTo>
                    <a:pt x="282" y="252"/>
                  </a:lnTo>
                  <a:lnTo>
                    <a:pt x="282" y="258"/>
                  </a:lnTo>
                  <a:lnTo>
                    <a:pt x="282" y="240"/>
                  </a:lnTo>
                  <a:lnTo>
                    <a:pt x="288" y="234"/>
                  </a:lnTo>
                  <a:lnTo>
                    <a:pt x="294" y="234"/>
                  </a:lnTo>
                  <a:close/>
                </a:path>
              </a:pathLst>
            </a:custGeom>
            <a:solidFill>
              <a:srgbClr val="FFC000"/>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04" name="Namibia" descr="© INSCALE GmbH, 05.05.2010&#10;http://www.presentationload.com/"/>
            <p:cNvSpPr>
              <a:spLocks/>
            </p:cNvSpPr>
            <p:nvPr/>
          </p:nvSpPr>
          <p:spPr bwMode="gray">
            <a:xfrm>
              <a:off x="4546604" y="4627561"/>
              <a:ext cx="384175" cy="392113"/>
            </a:xfrm>
            <a:custGeom>
              <a:avLst/>
              <a:gdLst>
                <a:gd name="T0" fmla="*/ 2147483647 w 954"/>
                <a:gd name="T1" fmla="*/ 2147483647 h 972"/>
                <a:gd name="T2" fmla="*/ 2147483647 w 954"/>
                <a:gd name="T3" fmla="*/ 2147483647 h 972"/>
                <a:gd name="T4" fmla="*/ 2147483647 w 954"/>
                <a:gd name="T5" fmla="*/ 2147483647 h 972"/>
                <a:gd name="T6" fmla="*/ 2147483647 w 954"/>
                <a:gd name="T7" fmla="*/ 2147483647 h 972"/>
                <a:gd name="T8" fmla="*/ 2147483647 w 954"/>
                <a:gd name="T9" fmla="*/ 2147483647 h 972"/>
                <a:gd name="T10" fmla="*/ 2147483647 w 954"/>
                <a:gd name="T11" fmla="*/ 2147483647 h 972"/>
                <a:gd name="T12" fmla="*/ 2147483647 w 954"/>
                <a:gd name="T13" fmla="*/ 2147483647 h 972"/>
                <a:gd name="T14" fmla="*/ 2147483647 w 954"/>
                <a:gd name="T15" fmla="*/ 2147483647 h 972"/>
                <a:gd name="T16" fmla="*/ 2147483647 w 954"/>
                <a:gd name="T17" fmla="*/ 2147483647 h 972"/>
                <a:gd name="T18" fmla="*/ 2147483647 w 954"/>
                <a:gd name="T19" fmla="*/ 2147483647 h 972"/>
                <a:gd name="T20" fmla="*/ 2147483647 w 954"/>
                <a:gd name="T21" fmla="*/ 2147483647 h 972"/>
                <a:gd name="T22" fmla="*/ 2147483647 w 954"/>
                <a:gd name="T23" fmla="*/ 2147483647 h 972"/>
                <a:gd name="T24" fmla="*/ 2147483647 w 954"/>
                <a:gd name="T25" fmla="*/ 2147483647 h 972"/>
                <a:gd name="T26" fmla="*/ 2147483647 w 954"/>
                <a:gd name="T27" fmla="*/ 2147483647 h 972"/>
                <a:gd name="T28" fmla="*/ 2147483647 w 954"/>
                <a:gd name="T29" fmla="*/ 2147483647 h 972"/>
                <a:gd name="T30" fmla="*/ 2147483647 w 954"/>
                <a:gd name="T31" fmla="*/ 2147483647 h 972"/>
                <a:gd name="T32" fmla="*/ 2147483647 w 954"/>
                <a:gd name="T33" fmla="*/ 2147483647 h 972"/>
                <a:gd name="T34" fmla="*/ 2147483647 w 954"/>
                <a:gd name="T35" fmla="*/ 2147483647 h 972"/>
                <a:gd name="T36" fmla="*/ 2147483647 w 954"/>
                <a:gd name="T37" fmla="*/ 2147483647 h 972"/>
                <a:gd name="T38" fmla="*/ 2147483647 w 954"/>
                <a:gd name="T39" fmla="*/ 2147483647 h 972"/>
                <a:gd name="T40" fmla="*/ 2147483647 w 954"/>
                <a:gd name="T41" fmla="*/ 2147483647 h 972"/>
                <a:gd name="T42" fmla="*/ 2147483647 w 954"/>
                <a:gd name="T43" fmla="*/ 2147483647 h 972"/>
                <a:gd name="T44" fmla="*/ 2147483647 w 954"/>
                <a:gd name="T45" fmla="*/ 2147483647 h 972"/>
                <a:gd name="T46" fmla="*/ 2147483647 w 954"/>
                <a:gd name="T47" fmla="*/ 2147483647 h 972"/>
                <a:gd name="T48" fmla="*/ 2147483647 w 954"/>
                <a:gd name="T49" fmla="*/ 2147483647 h 972"/>
                <a:gd name="T50" fmla="*/ 2147483647 w 954"/>
                <a:gd name="T51" fmla="*/ 2147483647 h 972"/>
                <a:gd name="T52" fmla="*/ 2147483647 w 954"/>
                <a:gd name="T53" fmla="*/ 2147483647 h 972"/>
                <a:gd name="T54" fmla="*/ 2147483647 w 954"/>
                <a:gd name="T55" fmla="*/ 2147483647 h 972"/>
                <a:gd name="T56" fmla="*/ 2147483647 w 954"/>
                <a:gd name="T57" fmla="*/ 2147483647 h 972"/>
                <a:gd name="T58" fmla="*/ 2147483647 w 954"/>
                <a:gd name="T59" fmla="*/ 2147483647 h 972"/>
                <a:gd name="T60" fmla="*/ 2147483647 w 954"/>
                <a:gd name="T61" fmla="*/ 2147483647 h 972"/>
                <a:gd name="T62" fmla="*/ 2147483647 w 954"/>
                <a:gd name="T63" fmla="*/ 2147483647 h 972"/>
                <a:gd name="T64" fmla="*/ 2147483647 w 954"/>
                <a:gd name="T65" fmla="*/ 2147483647 h 972"/>
                <a:gd name="T66" fmla="*/ 2147483647 w 954"/>
                <a:gd name="T67" fmla="*/ 0 h 972"/>
                <a:gd name="T68" fmla="*/ 2147483647 w 954"/>
                <a:gd name="T69" fmla="*/ 2147483647 h 972"/>
                <a:gd name="T70" fmla="*/ 2147483647 w 954"/>
                <a:gd name="T71" fmla="*/ 2147483647 h 972"/>
                <a:gd name="T72" fmla="*/ 0 w 954"/>
                <a:gd name="T73" fmla="*/ 2147483647 h 972"/>
                <a:gd name="T74" fmla="*/ 2147483647 w 954"/>
                <a:gd name="T75" fmla="*/ 2147483647 h 972"/>
                <a:gd name="T76" fmla="*/ 2147483647 w 954"/>
                <a:gd name="T77" fmla="*/ 2147483647 h 972"/>
                <a:gd name="T78" fmla="*/ 2147483647 w 954"/>
                <a:gd name="T79" fmla="*/ 2147483647 h 972"/>
                <a:gd name="T80" fmla="*/ 2147483647 w 954"/>
                <a:gd name="T81" fmla="*/ 2147483647 h 972"/>
                <a:gd name="T82" fmla="*/ 2147483647 w 954"/>
                <a:gd name="T83" fmla="*/ 2147483647 h 972"/>
                <a:gd name="T84" fmla="*/ 2147483647 w 954"/>
                <a:gd name="T85" fmla="*/ 2147483647 h 972"/>
                <a:gd name="T86" fmla="*/ 2147483647 w 954"/>
                <a:gd name="T87" fmla="*/ 2147483647 h 972"/>
                <a:gd name="T88" fmla="*/ 2147483647 w 954"/>
                <a:gd name="T89" fmla="*/ 2147483647 h 972"/>
                <a:gd name="T90" fmla="*/ 2147483647 w 954"/>
                <a:gd name="T91" fmla="*/ 2147483647 h 972"/>
                <a:gd name="T92" fmla="*/ 2147483647 w 954"/>
                <a:gd name="T93" fmla="*/ 2147483647 h 972"/>
                <a:gd name="T94" fmla="*/ 2147483647 w 954"/>
                <a:gd name="T95" fmla="*/ 2147483647 h 972"/>
                <a:gd name="T96" fmla="*/ 2147483647 w 954"/>
                <a:gd name="T97" fmla="*/ 2147483647 h 972"/>
                <a:gd name="T98" fmla="*/ 2147483647 w 954"/>
                <a:gd name="T99" fmla="*/ 2147483647 h 972"/>
                <a:gd name="T100" fmla="*/ 2147483647 w 954"/>
                <a:gd name="T101" fmla="*/ 2147483647 h 972"/>
                <a:gd name="T102" fmla="*/ 2147483647 w 954"/>
                <a:gd name="T103" fmla="*/ 2147483647 h 972"/>
                <a:gd name="T104" fmla="*/ 2147483647 w 954"/>
                <a:gd name="T105" fmla="*/ 2147483647 h 972"/>
                <a:gd name="T106" fmla="*/ 2147483647 w 954"/>
                <a:gd name="T107" fmla="*/ 2147483647 h 972"/>
                <a:gd name="T108" fmla="*/ 2147483647 w 954"/>
                <a:gd name="T109" fmla="*/ 2147483647 h 972"/>
                <a:gd name="T110" fmla="*/ 2147483647 w 954"/>
                <a:gd name="T111" fmla="*/ 2147483647 h 972"/>
                <a:gd name="T112" fmla="*/ 2147483647 w 954"/>
                <a:gd name="T113" fmla="*/ 2147483647 h 972"/>
                <a:gd name="T114" fmla="*/ 2147483647 w 954"/>
                <a:gd name="T115" fmla="*/ 2147483647 h 972"/>
                <a:gd name="T116" fmla="*/ 2147483647 w 954"/>
                <a:gd name="T117" fmla="*/ 2147483647 h 972"/>
                <a:gd name="T118" fmla="*/ 2147483647 w 954"/>
                <a:gd name="T119" fmla="*/ 2147483647 h 9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54"/>
                <a:gd name="T181" fmla="*/ 0 h 972"/>
                <a:gd name="T182" fmla="*/ 954 w 954"/>
                <a:gd name="T183" fmla="*/ 972 h 9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54" h="972">
                  <a:moveTo>
                    <a:pt x="366" y="894"/>
                  </a:moveTo>
                  <a:lnTo>
                    <a:pt x="372" y="894"/>
                  </a:lnTo>
                  <a:lnTo>
                    <a:pt x="390" y="912"/>
                  </a:lnTo>
                  <a:lnTo>
                    <a:pt x="390" y="936"/>
                  </a:lnTo>
                  <a:lnTo>
                    <a:pt x="396" y="948"/>
                  </a:lnTo>
                  <a:lnTo>
                    <a:pt x="402" y="954"/>
                  </a:lnTo>
                  <a:lnTo>
                    <a:pt x="426" y="954"/>
                  </a:lnTo>
                  <a:lnTo>
                    <a:pt x="432" y="960"/>
                  </a:lnTo>
                  <a:lnTo>
                    <a:pt x="432" y="966"/>
                  </a:lnTo>
                  <a:lnTo>
                    <a:pt x="438" y="972"/>
                  </a:lnTo>
                  <a:lnTo>
                    <a:pt x="462" y="972"/>
                  </a:lnTo>
                  <a:lnTo>
                    <a:pt x="474" y="960"/>
                  </a:lnTo>
                  <a:lnTo>
                    <a:pt x="486" y="960"/>
                  </a:lnTo>
                  <a:lnTo>
                    <a:pt x="498" y="972"/>
                  </a:lnTo>
                  <a:lnTo>
                    <a:pt x="522" y="972"/>
                  </a:lnTo>
                  <a:lnTo>
                    <a:pt x="522" y="948"/>
                  </a:lnTo>
                  <a:lnTo>
                    <a:pt x="534" y="948"/>
                  </a:lnTo>
                  <a:lnTo>
                    <a:pt x="534" y="942"/>
                  </a:lnTo>
                  <a:lnTo>
                    <a:pt x="540" y="936"/>
                  </a:lnTo>
                  <a:lnTo>
                    <a:pt x="552" y="930"/>
                  </a:lnTo>
                  <a:lnTo>
                    <a:pt x="570" y="930"/>
                  </a:lnTo>
                  <a:lnTo>
                    <a:pt x="582" y="414"/>
                  </a:lnTo>
                  <a:lnTo>
                    <a:pt x="654" y="414"/>
                  </a:lnTo>
                  <a:lnTo>
                    <a:pt x="648" y="288"/>
                  </a:lnTo>
                  <a:lnTo>
                    <a:pt x="654" y="282"/>
                  </a:lnTo>
                  <a:lnTo>
                    <a:pt x="654" y="108"/>
                  </a:lnTo>
                  <a:lnTo>
                    <a:pt x="690" y="108"/>
                  </a:lnTo>
                  <a:lnTo>
                    <a:pt x="708" y="102"/>
                  </a:lnTo>
                  <a:lnTo>
                    <a:pt x="744" y="102"/>
                  </a:lnTo>
                  <a:lnTo>
                    <a:pt x="792" y="90"/>
                  </a:lnTo>
                  <a:lnTo>
                    <a:pt x="804" y="84"/>
                  </a:lnTo>
                  <a:lnTo>
                    <a:pt x="822" y="84"/>
                  </a:lnTo>
                  <a:lnTo>
                    <a:pt x="828" y="90"/>
                  </a:lnTo>
                  <a:lnTo>
                    <a:pt x="828" y="108"/>
                  </a:lnTo>
                  <a:lnTo>
                    <a:pt x="834" y="108"/>
                  </a:lnTo>
                  <a:lnTo>
                    <a:pt x="834" y="126"/>
                  </a:lnTo>
                  <a:lnTo>
                    <a:pt x="840" y="126"/>
                  </a:lnTo>
                  <a:lnTo>
                    <a:pt x="882" y="84"/>
                  </a:lnTo>
                  <a:lnTo>
                    <a:pt x="906" y="84"/>
                  </a:lnTo>
                  <a:lnTo>
                    <a:pt x="918" y="72"/>
                  </a:lnTo>
                  <a:lnTo>
                    <a:pt x="954" y="66"/>
                  </a:lnTo>
                  <a:lnTo>
                    <a:pt x="936" y="48"/>
                  </a:lnTo>
                  <a:lnTo>
                    <a:pt x="906" y="54"/>
                  </a:lnTo>
                  <a:lnTo>
                    <a:pt x="906" y="48"/>
                  </a:lnTo>
                  <a:lnTo>
                    <a:pt x="900" y="42"/>
                  </a:lnTo>
                  <a:lnTo>
                    <a:pt x="882" y="42"/>
                  </a:lnTo>
                  <a:lnTo>
                    <a:pt x="876" y="48"/>
                  </a:lnTo>
                  <a:lnTo>
                    <a:pt x="870" y="48"/>
                  </a:lnTo>
                  <a:lnTo>
                    <a:pt x="846" y="60"/>
                  </a:lnTo>
                  <a:lnTo>
                    <a:pt x="828" y="54"/>
                  </a:lnTo>
                  <a:lnTo>
                    <a:pt x="816" y="60"/>
                  </a:lnTo>
                  <a:lnTo>
                    <a:pt x="780" y="72"/>
                  </a:lnTo>
                  <a:lnTo>
                    <a:pt x="732" y="78"/>
                  </a:lnTo>
                  <a:lnTo>
                    <a:pt x="696" y="84"/>
                  </a:lnTo>
                  <a:lnTo>
                    <a:pt x="624" y="84"/>
                  </a:lnTo>
                  <a:lnTo>
                    <a:pt x="618" y="72"/>
                  </a:lnTo>
                  <a:lnTo>
                    <a:pt x="546" y="78"/>
                  </a:lnTo>
                  <a:lnTo>
                    <a:pt x="540" y="66"/>
                  </a:lnTo>
                  <a:lnTo>
                    <a:pt x="504" y="66"/>
                  </a:lnTo>
                  <a:lnTo>
                    <a:pt x="480" y="42"/>
                  </a:lnTo>
                  <a:lnTo>
                    <a:pt x="480" y="36"/>
                  </a:lnTo>
                  <a:lnTo>
                    <a:pt x="174" y="36"/>
                  </a:lnTo>
                  <a:lnTo>
                    <a:pt x="168" y="30"/>
                  </a:lnTo>
                  <a:lnTo>
                    <a:pt x="156" y="30"/>
                  </a:lnTo>
                  <a:lnTo>
                    <a:pt x="132" y="18"/>
                  </a:lnTo>
                  <a:lnTo>
                    <a:pt x="126" y="6"/>
                  </a:lnTo>
                  <a:lnTo>
                    <a:pt x="120" y="0"/>
                  </a:lnTo>
                  <a:lnTo>
                    <a:pt x="90" y="0"/>
                  </a:lnTo>
                  <a:lnTo>
                    <a:pt x="90" y="6"/>
                  </a:lnTo>
                  <a:lnTo>
                    <a:pt x="72" y="24"/>
                  </a:lnTo>
                  <a:lnTo>
                    <a:pt x="42" y="24"/>
                  </a:lnTo>
                  <a:lnTo>
                    <a:pt x="36" y="18"/>
                  </a:lnTo>
                  <a:lnTo>
                    <a:pt x="18" y="24"/>
                  </a:lnTo>
                  <a:lnTo>
                    <a:pt x="0" y="24"/>
                  </a:lnTo>
                  <a:lnTo>
                    <a:pt x="6" y="96"/>
                  </a:lnTo>
                  <a:lnTo>
                    <a:pt x="12" y="108"/>
                  </a:lnTo>
                  <a:lnTo>
                    <a:pt x="30" y="126"/>
                  </a:lnTo>
                  <a:lnTo>
                    <a:pt x="36" y="138"/>
                  </a:lnTo>
                  <a:lnTo>
                    <a:pt x="54" y="162"/>
                  </a:lnTo>
                  <a:lnTo>
                    <a:pt x="72" y="192"/>
                  </a:lnTo>
                  <a:lnTo>
                    <a:pt x="96" y="228"/>
                  </a:lnTo>
                  <a:lnTo>
                    <a:pt x="102" y="258"/>
                  </a:lnTo>
                  <a:lnTo>
                    <a:pt x="102" y="276"/>
                  </a:lnTo>
                  <a:lnTo>
                    <a:pt x="114" y="294"/>
                  </a:lnTo>
                  <a:lnTo>
                    <a:pt x="120" y="312"/>
                  </a:lnTo>
                  <a:lnTo>
                    <a:pt x="138" y="348"/>
                  </a:lnTo>
                  <a:lnTo>
                    <a:pt x="156" y="366"/>
                  </a:lnTo>
                  <a:lnTo>
                    <a:pt x="156" y="390"/>
                  </a:lnTo>
                  <a:lnTo>
                    <a:pt x="162" y="396"/>
                  </a:lnTo>
                  <a:lnTo>
                    <a:pt x="174" y="402"/>
                  </a:lnTo>
                  <a:lnTo>
                    <a:pt x="180" y="414"/>
                  </a:lnTo>
                  <a:lnTo>
                    <a:pt x="192" y="420"/>
                  </a:lnTo>
                  <a:lnTo>
                    <a:pt x="198" y="432"/>
                  </a:lnTo>
                  <a:lnTo>
                    <a:pt x="198" y="582"/>
                  </a:lnTo>
                  <a:lnTo>
                    <a:pt x="222" y="630"/>
                  </a:lnTo>
                  <a:lnTo>
                    <a:pt x="222" y="678"/>
                  </a:lnTo>
                  <a:lnTo>
                    <a:pt x="216" y="678"/>
                  </a:lnTo>
                  <a:lnTo>
                    <a:pt x="228" y="726"/>
                  </a:lnTo>
                  <a:lnTo>
                    <a:pt x="228" y="762"/>
                  </a:lnTo>
                  <a:lnTo>
                    <a:pt x="240" y="762"/>
                  </a:lnTo>
                  <a:lnTo>
                    <a:pt x="240" y="804"/>
                  </a:lnTo>
                  <a:lnTo>
                    <a:pt x="252" y="810"/>
                  </a:lnTo>
                  <a:lnTo>
                    <a:pt x="258" y="816"/>
                  </a:lnTo>
                  <a:lnTo>
                    <a:pt x="258" y="846"/>
                  </a:lnTo>
                  <a:lnTo>
                    <a:pt x="264" y="858"/>
                  </a:lnTo>
                  <a:lnTo>
                    <a:pt x="270" y="864"/>
                  </a:lnTo>
                  <a:lnTo>
                    <a:pt x="276" y="876"/>
                  </a:lnTo>
                  <a:lnTo>
                    <a:pt x="282" y="894"/>
                  </a:lnTo>
                  <a:lnTo>
                    <a:pt x="282" y="900"/>
                  </a:lnTo>
                  <a:lnTo>
                    <a:pt x="288" y="912"/>
                  </a:lnTo>
                  <a:lnTo>
                    <a:pt x="294" y="918"/>
                  </a:lnTo>
                  <a:lnTo>
                    <a:pt x="318" y="930"/>
                  </a:lnTo>
                  <a:lnTo>
                    <a:pt x="324" y="936"/>
                  </a:lnTo>
                  <a:lnTo>
                    <a:pt x="330" y="936"/>
                  </a:lnTo>
                  <a:lnTo>
                    <a:pt x="330" y="942"/>
                  </a:lnTo>
                  <a:lnTo>
                    <a:pt x="348" y="930"/>
                  </a:lnTo>
                  <a:lnTo>
                    <a:pt x="348" y="924"/>
                  </a:lnTo>
                  <a:lnTo>
                    <a:pt x="354" y="918"/>
                  </a:lnTo>
                  <a:lnTo>
                    <a:pt x="360" y="906"/>
                  </a:lnTo>
                  <a:lnTo>
                    <a:pt x="360" y="900"/>
                  </a:lnTo>
                  <a:lnTo>
                    <a:pt x="366" y="894"/>
                  </a:lnTo>
                  <a:close/>
                </a:path>
              </a:pathLst>
            </a:custGeom>
            <a:solidFill>
              <a:srgbClr val="692864"/>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05" name="Myanmar" descr="© INSCALE GmbH, 05.05.2010&#10;http://www.presentationload.com/"/>
            <p:cNvSpPr>
              <a:spLocks/>
            </p:cNvSpPr>
            <p:nvPr/>
          </p:nvSpPr>
          <p:spPr bwMode="gray">
            <a:xfrm>
              <a:off x="6807207" y="3152776"/>
              <a:ext cx="255587" cy="603251"/>
            </a:xfrm>
            <a:custGeom>
              <a:avLst/>
              <a:gdLst>
                <a:gd name="T0" fmla="*/ 2147483647 w 636"/>
                <a:gd name="T1" fmla="*/ 2147483647 h 1500"/>
                <a:gd name="T2" fmla="*/ 2147483647 w 636"/>
                <a:gd name="T3" fmla="*/ 2147483647 h 1500"/>
                <a:gd name="T4" fmla="*/ 2147483647 w 636"/>
                <a:gd name="T5" fmla="*/ 2147483647 h 1500"/>
                <a:gd name="T6" fmla="*/ 2147483647 w 636"/>
                <a:gd name="T7" fmla="*/ 2147483647 h 1500"/>
                <a:gd name="T8" fmla="*/ 2147483647 w 636"/>
                <a:gd name="T9" fmla="*/ 2147483647 h 1500"/>
                <a:gd name="T10" fmla="*/ 2147483647 w 636"/>
                <a:gd name="T11" fmla="*/ 2147483647 h 1500"/>
                <a:gd name="T12" fmla="*/ 2147483647 w 636"/>
                <a:gd name="T13" fmla="*/ 2147483647 h 1500"/>
                <a:gd name="T14" fmla="*/ 2147483647 w 636"/>
                <a:gd name="T15" fmla="*/ 2147483647 h 1500"/>
                <a:gd name="T16" fmla="*/ 2147483647 w 636"/>
                <a:gd name="T17" fmla="*/ 2147483647 h 1500"/>
                <a:gd name="T18" fmla="*/ 2147483647 w 636"/>
                <a:gd name="T19" fmla="*/ 2147483647 h 1500"/>
                <a:gd name="T20" fmla="*/ 2147483647 w 636"/>
                <a:gd name="T21" fmla="*/ 2147483647 h 1500"/>
                <a:gd name="T22" fmla="*/ 2147483647 w 636"/>
                <a:gd name="T23" fmla="*/ 2147483647 h 1500"/>
                <a:gd name="T24" fmla="*/ 2147483647 w 636"/>
                <a:gd name="T25" fmla="*/ 2147483647 h 1500"/>
                <a:gd name="T26" fmla="*/ 2147483647 w 636"/>
                <a:gd name="T27" fmla="*/ 2147483647 h 1500"/>
                <a:gd name="T28" fmla="*/ 2147483647 w 636"/>
                <a:gd name="T29" fmla="*/ 2147483647 h 1500"/>
                <a:gd name="T30" fmla="*/ 2147483647 w 636"/>
                <a:gd name="T31" fmla="*/ 2147483647 h 1500"/>
                <a:gd name="T32" fmla="*/ 2147483647 w 636"/>
                <a:gd name="T33" fmla="*/ 2147483647 h 1500"/>
                <a:gd name="T34" fmla="*/ 2147483647 w 636"/>
                <a:gd name="T35" fmla="*/ 2147483647 h 1500"/>
                <a:gd name="T36" fmla="*/ 2147483647 w 636"/>
                <a:gd name="T37" fmla="*/ 2147483647 h 1500"/>
                <a:gd name="T38" fmla="*/ 2147483647 w 636"/>
                <a:gd name="T39" fmla="*/ 2147483647 h 1500"/>
                <a:gd name="T40" fmla="*/ 2147483647 w 636"/>
                <a:gd name="T41" fmla="*/ 2147483647 h 1500"/>
                <a:gd name="T42" fmla="*/ 2147483647 w 636"/>
                <a:gd name="T43" fmla="*/ 2147483647 h 1500"/>
                <a:gd name="T44" fmla="*/ 2147483647 w 636"/>
                <a:gd name="T45" fmla="*/ 2147483647 h 1500"/>
                <a:gd name="T46" fmla="*/ 2147483647 w 636"/>
                <a:gd name="T47" fmla="*/ 2147483647 h 1500"/>
                <a:gd name="T48" fmla="*/ 2147483647 w 636"/>
                <a:gd name="T49" fmla="*/ 2147483647 h 1500"/>
                <a:gd name="T50" fmla="*/ 2147483647 w 636"/>
                <a:gd name="T51" fmla="*/ 2147483647 h 1500"/>
                <a:gd name="T52" fmla="*/ 2147483647 w 636"/>
                <a:gd name="T53" fmla="*/ 2147483647 h 1500"/>
                <a:gd name="T54" fmla="*/ 2147483647 w 636"/>
                <a:gd name="T55" fmla="*/ 2147483647 h 1500"/>
                <a:gd name="T56" fmla="*/ 2147483647 w 636"/>
                <a:gd name="T57" fmla="*/ 2147483647 h 1500"/>
                <a:gd name="T58" fmla="*/ 2147483647 w 636"/>
                <a:gd name="T59" fmla="*/ 2147483647 h 1500"/>
                <a:gd name="T60" fmla="*/ 2147483647 w 636"/>
                <a:gd name="T61" fmla="*/ 2147483647 h 1500"/>
                <a:gd name="T62" fmla="*/ 2147483647 w 636"/>
                <a:gd name="T63" fmla="*/ 2147483647 h 1500"/>
                <a:gd name="T64" fmla="*/ 2147483647 w 636"/>
                <a:gd name="T65" fmla="*/ 2147483647 h 1500"/>
                <a:gd name="T66" fmla="*/ 2147483647 w 636"/>
                <a:gd name="T67" fmla="*/ 2147483647 h 1500"/>
                <a:gd name="T68" fmla="*/ 2147483647 w 636"/>
                <a:gd name="T69" fmla="*/ 2147483647 h 1500"/>
                <a:gd name="T70" fmla="*/ 2147483647 w 636"/>
                <a:gd name="T71" fmla="*/ 2147483647 h 1500"/>
                <a:gd name="T72" fmla="*/ 2147483647 w 636"/>
                <a:gd name="T73" fmla="*/ 2147483647 h 1500"/>
                <a:gd name="T74" fmla="*/ 2147483647 w 636"/>
                <a:gd name="T75" fmla="*/ 2147483647 h 1500"/>
                <a:gd name="T76" fmla="*/ 2147483647 w 636"/>
                <a:gd name="T77" fmla="*/ 2147483647 h 1500"/>
                <a:gd name="T78" fmla="*/ 2147483647 w 636"/>
                <a:gd name="T79" fmla="*/ 2147483647 h 1500"/>
                <a:gd name="T80" fmla="*/ 2147483647 w 636"/>
                <a:gd name="T81" fmla="*/ 2147483647 h 1500"/>
                <a:gd name="T82" fmla="*/ 2147483647 w 636"/>
                <a:gd name="T83" fmla="*/ 2147483647 h 1500"/>
                <a:gd name="T84" fmla="*/ 2147483647 w 636"/>
                <a:gd name="T85" fmla="*/ 2147483647 h 1500"/>
                <a:gd name="T86" fmla="*/ 2147483647 w 636"/>
                <a:gd name="T87" fmla="*/ 0 h 1500"/>
                <a:gd name="T88" fmla="*/ 2147483647 w 636"/>
                <a:gd name="T89" fmla="*/ 2147483647 h 1500"/>
                <a:gd name="T90" fmla="*/ 2147483647 w 636"/>
                <a:gd name="T91" fmla="*/ 2147483647 h 1500"/>
                <a:gd name="T92" fmla="*/ 2147483647 w 636"/>
                <a:gd name="T93" fmla="*/ 2147483647 h 1500"/>
                <a:gd name="T94" fmla="*/ 2147483647 w 636"/>
                <a:gd name="T95" fmla="*/ 2147483647 h 1500"/>
                <a:gd name="T96" fmla="*/ 2147483647 w 636"/>
                <a:gd name="T97" fmla="*/ 2147483647 h 1500"/>
                <a:gd name="T98" fmla="*/ 2147483647 w 636"/>
                <a:gd name="T99" fmla="*/ 2147483647 h 1500"/>
                <a:gd name="T100" fmla="*/ 2147483647 w 636"/>
                <a:gd name="T101" fmla="*/ 2147483647 h 1500"/>
                <a:gd name="T102" fmla="*/ 2147483647 w 636"/>
                <a:gd name="T103" fmla="*/ 2147483647 h 1500"/>
                <a:gd name="T104" fmla="*/ 2147483647 w 636"/>
                <a:gd name="T105" fmla="*/ 2147483647 h 1500"/>
                <a:gd name="T106" fmla="*/ 2147483647 w 636"/>
                <a:gd name="T107" fmla="*/ 2147483647 h 1500"/>
                <a:gd name="T108" fmla="*/ 2147483647 w 636"/>
                <a:gd name="T109" fmla="*/ 2147483647 h 15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36"/>
                <a:gd name="T166" fmla="*/ 0 h 1500"/>
                <a:gd name="T167" fmla="*/ 636 w 636"/>
                <a:gd name="T168" fmla="*/ 1500 h 15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36" h="1500">
                  <a:moveTo>
                    <a:pt x="0" y="588"/>
                  </a:moveTo>
                  <a:lnTo>
                    <a:pt x="18" y="588"/>
                  </a:lnTo>
                  <a:lnTo>
                    <a:pt x="12" y="630"/>
                  </a:lnTo>
                  <a:lnTo>
                    <a:pt x="18" y="630"/>
                  </a:lnTo>
                  <a:lnTo>
                    <a:pt x="24" y="636"/>
                  </a:lnTo>
                  <a:lnTo>
                    <a:pt x="42" y="642"/>
                  </a:lnTo>
                  <a:lnTo>
                    <a:pt x="54" y="648"/>
                  </a:lnTo>
                  <a:lnTo>
                    <a:pt x="72" y="666"/>
                  </a:lnTo>
                  <a:lnTo>
                    <a:pt x="84" y="690"/>
                  </a:lnTo>
                  <a:lnTo>
                    <a:pt x="90" y="696"/>
                  </a:lnTo>
                  <a:lnTo>
                    <a:pt x="90" y="702"/>
                  </a:lnTo>
                  <a:lnTo>
                    <a:pt x="126" y="696"/>
                  </a:lnTo>
                  <a:lnTo>
                    <a:pt x="102" y="738"/>
                  </a:lnTo>
                  <a:lnTo>
                    <a:pt x="108" y="738"/>
                  </a:lnTo>
                  <a:lnTo>
                    <a:pt x="114" y="744"/>
                  </a:lnTo>
                  <a:lnTo>
                    <a:pt x="126" y="744"/>
                  </a:lnTo>
                  <a:lnTo>
                    <a:pt x="144" y="750"/>
                  </a:lnTo>
                  <a:lnTo>
                    <a:pt x="156" y="762"/>
                  </a:lnTo>
                  <a:lnTo>
                    <a:pt x="168" y="768"/>
                  </a:lnTo>
                  <a:lnTo>
                    <a:pt x="174" y="780"/>
                  </a:lnTo>
                  <a:lnTo>
                    <a:pt x="186" y="792"/>
                  </a:lnTo>
                  <a:lnTo>
                    <a:pt x="192" y="804"/>
                  </a:lnTo>
                  <a:lnTo>
                    <a:pt x="192" y="822"/>
                  </a:lnTo>
                  <a:lnTo>
                    <a:pt x="198" y="834"/>
                  </a:lnTo>
                  <a:lnTo>
                    <a:pt x="198" y="840"/>
                  </a:lnTo>
                  <a:lnTo>
                    <a:pt x="204" y="846"/>
                  </a:lnTo>
                  <a:lnTo>
                    <a:pt x="210" y="858"/>
                  </a:lnTo>
                  <a:lnTo>
                    <a:pt x="222" y="870"/>
                  </a:lnTo>
                  <a:lnTo>
                    <a:pt x="210" y="888"/>
                  </a:lnTo>
                  <a:lnTo>
                    <a:pt x="216" y="978"/>
                  </a:lnTo>
                  <a:lnTo>
                    <a:pt x="204" y="990"/>
                  </a:lnTo>
                  <a:lnTo>
                    <a:pt x="204" y="1002"/>
                  </a:lnTo>
                  <a:lnTo>
                    <a:pt x="222" y="1020"/>
                  </a:lnTo>
                  <a:lnTo>
                    <a:pt x="234" y="1020"/>
                  </a:lnTo>
                  <a:lnTo>
                    <a:pt x="246" y="1014"/>
                  </a:lnTo>
                  <a:lnTo>
                    <a:pt x="252" y="1008"/>
                  </a:lnTo>
                  <a:lnTo>
                    <a:pt x="258" y="1014"/>
                  </a:lnTo>
                  <a:lnTo>
                    <a:pt x="258" y="1020"/>
                  </a:lnTo>
                  <a:lnTo>
                    <a:pt x="276" y="1020"/>
                  </a:lnTo>
                  <a:lnTo>
                    <a:pt x="282" y="1014"/>
                  </a:lnTo>
                  <a:lnTo>
                    <a:pt x="294" y="1008"/>
                  </a:lnTo>
                  <a:lnTo>
                    <a:pt x="300" y="996"/>
                  </a:lnTo>
                  <a:lnTo>
                    <a:pt x="306" y="990"/>
                  </a:lnTo>
                  <a:lnTo>
                    <a:pt x="312" y="978"/>
                  </a:lnTo>
                  <a:lnTo>
                    <a:pt x="324" y="978"/>
                  </a:lnTo>
                  <a:lnTo>
                    <a:pt x="360" y="960"/>
                  </a:lnTo>
                  <a:lnTo>
                    <a:pt x="366" y="954"/>
                  </a:lnTo>
                  <a:lnTo>
                    <a:pt x="366" y="900"/>
                  </a:lnTo>
                  <a:lnTo>
                    <a:pt x="372" y="894"/>
                  </a:lnTo>
                  <a:lnTo>
                    <a:pt x="378" y="894"/>
                  </a:lnTo>
                  <a:lnTo>
                    <a:pt x="396" y="912"/>
                  </a:lnTo>
                  <a:lnTo>
                    <a:pt x="402" y="924"/>
                  </a:lnTo>
                  <a:lnTo>
                    <a:pt x="402" y="954"/>
                  </a:lnTo>
                  <a:lnTo>
                    <a:pt x="408" y="954"/>
                  </a:lnTo>
                  <a:lnTo>
                    <a:pt x="426" y="972"/>
                  </a:lnTo>
                  <a:lnTo>
                    <a:pt x="432" y="984"/>
                  </a:lnTo>
                  <a:lnTo>
                    <a:pt x="444" y="1014"/>
                  </a:lnTo>
                  <a:lnTo>
                    <a:pt x="450" y="1050"/>
                  </a:lnTo>
                  <a:lnTo>
                    <a:pt x="450" y="1074"/>
                  </a:lnTo>
                  <a:lnTo>
                    <a:pt x="456" y="1092"/>
                  </a:lnTo>
                  <a:lnTo>
                    <a:pt x="456" y="1128"/>
                  </a:lnTo>
                  <a:lnTo>
                    <a:pt x="462" y="1134"/>
                  </a:lnTo>
                  <a:lnTo>
                    <a:pt x="480" y="1170"/>
                  </a:lnTo>
                  <a:lnTo>
                    <a:pt x="486" y="1176"/>
                  </a:lnTo>
                  <a:lnTo>
                    <a:pt x="486" y="1182"/>
                  </a:lnTo>
                  <a:lnTo>
                    <a:pt x="528" y="1272"/>
                  </a:lnTo>
                  <a:lnTo>
                    <a:pt x="540" y="1320"/>
                  </a:lnTo>
                  <a:lnTo>
                    <a:pt x="522" y="1320"/>
                  </a:lnTo>
                  <a:lnTo>
                    <a:pt x="516" y="1326"/>
                  </a:lnTo>
                  <a:lnTo>
                    <a:pt x="516" y="1350"/>
                  </a:lnTo>
                  <a:lnTo>
                    <a:pt x="510" y="1362"/>
                  </a:lnTo>
                  <a:lnTo>
                    <a:pt x="510" y="1374"/>
                  </a:lnTo>
                  <a:lnTo>
                    <a:pt x="552" y="1362"/>
                  </a:lnTo>
                  <a:lnTo>
                    <a:pt x="540" y="1416"/>
                  </a:lnTo>
                  <a:lnTo>
                    <a:pt x="540" y="1428"/>
                  </a:lnTo>
                  <a:lnTo>
                    <a:pt x="534" y="1440"/>
                  </a:lnTo>
                  <a:lnTo>
                    <a:pt x="534" y="1464"/>
                  </a:lnTo>
                  <a:lnTo>
                    <a:pt x="540" y="1482"/>
                  </a:lnTo>
                  <a:lnTo>
                    <a:pt x="540" y="1488"/>
                  </a:lnTo>
                  <a:lnTo>
                    <a:pt x="546" y="1500"/>
                  </a:lnTo>
                  <a:lnTo>
                    <a:pt x="552" y="1488"/>
                  </a:lnTo>
                  <a:lnTo>
                    <a:pt x="558" y="1482"/>
                  </a:lnTo>
                  <a:lnTo>
                    <a:pt x="564" y="1470"/>
                  </a:lnTo>
                  <a:lnTo>
                    <a:pt x="564" y="1458"/>
                  </a:lnTo>
                  <a:lnTo>
                    <a:pt x="558" y="1452"/>
                  </a:lnTo>
                  <a:lnTo>
                    <a:pt x="558" y="1440"/>
                  </a:lnTo>
                  <a:lnTo>
                    <a:pt x="576" y="1422"/>
                  </a:lnTo>
                  <a:lnTo>
                    <a:pt x="594" y="1386"/>
                  </a:lnTo>
                  <a:lnTo>
                    <a:pt x="594" y="1368"/>
                  </a:lnTo>
                  <a:lnTo>
                    <a:pt x="600" y="1356"/>
                  </a:lnTo>
                  <a:lnTo>
                    <a:pt x="600" y="1326"/>
                  </a:lnTo>
                  <a:lnTo>
                    <a:pt x="594" y="1314"/>
                  </a:lnTo>
                  <a:lnTo>
                    <a:pt x="594" y="1290"/>
                  </a:lnTo>
                  <a:lnTo>
                    <a:pt x="570" y="1266"/>
                  </a:lnTo>
                  <a:lnTo>
                    <a:pt x="570" y="1242"/>
                  </a:lnTo>
                  <a:lnTo>
                    <a:pt x="564" y="1224"/>
                  </a:lnTo>
                  <a:lnTo>
                    <a:pt x="564" y="1194"/>
                  </a:lnTo>
                  <a:lnTo>
                    <a:pt x="558" y="1182"/>
                  </a:lnTo>
                  <a:lnTo>
                    <a:pt x="516" y="1140"/>
                  </a:lnTo>
                  <a:lnTo>
                    <a:pt x="510" y="1128"/>
                  </a:lnTo>
                  <a:lnTo>
                    <a:pt x="504" y="1122"/>
                  </a:lnTo>
                  <a:lnTo>
                    <a:pt x="498" y="1110"/>
                  </a:lnTo>
                  <a:lnTo>
                    <a:pt x="492" y="1104"/>
                  </a:lnTo>
                  <a:lnTo>
                    <a:pt x="492" y="1098"/>
                  </a:lnTo>
                  <a:lnTo>
                    <a:pt x="486" y="1092"/>
                  </a:lnTo>
                  <a:lnTo>
                    <a:pt x="504" y="1056"/>
                  </a:lnTo>
                  <a:lnTo>
                    <a:pt x="510" y="1050"/>
                  </a:lnTo>
                  <a:lnTo>
                    <a:pt x="516" y="1038"/>
                  </a:lnTo>
                  <a:lnTo>
                    <a:pt x="516" y="1014"/>
                  </a:lnTo>
                  <a:lnTo>
                    <a:pt x="510" y="1002"/>
                  </a:lnTo>
                  <a:lnTo>
                    <a:pt x="522" y="1002"/>
                  </a:lnTo>
                  <a:lnTo>
                    <a:pt x="528" y="996"/>
                  </a:lnTo>
                  <a:lnTo>
                    <a:pt x="528" y="978"/>
                  </a:lnTo>
                  <a:lnTo>
                    <a:pt x="522" y="972"/>
                  </a:lnTo>
                  <a:lnTo>
                    <a:pt x="516" y="978"/>
                  </a:lnTo>
                  <a:lnTo>
                    <a:pt x="510" y="978"/>
                  </a:lnTo>
                  <a:lnTo>
                    <a:pt x="504" y="972"/>
                  </a:lnTo>
                  <a:lnTo>
                    <a:pt x="498" y="960"/>
                  </a:lnTo>
                  <a:lnTo>
                    <a:pt x="498" y="942"/>
                  </a:lnTo>
                  <a:lnTo>
                    <a:pt x="504" y="942"/>
                  </a:lnTo>
                  <a:lnTo>
                    <a:pt x="504" y="936"/>
                  </a:lnTo>
                  <a:lnTo>
                    <a:pt x="498" y="930"/>
                  </a:lnTo>
                  <a:lnTo>
                    <a:pt x="486" y="924"/>
                  </a:lnTo>
                  <a:lnTo>
                    <a:pt x="474" y="912"/>
                  </a:lnTo>
                  <a:lnTo>
                    <a:pt x="462" y="906"/>
                  </a:lnTo>
                  <a:lnTo>
                    <a:pt x="444" y="888"/>
                  </a:lnTo>
                  <a:lnTo>
                    <a:pt x="438" y="876"/>
                  </a:lnTo>
                  <a:lnTo>
                    <a:pt x="438" y="870"/>
                  </a:lnTo>
                  <a:lnTo>
                    <a:pt x="432" y="870"/>
                  </a:lnTo>
                  <a:lnTo>
                    <a:pt x="438" y="846"/>
                  </a:lnTo>
                  <a:lnTo>
                    <a:pt x="426" y="840"/>
                  </a:lnTo>
                  <a:lnTo>
                    <a:pt x="402" y="816"/>
                  </a:lnTo>
                  <a:lnTo>
                    <a:pt x="402" y="810"/>
                  </a:lnTo>
                  <a:lnTo>
                    <a:pt x="426" y="810"/>
                  </a:lnTo>
                  <a:lnTo>
                    <a:pt x="426" y="792"/>
                  </a:lnTo>
                  <a:lnTo>
                    <a:pt x="408" y="774"/>
                  </a:lnTo>
                  <a:lnTo>
                    <a:pt x="408" y="768"/>
                  </a:lnTo>
                  <a:lnTo>
                    <a:pt x="414" y="762"/>
                  </a:lnTo>
                  <a:lnTo>
                    <a:pt x="420" y="762"/>
                  </a:lnTo>
                  <a:lnTo>
                    <a:pt x="426" y="756"/>
                  </a:lnTo>
                  <a:lnTo>
                    <a:pt x="426" y="708"/>
                  </a:lnTo>
                  <a:lnTo>
                    <a:pt x="456" y="708"/>
                  </a:lnTo>
                  <a:lnTo>
                    <a:pt x="468" y="714"/>
                  </a:lnTo>
                  <a:lnTo>
                    <a:pt x="480" y="714"/>
                  </a:lnTo>
                  <a:lnTo>
                    <a:pt x="486" y="708"/>
                  </a:lnTo>
                  <a:lnTo>
                    <a:pt x="492" y="696"/>
                  </a:lnTo>
                  <a:lnTo>
                    <a:pt x="498" y="690"/>
                  </a:lnTo>
                  <a:lnTo>
                    <a:pt x="498" y="684"/>
                  </a:lnTo>
                  <a:lnTo>
                    <a:pt x="522" y="684"/>
                  </a:lnTo>
                  <a:lnTo>
                    <a:pt x="528" y="660"/>
                  </a:lnTo>
                  <a:lnTo>
                    <a:pt x="534" y="660"/>
                  </a:lnTo>
                  <a:lnTo>
                    <a:pt x="540" y="654"/>
                  </a:lnTo>
                  <a:lnTo>
                    <a:pt x="564" y="654"/>
                  </a:lnTo>
                  <a:lnTo>
                    <a:pt x="564" y="642"/>
                  </a:lnTo>
                  <a:lnTo>
                    <a:pt x="582" y="624"/>
                  </a:lnTo>
                  <a:lnTo>
                    <a:pt x="594" y="624"/>
                  </a:lnTo>
                  <a:lnTo>
                    <a:pt x="600" y="618"/>
                  </a:lnTo>
                  <a:lnTo>
                    <a:pt x="594" y="612"/>
                  </a:lnTo>
                  <a:lnTo>
                    <a:pt x="600" y="600"/>
                  </a:lnTo>
                  <a:lnTo>
                    <a:pt x="600" y="588"/>
                  </a:lnTo>
                  <a:lnTo>
                    <a:pt x="636" y="570"/>
                  </a:lnTo>
                  <a:lnTo>
                    <a:pt x="636" y="552"/>
                  </a:lnTo>
                  <a:lnTo>
                    <a:pt x="630" y="546"/>
                  </a:lnTo>
                  <a:lnTo>
                    <a:pt x="618" y="546"/>
                  </a:lnTo>
                  <a:lnTo>
                    <a:pt x="600" y="564"/>
                  </a:lnTo>
                  <a:lnTo>
                    <a:pt x="600" y="570"/>
                  </a:lnTo>
                  <a:lnTo>
                    <a:pt x="558" y="570"/>
                  </a:lnTo>
                  <a:lnTo>
                    <a:pt x="558" y="552"/>
                  </a:lnTo>
                  <a:lnTo>
                    <a:pt x="546" y="552"/>
                  </a:lnTo>
                  <a:lnTo>
                    <a:pt x="534" y="522"/>
                  </a:lnTo>
                  <a:lnTo>
                    <a:pt x="480" y="516"/>
                  </a:lnTo>
                  <a:lnTo>
                    <a:pt x="486" y="504"/>
                  </a:lnTo>
                  <a:lnTo>
                    <a:pt x="486" y="498"/>
                  </a:lnTo>
                  <a:lnTo>
                    <a:pt x="492" y="492"/>
                  </a:lnTo>
                  <a:lnTo>
                    <a:pt x="492" y="480"/>
                  </a:lnTo>
                  <a:lnTo>
                    <a:pt x="480" y="468"/>
                  </a:lnTo>
                  <a:lnTo>
                    <a:pt x="486" y="462"/>
                  </a:lnTo>
                  <a:lnTo>
                    <a:pt x="498" y="462"/>
                  </a:lnTo>
                  <a:lnTo>
                    <a:pt x="504" y="456"/>
                  </a:lnTo>
                  <a:lnTo>
                    <a:pt x="504" y="450"/>
                  </a:lnTo>
                  <a:lnTo>
                    <a:pt x="498" y="444"/>
                  </a:lnTo>
                  <a:lnTo>
                    <a:pt x="486" y="438"/>
                  </a:lnTo>
                  <a:lnTo>
                    <a:pt x="456" y="438"/>
                  </a:lnTo>
                  <a:lnTo>
                    <a:pt x="444" y="396"/>
                  </a:lnTo>
                  <a:lnTo>
                    <a:pt x="420" y="378"/>
                  </a:lnTo>
                  <a:lnTo>
                    <a:pt x="450" y="354"/>
                  </a:lnTo>
                  <a:lnTo>
                    <a:pt x="390" y="354"/>
                  </a:lnTo>
                  <a:lnTo>
                    <a:pt x="384" y="360"/>
                  </a:lnTo>
                  <a:lnTo>
                    <a:pt x="372" y="360"/>
                  </a:lnTo>
                  <a:lnTo>
                    <a:pt x="366" y="366"/>
                  </a:lnTo>
                  <a:lnTo>
                    <a:pt x="354" y="372"/>
                  </a:lnTo>
                  <a:lnTo>
                    <a:pt x="366" y="354"/>
                  </a:lnTo>
                  <a:lnTo>
                    <a:pt x="360" y="342"/>
                  </a:lnTo>
                  <a:lnTo>
                    <a:pt x="342" y="324"/>
                  </a:lnTo>
                  <a:lnTo>
                    <a:pt x="342" y="306"/>
                  </a:lnTo>
                  <a:lnTo>
                    <a:pt x="354" y="306"/>
                  </a:lnTo>
                  <a:lnTo>
                    <a:pt x="348" y="276"/>
                  </a:lnTo>
                  <a:lnTo>
                    <a:pt x="360" y="276"/>
                  </a:lnTo>
                  <a:lnTo>
                    <a:pt x="366" y="270"/>
                  </a:lnTo>
                  <a:lnTo>
                    <a:pt x="366" y="234"/>
                  </a:lnTo>
                  <a:lnTo>
                    <a:pt x="372" y="240"/>
                  </a:lnTo>
                  <a:lnTo>
                    <a:pt x="384" y="240"/>
                  </a:lnTo>
                  <a:lnTo>
                    <a:pt x="390" y="234"/>
                  </a:lnTo>
                  <a:lnTo>
                    <a:pt x="396" y="222"/>
                  </a:lnTo>
                  <a:lnTo>
                    <a:pt x="396" y="216"/>
                  </a:lnTo>
                  <a:lnTo>
                    <a:pt x="378" y="198"/>
                  </a:lnTo>
                  <a:lnTo>
                    <a:pt x="390" y="198"/>
                  </a:lnTo>
                  <a:lnTo>
                    <a:pt x="396" y="192"/>
                  </a:lnTo>
                  <a:lnTo>
                    <a:pt x="408" y="192"/>
                  </a:lnTo>
                  <a:lnTo>
                    <a:pt x="396" y="132"/>
                  </a:lnTo>
                  <a:lnTo>
                    <a:pt x="384" y="108"/>
                  </a:lnTo>
                  <a:lnTo>
                    <a:pt x="384" y="78"/>
                  </a:lnTo>
                  <a:lnTo>
                    <a:pt x="378" y="72"/>
                  </a:lnTo>
                  <a:lnTo>
                    <a:pt x="342" y="72"/>
                  </a:lnTo>
                  <a:lnTo>
                    <a:pt x="342" y="66"/>
                  </a:lnTo>
                  <a:lnTo>
                    <a:pt x="336" y="60"/>
                  </a:lnTo>
                  <a:lnTo>
                    <a:pt x="318" y="24"/>
                  </a:lnTo>
                  <a:lnTo>
                    <a:pt x="306" y="18"/>
                  </a:lnTo>
                  <a:lnTo>
                    <a:pt x="300" y="6"/>
                  </a:lnTo>
                  <a:lnTo>
                    <a:pt x="294" y="0"/>
                  </a:lnTo>
                  <a:lnTo>
                    <a:pt x="288" y="0"/>
                  </a:lnTo>
                  <a:lnTo>
                    <a:pt x="282" y="18"/>
                  </a:lnTo>
                  <a:lnTo>
                    <a:pt x="282" y="48"/>
                  </a:lnTo>
                  <a:lnTo>
                    <a:pt x="276" y="48"/>
                  </a:lnTo>
                  <a:lnTo>
                    <a:pt x="270" y="54"/>
                  </a:lnTo>
                  <a:lnTo>
                    <a:pt x="258" y="60"/>
                  </a:lnTo>
                  <a:lnTo>
                    <a:pt x="246" y="72"/>
                  </a:lnTo>
                  <a:lnTo>
                    <a:pt x="252" y="84"/>
                  </a:lnTo>
                  <a:lnTo>
                    <a:pt x="258" y="90"/>
                  </a:lnTo>
                  <a:lnTo>
                    <a:pt x="270" y="96"/>
                  </a:lnTo>
                  <a:lnTo>
                    <a:pt x="276" y="102"/>
                  </a:lnTo>
                  <a:lnTo>
                    <a:pt x="276" y="108"/>
                  </a:lnTo>
                  <a:lnTo>
                    <a:pt x="258" y="108"/>
                  </a:lnTo>
                  <a:lnTo>
                    <a:pt x="252" y="102"/>
                  </a:lnTo>
                  <a:lnTo>
                    <a:pt x="216" y="102"/>
                  </a:lnTo>
                  <a:lnTo>
                    <a:pt x="204" y="108"/>
                  </a:lnTo>
                  <a:lnTo>
                    <a:pt x="198" y="108"/>
                  </a:lnTo>
                  <a:lnTo>
                    <a:pt x="198" y="126"/>
                  </a:lnTo>
                  <a:lnTo>
                    <a:pt x="186" y="138"/>
                  </a:lnTo>
                  <a:lnTo>
                    <a:pt x="174" y="144"/>
                  </a:lnTo>
                  <a:lnTo>
                    <a:pt x="162" y="144"/>
                  </a:lnTo>
                  <a:lnTo>
                    <a:pt x="156" y="150"/>
                  </a:lnTo>
                  <a:lnTo>
                    <a:pt x="150" y="150"/>
                  </a:lnTo>
                  <a:lnTo>
                    <a:pt x="150" y="174"/>
                  </a:lnTo>
                  <a:lnTo>
                    <a:pt x="156" y="180"/>
                  </a:lnTo>
                  <a:lnTo>
                    <a:pt x="156" y="186"/>
                  </a:lnTo>
                  <a:lnTo>
                    <a:pt x="162" y="192"/>
                  </a:lnTo>
                  <a:lnTo>
                    <a:pt x="162" y="204"/>
                  </a:lnTo>
                  <a:lnTo>
                    <a:pt x="144" y="234"/>
                  </a:lnTo>
                  <a:lnTo>
                    <a:pt x="138" y="240"/>
                  </a:lnTo>
                  <a:lnTo>
                    <a:pt x="126" y="246"/>
                  </a:lnTo>
                  <a:lnTo>
                    <a:pt x="126" y="264"/>
                  </a:lnTo>
                  <a:lnTo>
                    <a:pt x="132" y="276"/>
                  </a:lnTo>
                  <a:lnTo>
                    <a:pt x="138" y="282"/>
                  </a:lnTo>
                  <a:lnTo>
                    <a:pt x="120" y="336"/>
                  </a:lnTo>
                  <a:lnTo>
                    <a:pt x="120" y="372"/>
                  </a:lnTo>
                  <a:lnTo>
                    <a:pt x="108" y="372"/>
                  </a:lnTo>
                  <a:lnTo>
                    <a:pt x="96" y="366"/>
                  </a:lnTo>
                  <a:lnTo>
                    <a:pt x="42" y="366"/>
                  </a:lnTo>
                  <a:lnTo>
                    <a:pt x="48" y="366"/>
                  </a:lnTo>
                  <a:lnTo>
                    <a:pt x="66" y="384"/>
                  </a:lnTo>
                  <a:lnTo>
                    <a:pt x="72" y="432"/>
                  </a:lnTo>
                  <a:lnTo>
                    <a:pt x="66" y="432"/>
                  </a:lnTo>
                  <a:lnTo>
                    <a:pt x="48" y="450"/>
                  </a:lnTo>
                  <a:lnTo>
                    <a:pt x="54" y="462"/>
                  </a:lnTo>
                  <a:lnTo>
                    <a:pt x="54" y="486"/>
                  </a:lnTo>
                  <a:lnTo>
                    <a:pt x="72" y="504"/>
                  </a:lnTo>
                  <a:lnTo>
                    <a:pt x="72" y="516"/>
                  </a:lnTo>
                  <a:lnTo>
                    <a:pt x="60" y="516"/>
                  </a:lnTo>
                  <a:lnTo>
                    <a:pt x="54" y="510"/>
                  </a:lnTo>
                  <a:lnTo>
                    <a:pt x="48" y="510"/>
                  </a:lnTo>
                  <a:lnTo>
                    <a:pt x="48" y="534"/>
                  </a:lnTo>
                  <a:lnTo>
                    <a:pt x="30" y="516"/>
                  </a:lnTo>
                  <a:lnTo>
                    <a:pt x="42" y="576"/>
                  </a:lnTo>
                  <a:lnTo>
                    <a:pt x="6" y="570"/>
                  </a:lnTo>
                  <a:lnTo>
                    <a:pt x="6" y="576"/>
                  </a:lnTo>
                  <a:lnTo>
                    <a:pt x="0" y="588"/>
                  </a:lnTo>
                  <a:close/>
                </a:path>
              </a:pathLst>
            </a:custGeom>
            <a:solidFill>
              <a:srgbClr val="FFC000"/>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06" name="Mozambique" descr="© INSCALE GmbH, 05.05.2010&#10;http://www.presentationload.com/"/>
            <p:cNvSpPr>
              <a:spLocks/>
            </p:cNvSpPr>
            <p:nvPr/>
          </p:nvSpPr>
          <p:spPr bwMode="gray">
            <a:xfrm>
              <a:off x="5070479" y="4418011"/>
              <a:ext cx="307975" cy="538163"/>
            </a:xfrm>
            <a:custGeom>
              <a:avLst/>
              <a:gdLst>
                <a:gd name="T0" fmla="*/ 2147483647 w 762"/>
                <a:gd name="T1" fmla="*/ 2147483647 h 1338"/>
                <a:gd name="T2" fmla="*/ 2147483647 w 762"/>
                <a:gd name="T3" fmla="*/ 2147483647 h 1338"/>
                <a:gd name="T4" fmla="*/ 2147483647 w 762"/>
                <a:gd name="T5" fmla="*/ 2147483647 h 1338"/>
                <a:gd name="T6" fmla="*/ 2147483647 w 762"/>
                <a:gd name="T7" fmla="*/ 2147483647 h 1338"/>
                <a:gd name="T8" fmla="*/ 2147483647 w 762"/>
                <a:gd name="T9" fmla="*/ 2147483647 h 1338"/>
                <a:gd name="T10" fmla="*/ 2147483647 w 762"/>
                <a:gd name="T11" fmla="*/ 2147483647 h 1338"/>
                <a:gd name="T12" fmla="*/ 2147483647 w 762"/>
                <a:gd name="T13" fmla="*/ 2147483647 h 1338"/>
                <a:gd name="T14" fmla="*/ 2147483647 w 762"/>
                <a:gd name="T15" fmla="*/ 2147483647 h 1338"/>
                <a:gd name="T16" fmla="*/ 2147483647 w 762"/>
                <a:gd name="T17" fmla="*/ 2147483647 h 1338"/>
                <a:gd name="T18" fmla="*/ 2147483647 w 762"/>
                <a:gd name="T19" fmla="*/ 2147483647 h 1338"/>
                <a:gd name="T20" fmla="*/ 2147483647 w 762"/>
                <a:gd name="T21" fmla="*/ 2147483647 h 1338"/>
                <a:gd name="T22" fmla="*/ 2147483647 w 762"/>
                <a:gd name="T23" fmla="*/ 2147483647 h 1338"/>
                <a:gd name="T24" fmla="*/ 2147483647 w 762"/>
                <a:gd name="T25" fmla="*/ 2147483647 h 1338"/>
                <a:gd name="T26" fmla="*/ 2147483647 w 762"/>
                <a:gd name="T27" fmla="*/ 2147483647 h 1338"/>
                <a:gd name="T28" fmla="*/ 2147483647 w 762"/>
                <a:gd name="T29" fmla="*/ 2147483647 h 1338"/>
                <a:gd name="T30" fmla="*/ 2147483647 w 762"/>
                <a:gd name="T31" fmla="*/ 2147483647 h 1338"/>
                <a:gd name="T32" fmla="*/ 2147483647 w 762"/>
                <a:gd name="T33" fmla="*/ 2147483647 h 1338"/>
                <a:gd name="T34" fmla="*/ 2147483647 w 762"/>
                <a:gd name="T35" fmla="*/ 2147483647 h 1338"/>
                <a:gd name="T36" fmla="*/ 2147483647 w 762"/>
                <a:gd name="T37" fmla="*/ 2147483647 h 1338"/>
                <a:gd name="T38" fmla="*/ 2147483647 w 762"/>
                <a:gd name="T39" fmla="*/ 2147483647 h 1338"/>
                <a:gd name="T40" fmla="*/ 2147483647 w 762"/>
                <a:gd name="T41" fmla="*/ 2147483647 h 1338"/>
                <a:gd name="T42" fmla="*/ 2147483647 w 762"/>
                <a:gd name="T43" fmla="*/ 2147483647 h 1338"/>
                <a:gd name="T44" fmla="*/ 2147483647 w 762"/>
                <a:gd name="T45" fmla="*/ 2147483647 h 1338"/>
                <a:gd name="T46" fmla="*/ 2147483647 w 762"/>
                <a:gd name="T47" fmla="*/ 2147483647 h 1338"/>
                <a:gd name="T48" fmla="*/ 2147483647 w 762"/>
                <a:gd name="T49" fmla="*/ 2147483647 h 1338"/>
                <a:gd name="T50" fmla="*/ 2147483647 w 762"/>
                <a:gd name="T51" fmla="*/ 2147483647 h 1338"/>
                <a:gd name="T52" fmla="*/ 2147483647 w 762"/>
                <a:gd name="T53" fmla="*/ 2147483647 h 1338"/>
                <a:gd name="T54" fmla="*/ 2147483647 w 762"/>
                <a:gd name="T55" fmla="*/ 2147483647 h 1338"/>
                <a:gd name="T56" fmla="*/ 0 w 762"/>
                <a:gd name="T57" fmla="*/ 2147483647 h 1338"/>
                <a:gd name="T58" fmla="*/ 2147483647 w 762"/>
                <a:gd name="T59" fmla="*/ 2147483647 h 1338"/>
                <a:gd name="T60" fmla="*/ 2147483647 w 762"/>
                <a:gd name="T61" fmla="*/ 2147483647 h 1338"/>
                <a:gd name="T62" fmla="*/ 2147483647 w 762"/>
                <a:gd name="T63" fmla="*/ 2147483647 h 1338"/>
                <a:gd name="T64" fmla="*/ 2147483647 w 762"/>
                <a:gd name="T65" fmla="*/ 2147483647 h 1338"/>
                <a:gd name="T66" fmla="*/ 2147483647 w 762"/>
                <a:gd name="T67" fmla="*/ 2147483647 h 1338"/>
                <a:gd name="T68" fmla="*/ 2147483647 w 762"/>
                <a:gd name="T69" fmla="*/ 2147483647 h 1338"/>
                <a:gd name="T70" fmla="*/ 2147483647 w 762"/>
                <a:gd name="T71" fmla="*/ 2147483647 h 1338"/>
                <a:gd name="T72" fmla="*/ 2147483647 w 762"/>
                <a:gd name="T73" fmla="*/ 2147483647 h 1338"/>
                <a:gd name="T74" fmla="*/ 2147483647 w 762"/>
                <a:gd name="T75" fmla="*/ 2147483647 h 1338"/>
                <a:gd name="T76" fmla="*/ 2147483647 w 762"/>
                <a:gd name="T77" fmla="*/ 2147483647 h 1338"/>
                <a:gd name="T78" fmla="*/ 2147483647 w 762"/>
                <a:gd name="T79" fmla="*/ 2147483647 h 1338"/>
                <a:gd name="T80" fmla="*/ 2147483647 w 762"/>
                <a:gd name="T81" fmla="*/ 2147483647 h 1338"/>
                <a:gd name="T82" fmla="*/ 2147483647 w 762"/>
                <a:gd name="T83" fmla="*/ 2147483647 h 1338"/>
                <a:gd name="T84" fmla="*/ 2147483647 w 762"/>
                <a:gd name="T85" fmla="*/ 2147483647 h 1338"/>
                <a:gd name="T86" fmla="*/ 2147483647 w 762"/>
                <a:gd name="T87" fmla="*/ 2147483647 h 1338"/>
                <a:gd name="T88" fmla="*/ 2147483647 w 762"/>
                <a:gd name="T89" fmla="*/ 2147483647 h 1338"/>
                <a:gd name="T90" fmla="*/ 2147483647 w 762"/>
                <a:gd name="T91" fmla="*/ 2147483647 h 1338"/>
                <a:gd name="T92" fmla="*/ 2147483647 w 762"/>
                <a:gd name="T93" fmla="*/ 2147483647 h 1338"/>
                <a:gd name="T94" fmla="*/ 2147483647 w 762"/>
                <a:gd name="T95" fmla="*/ 2147483647 h 1338"/>
                <a:gd name="T96" fmla="*/ 2147483647 w 762"/>
                <a:gd name="T97" fmla="*/ 2147483647 h 1338"/>
                <a:gd name="T98" fmla="*/ 2147483647 w 762"/>
                <a:gd name="T99" fmla="*/ 2147483647 h 1338"/>
                <a:gd name="T100" fmla="*/ 2147483647 w 762"/>
                <a:gd name="T101" fmla="*/ 2147483647 h 1338"/>
                <a:gd name="T102" fmla="*/ 2147483647 w 762"/>
                <a:gd name="T103" fmla="*/ 2147483647 h 1338"/>
                <a:gd name="T104" fmla="*/ 2147483647 w 762"/>
                <a:gd name="T105" fmla="*/ 2147483647 h 1338"/>
                <a:gd name="T106" fmla="*/ 2147483647 w 762"/>
                <a:gd name="T107" fmla="*/ 2147483647 h 1338"/>
                <a:gd name="T108" fmla="*/ 2147483647 w 762"/>
                <a:gd name="T109" fmla="*/ 2147483647 h 1338"/>
                <a:gd name="T110" fmla="*/ 2147483647 w 762"/>
                <a:gd name="T111" fmla="*/ 2147483647 h 1338"/>
                <a:gd name="T112" fmla="*/ 2147483647 w 762"/>
                <a:gd name="T113" fmla="*/ 2147483647 h 1338"/>
                <a:gd name="T114" fmla="*/ 2147483647 w 762"/>
                <a:gd name="T115" fmla="*/ 2147483647 h 1338"/>
                <a:gd name="T116" fmla="*/ 2147483647 w 762"/>
                <a:gd name="T117" fmla="*/ 2147483647 h 1338"/>
                <a:gd name="T118" fmla="*/ 2147483647 w 762"/>
                <a:gd name="T119" fmla="*/ 2147483647 h 1338"/>
                <a:gd name="T120" fmla="*/ 2147483647 w 762"/>
                <a:gd name="T121" fmla="*/ 2147483647 h 1338"/>
                <a:gd name="T122" fmla="*/ 2147483647 w 762"/>
                <a:gd name="T123" fmla="*/ 2147483647 h 13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62"/>
                <a:gd name="T187" fmla="*/ 0 h 1338"/>
                <a:gd name="T188" fmla="*/ 762 w 762"/>
                <a:gd name="T189" fmla="*/ 1338 h 133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62" h="1338">
                  <a:moveTo>
                    <a:pt x="762" y="342"/>
                  </a:moveTo>
                  <a:lnTo>
                    <a:pt x="762" y="324"/>
                  </a:lnTo>
                  <a:lnTo>
                    <a:pt x="756" y="318"/>
                  </a:lnTo>
                  <a:lnTo>
                    <a:pt x="744" y="318"/>
                  </a:lnTo>
                  <a:lnTo>
                    <a:pt x="744" y="258"/>
                  </a:lnTo>
                  <a:lnTo>
                    <a:pt x="732" y="246"/>
                  </a:lnTo>
                  <a:lnTo>
                    <a:pt x="750" y="234"/>
                  </a:lnTo>
                  <a:lnTo>
                    <a:pt x="738" y="186"/>
                  </a:lnTo>
                  <a:lnTo>
                    <a:pt x="750" y="156"/>
                  </a:lnTo>
                  <a:lnTo>
                    <a:pt x="738" y="120"/>
                  </a:lnTo>
                  <a:lnTo>
                    <a:pt x="738" y="108"/>
                  </a:lnTo>
                  <a:lnTo>
                    <a:pt x="750" y="72"/>
                  </a:lnTo>
                  <a:lnTo>
                    <a:pt x="756" y="42"/>
                  </a:lnTo>
                  <a:lnTo>
                    <a:pt x="756" y="12"/>
                  </a:lnTo>
                  <a:lnTo>
                    <a:pt x="744" y="0"/>
                  </a:lnTo>
                  <a:lnTo>
                    <a:pt x="666" y="54"/>
                  </a:lnTo>
                  <a:lnTo>
                    <a:pt x="636" y="60"/>
                  </a:lnTo>
                  <a:lnTo>
                    <a:pt x="630" y="60"/>
                  </a:lnTo>
                  <a:lnTo>
                    <a:pt x="618" y="72"/>
                  </a:lnTo>
                  <a:lnTo>
                    <a:pt x="606" y="78"/>
                  </a:lnTo>
                  <a:lnTo>
                    <a:pt x="594" y="78"/>
                  </a:lnTo>
                  <a:lnTo>
                    <a:pt x="594" y="72"/>
                  </a:lnTo>
                  <a:lnTo>
                    <a:pt x="588" y="66"/>
                  </a:lnTo>
                  <a:lnTo>
                    <a:pt x="564" y="66"/>
                  </a:lnTo>
                  <a:lnTo>
                    <a:pt x="558" y="72"/>
                  </a:lnTo>
                  <a:lnTo>
                    <a:pt x="552" y="84"/>
                  </a:lnTo>
                  <a:lnTo>
                    <a:pt x="540" y="90"/>
                  </a:lnTo>
                  <a:lnTo>
                    <a:pt x="528" y="102"/>
                  </a:lnTo>
                  <a:lnTo>
                    <a:pt x="510" y="102"/>
                  </a:lnTo>
                  <a:lnTo>
                    <a:pt x="498" y="96"/>
                  </a:lnTo>
                  <a:lnTo>
                    <a:pt x="492" y="90"/>
                  </a:lnTo>
                  <a:lnTo>
                    <a:pt x="486" y="90"/>
                  </a:lnTo>
                  <a:lnTo>
                    <a:pt x="468" y="108"/>
                  </a:lnTo>
                  <a:lnTo>
                    <a:pt x="456" y="108"/>
                  </a:lnTo>
                  <a:lnTo>
                    <a:pt x="450" y="102"/>
                  </a:lnTo>
                  <a:lnTo>
                    <a:pt x="438" y="96"/>
                  </a:lnTo>
                  <a:lnTo>
                    <a:pt x="432" y="84"/>
                  </a:lnTo>
                  <a:lnTo>
                    <a:pt x="420" y="78"/>
                  </a:lnTo>
                  <a:lnTo>
                    <a:pt x="408" y="78"/>
                  </a:lnTo>
                  <a:lnTo>
                    <a:pt x="396" y="90"/>
                  </a:lnTo>
                  <a:lnTo>
                    <a:pt x="390" y="90"/>
                  </a:lnTo>
                  <a:lnTo>
                    <a:pt x="384" y="96"/>
                  </a:lnTo>
                  <a:lnTo>
                    <a:pt x="354" y="96"/>
                  </a:lnTo>
                  <a:lnTo>
                    <a:pt x="354" y="114"/>
                  </a:lnTo>
                  <a:lnTo>
                    <a:pt x="330" y="138"/>
                  </a:lnTo>
                  <a:lnTo>
                    <a:pt x="330" y="150"/>
                  </a:lnTo>
                  <a:lnTo>
                    <a:pt x="342" y="162"/>
                  </a:lnTo>
                  <a:lnTo>
                    <a:pt x="348" y="174"/>
                  </a:lnTo>
                  <a:lnTo>
                    <a:pt x="348" y="204"/>
                  </a:lnTo>
                  <a:lnTo>
                    <a:pt x="342" y="216"/>
                  </a:lnTo>
                  <a:lnTo>
                    <a:pt x="336" y="234"/>
                  </a:lnTo>
                  <a:lnTo>
                    <a:pt x="336" y="246"/>
                  </a:lnTo>
                  <a:lnTo>
                    <a:pt x="342" y="246"/>
                  </a:lnTo>
                  <a:lnTo>
                    <a:pt x="342" y="252"/>
                  </a:lnTo>
                  <a:lnTo>
                    <a:pt x="348" y="252"/>
                  </a:lnTo>
                  <a:lnTo>
                    <a:pt x="372" y="276"/>
                  </a:lnTo>
                  <a:lnTo>
                    <a:pt x="384" y="300"/>
                  </a:lnTo>
                  <a:lnTo>
                    <a:pt x="390" y="306"/>
                  </a:lnTo>
                  <a:lnTo>
                    <a:pt x="396" y="318"/>
                  </a:lnTo>
                  <a:lnTo>
                    <a:pt x="408" y="336"/>
                  </a:lnTo>
                  <a:lnTo>
                    <a:pt x="420" y="348"/>
                  </a:lnTo>
                  <a:lnTo>
                    <a:pt x="420" y="366"/>
                  </a:lnTo>
                  <a:lnTo>
                    <a:pt x="414" y="372"/>
                  </a:lnTo>
                  <a:lnTo>
                    <a:pt x="408" y="384"/>
                  </a:lnTo>
                  <a:lnTo>
                    <a:pt x="402" y="390"/>
                  </a:lnTo>
                  <a:lnTo>
                    <a:pt x="402" y="450"/>
                  </a:lnTo>
                  <a:lnTo>
                    <a:pt x="396" y="456"/>
                  </a:lnTo>
                  <a:lnTo>
                    <a:pt x="372" y="456"/>
                  </a:lnTo>
                  <a:lnTo>
                    <a:pt x="360" y="462"/>
                  </a:lnTo>
                  <a:lnTo>
                    <a:pt x="354" y="474"/>
                  </a:lnTo>
                  <a:lnTo>
                    <a:pt x="354" y="492"/>
                  </a:lnTo>
                  <a:lnTo>
                    <a:pt x="360" y="492"/>
                  </a:lnTo>
                  <a:lnTo>
                    <a:pt x="366" y="498"/>
                  </a:lnTo>
                  <a:lnTo>
                    <a:pt x="366" y="528"/>
                  </a:lnTo>
                  <a:lnTo>
                    <a:pt x="354" y="534"/>
                  </a:lnTo>
                  <a:lnTo>
                    <a:pt x="348" y="540"/>
                  </a:lnTo>
                  <a:lnTo>
                    <a:pt x="342" y="534"/>
                  </a:lnTo>
                  <a:lnTo>
                    <a:pt x="342" y="522"/>
                  </a:lnTo>
                  <a:lnTo>
                    <a:pt x="348" y="516"/>
                  </a:lnTo>
                  <a:lnTo>
                    <a:pt x="348" y="504"/>
                  </a:lnTo>
                  <a:lnTo>
                    <a:pt x="336" y="498"/>
                  </a:lnTo>
                  <a:lnTo>
                    <a:pt x="330" y="492"/>
                  </a:lnTo>
                  <a:lnTo>
                    <a:pt x="318" y="486"/>
                  </a:lnTo>
                  <a:lnTo>
                    <a:pt x="312" y="480"/>
                  </a:lnTo>
                  <a:lnTo>
                    <a:pt x="300" y="474"/>
                  </a:lnTo>
                  <a:lnTo>
                    <a:pt x="300" y="444"/>
                  </a:lnTo>
                  <a:lnTo>
                    <a:pt x="288" y="444"/>
                  </a:lnTo>
                  <a:lnTo>
                    <a:pt x="288" y="438"/>
                  </a:lnTo>
                  <a:lnTo>
                    <a:pt x="294" y="432"/>
                  </a:lnTo>
                  <a:lnTo>
                    <a:pt x="306" y="426"/>
                  </a:lnTo>
                  <a:lnTo>
                    <a:pt x="312" y="420"/>
                  </a:lnTo>
                  <a:lnTo>
                    <a:pt x="300" y="402"/>
                  </a:lnTo>
                  <a:lnTo>
                    <a:pt x="312" y="396"/>
                  </a:lnTo>
                  <a:lnTo>
                    <a:pt x="318" y="366"/>
                  </a:lnTo>
                  <a:lnTo>
                    <a:pt x="312" y="366"/>
                  </a:lnTo>
                  <a:lnTo>
                    <a:pt x="312" y="330"/>
                  </a:lnTo>
                  <a:lnTo>
                    <a:pt x="306" y="324"/>
                  </a:lnTo>
                  <a:lnTo>
                    <a:pt x="288" y="324"/>
                  </a:lnTo>
                  <a:lnTo>
                    <a:pt x="282" y="330"/>
                  </a:lnTo>
                  <a:lnTo>
                    <a:pt x="252" y="330"/>
                  </a:lnTo>
                  <a:lnTo>
                    <a:pt x="222" y="282"/>
                  </a:lnTo>
                  <a:lnTo>
                    <a:pt x="216" y="282"/>
                  </a:lnTo>
                  <a:lnTo>
                    <a:pt x="210" y="288"/>
                  </a:lnTo>
                  <a:lnTo>
                    <a:pt x="192" y="294"/>
                  </a:lnTo>
                  <a:lnTo>
                    <a:pt x="180" y="300"/>
                  </a:lnTo>
                  <a:lnTo>
                    <a:pt x="162" y="312"/>
                  </a:lnTo>
                  <a:lnTo>
                    <a:pt x="138" y="324"/>
                  </a:lnTo>
                  <a:lnTo>
                    <a:pt x="132" y="324"/>
                  </a:lnTo>
                  <a:lnTo>
                    <a:pt x="120" y="330"/>
                  </a:lnTo>
                  <a:lnTo>
                    <a:pt x="102" y="336"/>
                  </a:lnTo>
                  <a:lnTo>
                    <a:pt x="84" y="336"/>
                  </a:lnTo>
                  <a:lnTo>
                    <a:pt x="72" y="342"/>
                  </a:lnTo>
                  <a:lnTo>
                    <a:pt x="60" y="342"/>
                  </a:lnTo>
                  <a:lnTo>
                    <a:pt x="42" y="360"/>
                  </a:lnTo>
                  <a:lnTo>
                    <a:pt x="12" y="360"/>
                  </a:lnTo>
                  <a:lnTo>
                    <a:pt x="0" y="372"/>
                  </a:lnTo>
                  <a:lnTo>
                    <a:pt x="18" y="390"/>
                  </a:lnTo>
                  <a:lnTo>
                    <a:pt x="24" y="444"/>
                  </a:lnTo>
                  <a:lnTo>
                    <a:pt x="84" y="444"/>
                  </a:lnTo>
                  <a:lnTo>
                    <a:pt x="96" y="462"/>
                  </a:lnTo>
                  <a:lnTo>
                    <a:pt x="114" y="462"/>
                  </a:lnTo>
                  <a:lnTo>
                    <a:pt x="132" y="486"/>
                  </a:lnTo>
                  <a:lnTo>
                    <a:pt x="138" y="486"/>
                  </a:lnTo>
                  <a:lnTo>
                    <a:pt x="150" y="480"/>
                  </a:lnTo>
                  <a:lnTo>
                    <a:pt x="162" y="480"/>
                  </a:lnTo>
                  <a:lnTo>
                    <a:pt x="180" y="498"/>
                  </a:lnTo>
                  <a:lnTo>
                    <a:pt x="192" y="498"/>
                  </a:lnTo>
                  <a:lnTo>
                    <a:pt x="204" y="510"/>
                  </a:lnTo>
                  <a:lnTo>
                    <a:pt x="204" y="516"/>
                  </a:lnTo>
                  <a:lnTo>
                    <a:pt x="198" y="528"/>
                  </a:lnTo>
                  <a:lnTo>
                    <a:pt x="192" y="534"/>
                  </a:lnTo>
                  <a:lnTo>
                    <a:pt x="204" y="552"/>
                  </a:lnTo>
                  <a:lnTo>
                    <a:pt x="192" y="564"/>
                  </a:lnTo>
                  <a:lnTo>
                    <a:pt x="204" y="576"/>
                  </a:lnTo>
                  <a:lnTo>
                    <a:pt x="198" y="582"/>
                  </a:lnTo>
                  <a:lnTo>
                    <a:pt x="198" y="588"/>
                  </a:lnTo>
                  <a:lnTo>
                    <a:pt x="192" y="594"/>
                  </a:lnTo>
                  <a:lnTo>
                    <a:pt x="192" y="606"/>
                  </a:lnTo>
                  <a:lnTo>
                    <a:pt x="204" y="630"/>
                  </a:lnTo>
                  <a:lnTo>
                    <a:pt x="204" y="642"/>
                  </a:lnTo>
                  <a:lnTo>
                    <a:pt x="198" y="648"/>
                  </a:lnTo>
                  <a:lnTo>
                    <a:pt x="198" y="654"/>
                  </a:lnTo>
                  <a:lnTo>
                    <a:pt x="192" y="654"/>
                  </a:lnTo>
                  <a:lnTo>
                    <a:pt x="192" y="666"/>
                  </a:lnTo>
                  <a:lnTo>
                    <a:pt x="174" y="678"/>
                  </a:lnTo>
                  <a:lnTo>
                    <a:pt x="192" y="702"/>
                  </a:lnTo>
                  <a:lnTo>
                    <a:pt x="174" y="720"/>
                  </a:lnTo>
                  <a:lnTo>
                    <a:pt x="174" y="732"/>
                  </a:lnTo>
                  <a:lnTo>
                    <a:pt x="198" y="756"/>
                  </a:lnTo>
                  <a:lnTo>
                    <a:pt x="198" y="762"/>
                  </a:lnTo>
                  <a:lnTo>
                    <a:pt x="192" y="774"/>
                  </a:lnTo>
                  <a:lnTo>
                    <a:pt x="180" y="786"/>
                  </a:lnTo>
                  <a:lnTo>
                    <a:pt x="180" y="798"/>
                  </a:lnTo>
                  <a:lnTo>
                    <a:pt x="168" y="810"/>
                  </a:lnTo>
                  <a:lnTo>
                    <a:pt x="156" y="816"/>
                  </a:lnTo>
                  <a:lnTo>
                    <a:pt x="156" y="846"/>
                  </a:lnTo>
                  <a:lnTo>
                    <a:pt x="144" y="858"/>
                  </a:lnTo>
                  <a:lnTo>
                    <a:pt x="156" y="876"/>
                  </a:lnTo>
                  <a:lnTo>
                    <a:pt x="138" y="882"/>
                  </a:lnTo>
                  <a:lnTo>
                    <a:pt x="72" y="966"/>
                  </a:lnTo>
                  <a:lnTo>
                    <a:pt x="72" y="996"/>
                  </a:lnTo>
                  <a:lnTo>
                    <a:pt x="78" y="1014"/>
                  </a:lnTo>
                  <a:lnTo>
                    <a:pt x="78" y="1032"/>
                  </a:lnTo>
                  <a:lnTo>
                    <a:pt x="84" y="1044"/>
                  </a:lnTo>
                  <a:lnTo>
                    <a:pt x="84" y="1062"/>
                  </a:lnTo>
                  <a:lnTo>
                    <a:pt x="114" y="1122"/>
                  </a:lnTo>
                  <a:lnTo>
                    <a:pt x="114" y="1212"/>
                  </a:lnTo>
                  <a:lnTo>
                    <a:pt x="90" y="1248"/>
                  </a:lnTo>
                  <a:lnTo>
                    <a:pt x="114" y="1248"/>
                  </a:lnTo>
                  <a:lnTo>
                    <a:pt x="108" y="1260"/>
                  </a:lnTo>
                  <a:lnTo>
                    <a:pt x="108" y="1284"/>
                  </a:lnTo>
                  <a:lnTo>
                    <a:pt x="114" y="1290"/>
                  </a:lnTo>
                  <a:lnTo>
                    <a:pt x="120" y="1290"/>
                  </a:lnTo>
                  <a:lnTo>
                    <a:pt x="126" y="1314"/>
                  </a:lnTo>
                  <a:lnTo>
                    <a:pt x="144" y="1314"/>
                  </a:lnTo>
                  <a:lnTo>
                    <a:pt x="156" y="1326"/>
                  </a:lnTo>
                  <a:lnTo>
                    <a:pt x="162" y="1338"/>
                  </a:lnTo>
                  <a:lnTo>
                    <a:pt x="168" y="1320"/>
                  </a:lnTo>
                  <a:lnTo>
                    <a:pt x="168" y="1284"/>
                  </a:lnTo>
                  <a:lnTo>
                    <a:pt x="162" y="1272"/>
                  </a:lnTo>
                  <a:lnTo>
                    <a:pt x="156" y="1266"/>
                  </a:lnTo>
                  <a:lnTo>
                    <a:pt x="150" y="1266"/>
                  </a:lnTo>
                  <a:lnTo>
                    <a:pt x="150" y="1242"/>
                  </a:lnTo>
                  <a:lnTo>
                    <a:pt x="162" y="1230"/>
                  </a:lnTo>
                  <a:lnTo>
                    <a:pt x="222" y="1188"/>
                  </a:lnTo>
                  <a:lnTo>
                    <a:pt x="276" y="1158"/>
                  </a:lnTo>
                  <a:lnTo>
                    <a:pt x="294" y="1146"/>
                  </a:lnTo>
                  <a:lnTo>
                    <a:pt x="312" y="1140"/>
                  </a:lnTo>
                  <a:lnTo>
                    <a:pt x="330" y="1128"/>
                  </a:lnTo>
                  <a:lnTo>
                    <a:pt x="342" y="1122"/>
                  </a:lnTo>
                  <a:lnTo>
                    <a:pt x="360" y="1104"/>
                  </a:lnTo>
                  <a:lnTo>
                    <a:pt x="360" y="1080"/>
                  </a:lnTo>
                  <a:lnTo>
                    <a:pt x="354" y="1080"/>
                  </a:lnTo>
                  <a:lnTo>
                    <a:pt x="354" y="1086"/>
                  </a:lnTo>
                  <a:lnTo>
                    <a:pt x="348" y="1080"/>
                  </a:lnTo>
                  <a:lnTo>
                    <a:pt x="342" y="1080"/>
                  </a:lnTo>
                  <a:lnTo>
                    <a:pt x="342" y="1068"/>
                  </a:lnTo>
                  <a:lnTo>
                    <a:pt x="366" y="1020"/>
                  </a:lnTo>
                  <a:lnTo>
                    <a:pt x="366" y="990"/>
                  </a:lnTo>
                  <a:lnTo>
                    <a:pt x="360" y="984"/>
                  </a:lnTo>
                  <a:lnTo>
                    <a:pt x="360" y="978"/>
                  </a:lnTo>
                  <a:lnTo>
                    <a:pt x="372" y="948"/>
                  </a:lnTo>
                  <a:lnTo>
                    <a:pt x="366" y="942"/>
                  </a:lnTo>
                  <a:lnTo>
                    <a:pt x="348" y="960"/>
                  </a:lnTo>
                  <a:lnTo>
                    <a:pt x="354" y="918"/>
                  </a:lnTo>
                  <a:lnTo>
                    <a:pt x="348" y="906"/>
                  </a:lnTo>
                  <a:lnTo>
                    <a:pt x="336" y="900"/>
                  </a:lnTo>
                  <a:lnTo>
                    <a:pt x="330" y="888"/>
                  </a:lnTo>
                  <a:lnTo>
                    <a:pt x="330" y="870"/>
                  </a:lnTo>
                  <a:lnTo>
                    <a:pt x="336" y="858"/>
                  </a:lnTo>
                  <a:lnTo>
                    <a:pt x="336" y="834"/>
                  </a:lnTo>
                  <a:lnTo>
                    <a:pt x="324" y="822"/>
                  </a:lnTo>
                  <a:lnTo>
                    <a:pt x="318" y="822"/>
                  </a:lnTo>
                  <a:lnTo>
                    <a:pt x="312" y="816"/>
                  </a:lnTo>
                  <a:lnTo>
                    <a:pt x="312" y="792"/>
                  </a:lnTo>
                  <a:lnTo>
                    <a:pt x="318" y="780"/>
                  </a:lnTo>
                  <a:lnTo>
                    <a:pt x="324" y="762"/>
                  </a:lnTo>
                  <a:lnTo>
                    <a:pt x="336" y="750"/>
                  </a:lnTo>
                  <a:lnTo>
                    <a:pt x="372" y="732"/>
                  </a:lnTo>
                  <a:lnTo>
                    <a:pt x="378" y="726"/>
                  </a:lnTo>
                  <a:lnTo>
                    <a:pt x="378" y="714"/>
                  </a:lnTo>
                  <a:lnTo>
                    <a:pt x="390" y="690"/>
                  </a:lnTo>
                  <a:lnTo>
                    <a:pt x="396" y="684"/>
                  </a:lnTo>
                  <a:lnTo>
                    <a:pt x="402" y="684"/>
                  </a:lnTo>
                  <a:lnTo>
                    <a:pt x="414" y="678"/>
                  </a:lnTo>
                  <a:lnTo>
                    <a:pt x="420" y="678"/>
                  </a:lnTo>
                  <a:lnTo>
                    <a:pt x="426" y="672"/>
                  </a:lnTo>
                  <a:lnTo>
                    <a:pt x="450" y="660"/>
                  </a:lnTo>
                  <a:lnTo>
                    <a:pt x="462" y="648"/>
                  </a:lnTo>
                  <a:lnTo>
                    <a:pt x="474" y="612"/>
                  </a:lnTo>
                  <a:lnTo>
                    <a:pt x="498" y="576"/>
                  </a:lnTo>
                  <a:lnTo>
                    <a:pt x="522" y="564"/>
                  </a:lnTo>
                  <a:lnTo>
                    <a:pt x="558" y="552"/>
                  </a:lnTo>
                  <a:lnTo>
                    <a:pt x="600" y="534"/>
                  </a:lnTo>
                  <a:lnTo>
                    <a:pt x="624" y="522"/>
                  </a:lnTo>
                  <a:lnTo>
                    <a:pt x="630" y="516"/>
                  </a:lnTo>
                  <a:lnTo>
                    <a:pt x="666" y="498"/>
                  </a:lnTo>
                  <a:lnTo>
                    <a:pt x="672" y="492"/>
                  </a:lnTo>
                  <a:lnTo>
                    <a:pt x="684" y="486"/>
                  </a:lnTo>
                  <a:lnTo>
                    <a:pt x="684" y="474"/>
                  </a:lnTo>
                  <a:lnTo>
                    <a:pt x="714" y="444"/>
                  </a:lnTo>
                  <a:lnTo>
                    <a:pt x="714" y="432"/>
                  </a:lnTo>
                  <a:lnTo>
                    <a:pt x="720" y="420"/>
                  </a:lnTo>
                  <a:lnTo>
                    <a:pt x="732" y="414"/>
                  </a:lnTo>
                  <a:lnTo>
                    <a:pt x="738" y="402"/>
                  </a:lnTo>
                  <a:lnTo>
                    <a:pt x="744" y="396"/>
                  </a:lnTo>
                  <a:lnTo>
                    <a:pt x="744" y="378"/>
                  </a:lnTo>
                  <a:lnTo>
                    <a:pt x="750" y="372"/>
                  </a:lnTo>
                  <a:lnTo>
                    <a:pt x="762" y="348"/>
                  </a:lnTo>
                  <a:lnTo>
                    <a:pt x="762" y="342"/>
                  </a:lnTo>
                  <a:close/>
                </a:path>
              </a:pathLst>
            </a:custGeom>
            <a:solidFill>
              <a:srgbClr val="692864"/>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07" name="Morocco" descr="© INSCALE GmbH, 05.05.2010&#10;http://www.presentationload.com/"/>
            <p:cNvSpPr>
              <a:spLocks/>
            </p:cNvSpPr>
            <p:nvPr/>
          </p:nvSpPr>
          <p:spPr bwMode="gray">
            <a:xfrm>
              <a:off x="3862315" y="2919524"/>
              <a:ext cx="341312" cy="266700"/>
            </a:xfrm>
            <a:custGeom>
              <a:avLst/>
              <a:gdLst>
                <a:gd name="T0" fmla="*/ 2147483647 w 846"/>
                <a:gd name="T1" fmla="*/ 2147483647 h 660"/>
                <a:gd name="T2" fmla="*/ 2147483647 w 846"/>
                <a:gd name="T3" fmla="*/ 2147483647 h 660"/>
                <a:gd name="T4" fmla="*/ 2147483647 w 846"/>
                <a:gd name="T5" fmla="*/ 2147483647 h 660"/>
                <a:gd name="T6" fmla="*/ 2147483647 w 846"/>
                <a:gd name="T7" fmla="*/ 2147483647 h 660"/>
                <a:gd name="T8" fmla="*/ 2147483647 w 846"/>
                <a:gd name="T9" fmla="*/ 2147483647 h 660"/>
                <a:gd name="T10" fmla="*/ 2147483647 w 846"/>
                <a:gd name="T11" fmla="*/ 2147483647 h 660"/>
                <a:gd name="T12" fmla="*/ 2147483647 w 846"/>
                <a:gd name="T13" fmla="*/ 2147483647 h 660"/>
                <a:gd name="T14" fmla="*/ 2147483647 w 846"/>
                <a:gd name="T15" fmla="*/ 2147483647 h 660"/>
                <a:gd name="T16" fmla="*/ 2147483647 w 846"/>
                <a:gd name="T17" fmla="*/ 2147483647 h 660"/>
                <a:gd name="T18" fmla="*/ 2147483647 w 846"/>
                <a:gd name="T19" fmla="*/ 0 h 660"/>
                <a:gd name="T20" fmla="*/ 2147483647 w 846"/>
                <a:gd name="T21" fmla="*/ 2147483647 h 660"/>
                <a:gd name="T22" fmla="*/ 2147483647 w 846"/>
                <a:gd name="T23" fmla="*/ 2147483647 h 660"/>
                <a:gd name="T24" fmla="*/ 2147483647 w 846"/>
                <a:gd name="T25" fmla="*/ 2147483647 h 660"/>
                <a:gd name="T26" fmla="*/ 2147483647 w 846"/>
                <a:gd name="T27" fmla="*/ 2147483647 h 660"/>
                <a:gd name="T28" fmla="*/ 2147483647 w 846"/>
                <a:gd name="T29" fmla="*/ 2147483647 h 660"/>
                <a:gd name="T30" fmla="*/ 2147483647 w 846"/>
                <a:gd name="T31" fmla="*/ 2147483647 h 660"/>
                <a:gd name="T32" fmla="*/ 2147483647 w 846"/>
                <a:gd name="T33" fmla="*/ 2147483647 h 660"/>
                <a:gd name="T34" fmla="*/ 2147483647 w 846"/>
                <a:gd name="T35" fmla="*/ 2147483647 h 660"/>
                <a:gd name="T36" fmla="*/ 2147483647 w 846"/>
                <a:gd name="T37" fmla="*/ 2147483647 h 660"/>
                <a:gd name="T38" fmla="*/ 2147483647 w 846"/>
                <a:gd name="T39" fmla="*/ 2147483647 h 660"/>
                <a:gd name="T40" fmla="*/ 2147483647 w 846"/>
                <a:gd name="T41" fmla="*/ 2147483647 h 660"/>
                <a:gd name="T42" fmla="*/ 2147483647 w 846"/>
                <a:gd name="T43" fmla="*/ 2147483647 h 660"/>
                <a:gd name="T44" fmla="*/ 2147483647 w 846"/>
                <a:gd name="T45" fmla="*/ 2147483647 h 660"/>
                <a:gd name="T46" fmla="*/ 2147483647 w 846"/>
                <a:gd name="T47" fmla="*/ 2147483647 h 660"/>
                <a:gd name="T48" fmla="*/ 2147483647 w 846"/>
                <a:gd name="T49" fmla="*/ 2147483647 h 660"/>
                <a:gd name="T50" fmla="*/ 2147483647 w 846"/>
                <a:gd name="T51" fmla="*/ 2147483647 h 660"/>
                <a:gd name="T52" fmla="*/ 2147483647 w 846"/>
                <a:gd name="T53" fmla="*/ 2147483647 h 660"/>
                <a:gd name="T54" fmla="*/ 2147483647 w 846"/>
                <a:gd name="T55" fmla="*/ 2147483647 h 660"/>
                <a:gd name="T56" fmla="*/ 2147483647 w 846"/>
                <a:gd name="T57" fmla="*/ 2147483647 h 660"/>
                <a:gd name="T58" fmla="*/ 2147483647 w 846"/>
                <a:gd name="T59" fmla="*/ 2147483647 h 660"/>
                <a:gd name="T60" fmla="*/ 2147483647 w 846"/>
                <a:gd name="T61" fmla="*/ 2147483647 h 660"/>
                <a:gd name="T62" fmla="*/ 2147483647 w 846"/>
                <a:gd name="T63" fmla="*/ 2147483647 h 660"/>
                <a:gd name="T64" fmla="*/ 2147483647 w 846"/>
                <a:gd name="T65" fmla="*/ 2147483647 h 660"/>
                <a:gd name="T66" fmla="*/ 2147483647 w 846"/>
                <a:gd name="T67" fmla="*/ 2147483647 h 660"/>
                <a:gd name="T68" fmla="*/ 2147483647 w 846"/>
                <a:gd name="T69" fmla="*/ 2147483647 h 660"/>
                <a:gd name="T70" fmla="*/ 2147483647 w 846"/>
                <a:gd name="T71" fmla="*/ 2147483647 h 660"/>
                <a:gd name="T72" fmla="*/ 2147483647 w 846"/>
                <a:gd name="T73" fmla="*/ 2147483647 h 660"/>
                <a:gd name="T74" fmla="*/ 2147483647 w 846"/>
                <a:gd name="T75" fmla="*/ 2147483647 h 660"/>
                <a:gd name="T76" fmla="*/ 2147483647 w 846"/>
                <a:gd name="T77" fmla="*/ 2147483647 h 660"/>
                <a:gd name="T78" fmla="*/ 2147483647 w 846"/>
                <a:gd name="T79" fmla="*/ 2147483647 h 660"/>
                <a:gd name="T80" fmla="*/ 2147483647 w 846"/>
                <a:gd name="T81" fmla="*/ 2147483647 h 660"/>
                <a:gd name="T82" fmla="*/ 2147483647 w 846"/>
                <a:gd name="T83" fmla="*/ 2147483647 h 660"/>
                <a:gd name="T84" fmla="*/ 2147483647 w 846"/>
                <a:gd name="T85" fmla="*/ 2147483647 h 660"/>
                <a:gd name="T86" fmla="*/ 2147483647 w 846"/>
                <a:gd name="T87" fmla="*/ 2147483647 h 660"/>
                <a:gd name="T88" fmla="*/ 2147483647 w 846"/>
                <a:gd name="T89" fmla="*/ 2147483647 h 66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46"/>
                <a:gd name="T136" fmla="*/ 0 h 660"/>
                <a:gd name="T137" fmla="*/ 846 w 846"/>
                <a:gd name="T138" fmla="*/ 660 h 66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46" h="660">
                  <a:moveTo>
                    <a:pt x="822" y="246"/>
                  </a:moveTo>
                  <a:lnTo>
                    <a:pt x="822" y="216"/>
                  </a:lnTo>
                  <a:lnTo>
                    <a:pt x="804" y="216"/>
                  </a:lnTo>
                  <a:lnTo>
                    <a:pt x="816" y="186"/>
                  </a:lnTo>
                  <a:lnTo>
                    <a:pt x="804" y="168"/>
                  </a:lnTo>
                  <a:lnTo>
                    <a:pt x="810" y="102"/>
                  </a:lnTo>
                  <a:lnTo>
                    <a:pt x="798" y="102"/>
                  </a:lnTo>
                  <a:lnTo>
                    <a:pt x="798" y="90"/>
                  </a:lnTo>
                  <a:lnTo>
                    <a:pt x="804" y="84"/>
                  </a:lnTo>
                  <a:lnTo>
                    <a:pt x="792" y="78"/>
                  </a:lnTo>
                  <a:lnTo>
                    <a:pt x="786" y="66"/>
                  </a:lnTo>
                  <a:lnTo>
                    <a:pt x="780" y="60"/>
                  </a:lnTo>
                  <a:lnTo>
                    <a:pt x="744" y="42"/>
                  </a:lnTo>
                  <a:lnTo>
                    <a:pt x="720" y="42"/>
                  </a:lnTo>
                  <a:lnTo>
                    <a:pt x="708" y="48"/>
                  </a:lnTo>
                  <a:lnTo>
                    <a:pt x="702" y="54"/>
                  </a:lnTo>
                  <a:lnTo>
                    <a:pt x="696" y="54"/>
                  </a:lnTo>
                  <a:lnTo>
                    <a:pt x="690" y="48"/>
                  </a:lnTo>
                  <a:lnTo>
                    <a:pt x="678" y="48"/>
                  </a:lnTo>
                  <a:lnTo>
                    <a:pt x="666" y="42"/>
                  </a:lnTo>
                  <a:lnTo>
                    <a:pt x="654" y="42"/>
                  </a:lnTo>
                  <a:lnTo>
                    <a:pt x="642" y="48"/>
                  </a:lnTo>
                  <a:lnTo>
                    <a:pt x="636" y="54"/>
                  </a:lnTo>
                  <a:lnTo>
                    <a:pt x="624" y="54"/>
                  </a:lnTo>
                  <a:lnTo>
                    <a:pt x="588" y="36"/>
                  </a:lnTo>
                  <a:lnTo>
                    <a:pt x="570" y="18"/>
                  </a:lnTo>
                  <a:lnTo>
                    <a:pt x="564" y="6"/>
                  </a:lnTo>
                  <a:lnTo>
                    <a:pt x="558" y="6"/>
                  </a:lnTo>
                  <a:lnTo>
                    <a:pt x="552" y="0"/>
                  </a:lnTo>
                  <a:lnTo>
                    <a:pt x="528" y="0"/>
                  </a:lnTo>
                  <a:lnTo>
                    <a:pt x="528" y="6"/>
                  </a:lnTo>
                  <a:lnTo>
                    <a:pt x="522" y="12"/>
                  </a:lnTo>
                  <a:lnTo>
                    <a:pt x="522" y="30"/>
                  </a:lnTo>
                  <a:lnTo>
                    <a:pt x="516" y="48"/>
                  </a:lnTo>
                  <a:lnTo>
                    <a:pt x="498" y="84"/>
                  </a:lnTo>
                  <a:lnTo>
                    <a:pt x="492" y="102"/>
                  </a:lnTo>
                  <a:lnTo>
                    <a:pt x="468" y="138"/>
                  </a:lnTo>
                  <a:lnTo>
                    <a:pt x="462" y="150"/>
                  </a:lnTo>
                  <a:lnTo>
                    <a:pt x="450" y="162"/>
                  </a:lnTo>
                  <a:lnTo>
                    <a:pt x="438" y="168"/>
                  </a:lnTo>
                  <a:lnTo>
                    <a:pt x="420" y="168"/>
                  </a:lnTo>
                  <a:lnTo>
                    <a:pt x="408" y="174"/>
                  </a:lnTo>
                  <a:lnTo>
                    <a:pt x="402" y="174"/>
                  </a:lnTo>
                  <a:lnTo>
                    <a:pt x="396" y="180"/>
                  </a:lnTo>
                  <a:lnTo>
                    <a:pt x="384" y="186"/>
                  </a:lnTo>
                  <a:lnTo>
                    <a:pt x="378" y="198"/>
                  </a:lnTo>
                  <a:lnTo>
                    <a:pt x="360" y="192"/>
                  </a:lnTo>
                  <a:lnTo>
                    <a:pt x="330" y="204"/>
                  </a:lnTo>
                  <a:lnTo>
                    <a:pt x="330" y="210"/>
                  </a:lnTo>
                  <a:lnTo>
                    <a:pt x="324" y="216"/>
                  </a:lnTo>
                  <a:lnTo>
                    <a:pt x="324" y="228"/>
                  </a:lnTo>
                  <a:lnTo>
                    <a:pt x="318" y="240"/>
                  </a:lnTo>
                  <a:lnTo>
                    <a:pt x="312" y="240"/>
                  </a:lnTo>
                  <a:lnTo>
                    <a:pt x="288" y="264"/>
                  </a:lnTo>
                  <a:lnTo>
                    <a:pt x="288" y="288"/>
                  </a:lnTo>
                  <a:lnTo>
                    <a:pt x="276" y="312"/>
                  </a:lnTo>
                  <a:lnTo>
                    <a:pt x="264" y="324"/>
                  </a:lnTo>
                  <a:lnTo>
                    <a:pt x="258" y="336"/>
                  </a:lnTo>
                  <a:lnTo>
                    <a:pt x="246" y="354"/>
                  </a:lnTo>
                  <a:lnTo>
                    <a:pt x="246" y="402"/>
                  </a:lnTo>
                  <a:lnTo>
                    <a:pt x="240" y="408"/>
                  </a:lnTo>
                  <a:lnTo>
                    <a:pt x="234" y="408"/>
                  </a:lnTo>
                  <a:lnTo>
                    <a:pt x="234" y="414"/>
                  </a:lnTo>
                  <a:lnTo>
                    <a:pt x="240" y="420"/>
                  </a:lnTo>
                  <a:lnTo>
                    <a:pt x="252" y="420"/>
                  </a:lnTo>
                  <a:lnTo>
                    <a:pt x="252" y="474"/>
                  </a:lnTo>
                  <a:lnTo>
                    <a:pt x="240" y="474"/>
                  </a:lnTo>
                  <a:lnTo>
                    <a:pt x="228" y="480"/>
                  </a:lnTo>
                  <a:lnTo>
                    <a:pt x="192" y="540"/>
                  </a:lnTo>
                  <a:lnTo>
                    <a:pt x="180" y="552"/>
                  </a:lnTo>
                  <a:lnTo>
                    <a:pt x="168" y="552"/>
                  </a:lnTo>
                  <a:lnTo>
                    <a:pt x="162" y="558"/>
                  </a:lnTo>
                  <a:lnTo>
                    <a:pt x="150" y="564"/>
                  </a:lnTo>
                  <a:lnTo>
                    <a:pt x="144" y="576"/>
                  </a:lnTo>
                  <a:lnTo>
                    <a:pt x="132" y="588"/>
                  </a:lnTo>
                  <a:lnTo>
                    <a:pt x="126" y="600"/>
                  </a:lnTo>
                  <a:lnTo>
                    <a:pt x="120" y="606"/>
                  </a:lnTo>
                  <a:lnTo>
                    <a:pt x="84" y="624"/>
                  </a:lnTo>
                  <a:lnTo>
                    <a:pt x="66" y="624"/>
                  </a:lnTo>
                  <a:lnTo>
                    <a:pt x="54" y="630"/>
                  </a:lnTo>
                  <a:lnTo>
                    <a:pt x="48" y="630"/>
                  </a:lnTo>
                  <a:lnTo>
                    <a:pt x="42" y="636"/>
                  </a:lnTo>
                  <a:lnTo>
                    <a:pt x="12" y="636"/>
                  </a:lnTo>
                  <a:lnTo>
                    <a:pt x="6" y="642"/>
                  </a:lnTo>
                  <a:lnTo>
                    <a:pt x="6" y="654"/>
                  </a:lnTo>
                  <a:lnTo>
                    <a:pt x="0" y="660"/>
                  </a:lnTo>
                  <a:lnTo>
                    <a:pt x="312" y="660"/>
                  </a:lnTo>
                  <a:lnTo>
                    <a:pt x="312" y="600"/>
                  </a:lnTo>
                  <a:lnTo>
                    <a:pt x="318" y="570"/>
                  </a:lnTo>
                  <a:lnTo>
                    <a:pt x="330" y="564"/>
                  </a:lnTo>
                  <a:lnTo>
                    <a:pt x="336" y="558"/>
                  </a:lnTo>
                  <a:lnTo>
                    <a:pt x="348" y="552"/>
                  </a:lnTo>
                  <a:lnTo>
                    <a:pt x="378" y="522"/>
                  </a:lnTo>
                  <a:lnTo>
                    <a:pt x="378" y="516"/>
                  </a:lnTo>
                  <a:lnTo>
                    <a:pt x="396" y="516"/>
                  </a:lnTo>
                  <a:lnTo>
                    <a:pt x="426" y="498"/>
                  </a:lnTo>
                  <a:lnTo>
                    <a:pt x="438" y="504"/>
                  </a:lnTo>
                  <a:lnTo>
                    <a:pt x="444" y="510"/>
                  </a:lnTo>
                  <a:lnTo>
                    <a:pt x="456" y="510"/>
                  </a:lnTo>
                  <a:lnTo>
                    <a:pt x="462" y="498"/>
                  </a:lnTo>
                  <a:lnTo>
                    <a:pt x="462" y="492"/>
                  </a:lnTo>
                  <a:lnTo>
                    <a:pt x="486" y="486"/>
                  </a:lnTo>
                  <a:lnTo>
                    <a:pt x="492" y="474"/>
                  </a:lnTo>
                  <a:lnTo>
                    <a:pt x="504" y="474"/>
                  </a:lnTo>
                  <a:lnTo>
                    <a:pt x="516" y="480"/>
                  </a:lnTo>
                  <a:lnTo>
                    <a:pt x="540" y="480"/>
                  </a:lnTo>
                  <a:lnTo>
                    <a:pt x="552" y="468"/>
                  </a:lnTo>
                  <a:lnTo>
                    <a:pt x="564" y="444"/>
                  </a:lnTo>
                  <a:lnTo>
                    <a:pt x="570" y="438"/>
                  </a:lnTo>
                  <a:lnTo>
                    <a:pt x="576" y="426"/>
                  </a:lnTo>
                  <a:lnTo>
                    <a:pt x="618" y="426"/>
                  </a:lnTo>
                  <a:lnTo>
                    <a:pt x="624" y="420"/>
                  </a:lnTo>
                  <a:lnTo>
                    <a:pt x="636" y="414"/>
                  </a:lnTo>
                  <a:lnTo>
                    <a:pt x="648" y="402"/>
                  </a:lnTo>
                  <a:lnTo>
                    <a:pt x="648" y="396"/>
                  </a:lnTo>
                  <a:lnTo>
                    <a:pt x="672" y="384"/>
                  </a:lnTo>
                  <a:lnTo>
                    <a:pt x="660" y="366"/>
                  </a:lnTo>
                  <a:lnTo>
                    <a:pt x="654" y="354"/>
                  </a:lnTo>
                  <a:lnTo>
                    <a:pt x="648" y="348"/>
                  </a:lnTo>
                  <a:lnTo>
                    <a:pt x="648" y="336"/>
                  </a:lnTo>
                  <a:lnTo>
                    <a:pt x="654" y="330"/>
                  </a:lnTo>
                  <a:lnTo>
                    <a:pt x="678" y="330"/>
                  </a:lnTo>
                  <a:lnTo>
                    <a:pt x="690" y="324"/>
                  </a:lnTo>
                  <a:lnTo>
                    <a:pt x="714" y="324"/>
                  </a:lnTo>
                  <a:lnTo>
                    <a:pt x="714" y="312"/>
                  </a:lnTo>
                  <a:lnTo>
                    <a:pt x="720" y="306"/>
                  </a:lnTo>
                  <a:lnTo>
                    <a:pt x="720" y="300"/>
                  </a:lnTo>
                  <a:lnTo>
                    <a:pt x="732" y="300"/>
                  </a:lnTo>
                  <a:lnTo>
                    <a:pt x="738" y="306"/>
                  </a:lnTo>
                  <a:lnTo>
                    <a:pt x="744" y="300"/>
                  </a:lnTo>
                  <a:lnTo>
                    <a:pt x="744" y="294"/>
                  </a:lnTo>
                  <a:lnTo>
                    <a:pt x="762" y="294"/>
                  </a:lnTo>
                  <a:lnTo>
                    <a:pt x="774" y="300"/>
                  </a:lnTo>
                  <a:lnTo>
                    <a:pt x="828" y="294"/>
                  </a:lnTo>
                  <a:lnTo>
                    <a:pt x="828" y="282"/>
                  </a:lnTo>
                  <a:lnTo>
                    <a:pt x="846" y="264"/>
                  </a:lnTo>
                  <a:lnTo>
                    <a:pt x="822" y="246"/>
                  </a:lnTo>
                  <a:close/>
                </a:path>
              </a:pathLst>
            </a:custGeom>
            <a:solidFill>
              <a:srgbClr val="692864"/>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08" name="Montenegro" descr="© INSCALE GmbH, 05.05.2010&#10;http://www.presentationload.com/"/>
            <p:cNvSpPr>
              <a:spLocks/>
            </p:cNvSpPr>
            <p:nvPr/>
          </p:nvSpPr>
          <p:spPr bwMode="gray">
            <a:xfrm>
              <a:off x="4718054" y="2665413"/>
              <a:ext cx="46037" cy="53975"/>
            </a:xfrm>
            <a:custGeom>
              <a:avLst/>
              <a:gdLst>
                <a:gd name="T0" fmla="*/ 2147483647 w 114"/>
                <a:gd name="T1" fmla="*/ 2147483647 h 138"/>
                <a:gd name="T2" fmla="*/ 2147483647 w 114"/>
                <a:gd name="T3" fmla="*/ 2147483647 h 138"/>
                <a:gd name="T4" fmla="*/ 2147483647 w 114"/>
                <a:gd name="T5" fmla="*/ 2147483647 h 138"/>
                <a:gd name="T6" fmla="*/ 2147483647 w 114"/>
                <a:gd name="T7" fmla="*/ 2147483647 h 138"/>
                <a:gd name="T8" fmla="*/ 2147483647 w 114"/>
                <a:gd name="T9" fmla="*/ 2147483647 h 138"/>
                <a:gd name="T10" fmla="*/ 2147483647 w 114"/>
                <a:gd name="T11" fmla="*/ 2147483647 h 138"/>
                <a:gd name="T12" fmla="*/ 2147483647 w 114"/>
                <a:gd name="T13" fmla="*/ 0 h 138"/>
                <a:gd name="T14" fmla="*/ 2147483647 w 114"/>
                <a:gd name="T15" fmla="*/ 0 h 138"/>
                <a:gd name="T16" fmla="*/ 2147483647 w 114"/>
                <a:gd name="T17" fmla="*/ 2147483647 h 138"/>
                <a:gd name="T18" fmla="*/ 2147483647 w 114"/>
                <a:gd name="T19" fmla="*/ 2147483647 h 138"/>
                <a:gd name="T20" fmla="*/ 2147483647 w 114"/>
                <a:gd name="T21" fmla="*/ 2147483647 h 138"/>
                <a:gd name="T22" fmla="*/ 2147483647 w 114"/>
                <a:gd name="T23" fmla="*/ 2147483647 h 138"/>
                <a:gd name="T24" fmla="*/ 2147483647 w 114"/>
                <a:gd name="T25" fmla="*/ 2147483647 h 138"/>
                <a:gd name="T26" fmla="*/ 2147483647 w 114"/>
                <a:gd name="T27" fmla="*/ 2147483647 h 138"/>
                <a:gd name="T28" fmla="*/ 0 w 114"/>
                <a:gd name="T29" fmla="*/ 2147483647 h 138"/>
                <a:gd name="T30" fmla="*/ 0 w 114"/>
                <a:gd name="T31" fmla="*/ 2147483647 h 138"/>
                <a:gd name="T32" fmla="*/ 2147483647 w 114"/>
                <a:gd name="T33" fmla="*/ 2147483647 h 138"/>
                <a:gd name="T34" fmla="*/ 2147483647 w 114"/>
                <a:gd name="T35" fmla="*/ 2147483647 h 138"/>
                <a:gd name="T36" fmla="*/ 2147483647 w 114"/>
                <a:gd name="T37" fmla="*/ 2147483647 h 138"/>
                <a:gd name="T38" fmla="*/ 2147483647 w 114"/>
                <a:gd name="T39" fmla="*/ 2147483647 h 138"/>
                <a:gd name="T40" fmla="*/ 2147483647 w 114"/>
                <a:gd name="T41" fmla="*/ 2147483647 h 138"/>
                <a:gd name="T42" fmla="*/ 2147483647 w 114"/>
                <a:gd name="T43" fmla="*/ 2147483647 h 138"/>
                <a:gd name="T44" fmla="*/ 2147483647 w 114"/>
                <a:gd name="T45" fmla="*/ 2147483647 h 138"/>
                <a:gd name="T46" fmla="*/ 2147483647 w 114"/>
                <a:gd name="T47" fmla="*/ 2147483647 h 138"/>
                <a:gd name="T48" fmla="*/ 2147483647 w 114"/>
                <a:gd name="T49" fmla="*/ 2147483647 h 138"/>
                <a:gd name="T50" fmla="*/ 2147483647 w 114"/>
                <a:gd name="T51" fmla="*/ 2147483647 h 138"/>
                <a:gd name="T52" fmla="*/ 2147483647 w 114"/>
                <a:gd name="T53" fmla="*/ 2147483647 h 138"/>
                <a:gd name="T54" fmla="*/ 2147483647 w 114"/>
                <a:gd name="T55" fmla="*/ 2147483647 h 138"/>
                <a:gd name="T56" fmla="*/ 2147483647 w 114"/>
                <a:gd name="T57" fmla="*/ 2147483647 h 138"/>
                <a:gd name="T58" fmla="*/ 2147483647 w 114"/>
                <a:gd name="T59" fmla="*/ 2147483647 h 138"/>
                <a:gd name="T60" fmla="*/ 2147483647 w 114"/>
                <a:gd name="T61" fmla="*/ 2147483647 h 138"/>
                <a:gd name="T62" fmla="*/ 2147483647 w 114"/>
                <a:gd name="T63" fmla="*/ 2147483647 h 138"/>
                <a:gd name="T64" fmla="*/ 2147483647 w 114"/>
                <a:gd name="T65" fmla="*/ 2147483647 h 138"/>
                <a:gd name="T66" fmla="*/ 2147483647 w 114"/>
                <a:gd name="T67" fmla="*/ 2147483647 h 138"/>
                <a:gd name="T68" fmla="*/ 2147483647 w 114"/>
                <a:gd name="T69" fmla="*/ 2147483647 h 138"/>
                <a:gd name="T70" fmla="*/ 2147483647 w 114"/>
                <a:gd name="T71" fmla="*/ 2147483647 h 13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4"/>
                <a:gd name="T109" fmla="*/ 0 h 138"/>
                <a:gd name="T110" fmla="*/ 114 w 114"/>
                <a:gd name="T111" fmla="*/ 138 h 13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4" h="138">
                  <a:moveTo>
                    <a:pt x="114" y="42"/>
                  </a:moveTo>
                  <a:lnTo>
                    <a:pt x="108" y="48"/>
                  </a:lnTo>
                  <a:lnTo>
                    <a:pt x="96" y="30"/>
                  </a:lnTo>
                  <a:lnTo>
                    <a:pt x="84" y="18"/>
                  </a:lnTo>
                  <a:lnTo>
                    <a:pt x="66" y="6"/>
                  </a:lnTo>
                  <a:lnTo>
                    <a:pt x="60" y="6"/>
                  </a:lnTo>
                  <a:lnTo>
                    <a:pt x="48" y="0"/>
                  </a:lnTo>
                  <a:lnTo>
                    <a:pt x="42" y="0"/>
                  </a:lnTo>
                  <a:lnTo>
                    <a:pt x="42" y="24"/>
                  </a:lnTo>
                  <a:lnTo>
                    <a:pt x="24" y="24"/>
                  </a:lnTo>
                  <a:lnTo>
                    <a:pt x="18" y="30"/>
                  </a:lnTo>
                  <a:lnTo>
                    <a:pt x="18" y="36"/>
                  </a:lnTo>
                  <a:lnTo>
                    <a:pt x="12" y="48"/>
                  </a:lnTo>
                  <a:lnTo>
                    <a:pt x="6" y="48"/>
                  </a:lnTo>
                  <a:lnTo>
                    <a:pt x="0" y="54"/>
                  </a:lnTo>
                  <a:lnTo>
                    <a:pt x="0" y="60"/>
                  </a:lnTo>
                  <a:lnTo>
                    <a:pt x="6" y="66"/>
                  </a:lnTo>
                  <a:lnTo>
                    <a:pt x="12" y="66"/>
                  </a:lnTo>
                  <a:lnTo>
                    <a:pt x="24" y="72"/>
                  </a:lnTo>
                  <a:lnTo>
                    <a:pt x="6" y="102"/>
                  </a:lnTo>
                  <a:lnTo>
                    <a:pt x="18" y="102"/>
                  </a:lnTo>
                  <a:lnTo>
                    <a:pt x="24" y="96"/>
                  </a:lnTo>
                  <a:lnTo>
                    <a:pt x="36" y="96"/>
                  </a:lnTo>
                  <a:lnTo>
                    <a:pt x="36" y="114"/>
                  </a:lnTo>
                  <a:lnTo>
                    <a:pt x="60" y="138"/>
                  </a:lnTo>
                  <a:lnTo>
                    <a:pt x="72" y="126"/>
                  </a:lnTo>
                  <a:lnTo>
                    <a:pt x="66" y="108"/>
                  </a:lnTo>
                  <a:lnTo>
                    <a:pt x="60" y="114"/>
                  </a:lnTo>
                  <a:lnTo>
                    <a:pt x="42" y="102"/>
                  </a:lnTo>
                  <a:lnTo>
                    <a:pt x="66" y="102"/>
                  </a:lnTo>
                  <a:lnTo>
                    <a:pt x="78" y="96"/>
                  </a:lnTo>
                  <a:lnTo>
                    <a:pt x="78" y="78"/>
                  </a:lnTo>
                  <a:lnTo>
                    <a:pt x="108" y="90"/>
                  </a:lnTo>
                  <a:lnTo>
                    <a:pt x="114" y="84"/>
                  </a:lnTo>
                  <a:lnTo>
                    <a:pt x="114" y="90"/>
                  </a:lnTo>
                  <a:lnTo>
                    <a:pt x="114" y="42"/>
                  </a:lnTo>
                  <a:close/>
                </a:path>
              </a:pathLst>
            </a:custGeom>
            <a:solidFill>
              <a:srgbClr val="00508C"/>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09" name="Mongolia" descr="© INSCALE GmbH, 05.05.2010&#10;http://www.presentationload.com/"/>
            <p:cNvSpPr>
              <a:spLocks/>
            </p:cNvSpPr>
            <p:nvPr/>
          </p:nvSpPr>
          <p:spPr bwMode="gray">
            <a:xfrm>
              <a:off x="6450019" y="2393951"/>
              <a:ext cx="844551" cy="334962"/>
            </a:xfrm>
            <a:custGeom>
              <a:avLst/>
              <a:gdLst>
                <a:gd name="T0" fmla="*/ 2147483647 w 2100"/>
                <a:gd name="T1" fmla="*/ 2147483647 h 834"/>
                <a:gd name="T2" fmla="*/ 2147483647 w 2100"/>
                <a:gd name="T3" fmla="*/ 2147483647 h 834"/>
                <a:gd name="T4" fmla="*/ 2147483647 w 2100"/>
                <a:gd name="T5" fmla="*/ 2147483647 h 834"/>
                <a:gd name="T6" fmla="*/ 2147483647 w 2100"/>
                <a:gd name="T7" fmla="*/ 2147483647 h 834"/>
                <a:gd name="T8" fmla="*/ 2147483647 w 2100"/>
                <a:gd name="T9" fmla="*/ 2147483647 h 834"/>
                <a:gd name="T10" fmla="*/ 2147483647 w 2100"/>
                <a:gd name="T11" fmla="*/ 2147483647 h 834"/>
                <a:gd name="T12" fmla="*/ 2147483647 w 2100"/>
                <a:gd name="T13" fmla="*/ 2147483647 h 834"/>
                <a:gd name="T14" fmla="*/ 2147483647 w 2100"/>
                <a:gd name="T15" fmla="*/ 2147483647 h 834"/>
                <a:gd name="T16" fmla="*/ 2147483647 w 2100"/>
                <a:gd name="T17" fmla="*/ 2147483647 h 834"/>
                <a:gd name="T18" fmla="*/ 2147483647 w 2100"/>
                <a:gd name="T19" fmla="*/ 2147483647 h 834"/>
                <a:gd name="T20" fmla="*/ 2147483647 w 2100"/>
                <a:gd name="T21" fmla="*/ 2147483647 h 834"/>
                <a:gd name="T22" fmla="*/ 2147483647 w 2100"/>
                <a:gd name="T23" fmla="*/ 2147483647 h 834"/>
                <a:gd name="T24" fmla="*/ 2147483647 w 2100"/>
                <a:gd name="T25" fmla="*/ 2147483647 h 834"/>
                <a:gd name="T26" fmla="*/ 2147483647 w 2100"/>
                <a:gd name="T27" fmla="*/ 2147483647 h 834"/>
                <a:gd name="T28" fmla="*/ 2147483647 w 2100"/>
                <a:gd name="T29" fmla="*/ 2147483647 h 834"/>
                <a:gd name="T30" fmla="*/ 2147483647 w 2100"/>
                <a:gd name="T31" fmla="*/ 2147483647 h 834"/>
                <a:gd name="T32" fmla="*/ 2147483647 w 2100"/>
                <a:gd name="T33" fmla="*/ 2147483647 h 834"/>
                <a:gd name="T34" fmla="*/ 2147483647 w 2100"/>
                <a:gd name="T35" fmla="*/ 2147483647 h 834"/>
                <a:gd name="T36" fmla="*/ 2147483647 w 2100"/>
                <a:gd name="T37" fmla="*/ 2147483647 h 834"/>
                <a:gd name="T38" fmla="*/ 2147483647 w 2100"/>
                <a:gd name="T39" fmla="*/ 2147483647 h 834"/>
                <a:gd name="T40" fmla="*/ 2147483647 w 2100"/>
                <a:gd name="T41" fmla="*/ 2147483647 h 834"/>
                <a:gd name="T42" fmla="*/ 2147483647 w 2100"/>
                <a:gd name="T43" fmla="*/ 2147483647 h 834"/>
                <a:gd name="T44" fmla="*/ 2147483647 w 2100"/>
                <a:gd name="T45" fmla="*/ 2147483647 h 834"/>
                <a:gd name="T46" fmla="*/ 2147483647 w 2100"/>
                <a:gd name="T47" fmla="*/ 2147483647 h 834"/>
                <a:gd name="T48" fmla="*/ 2147483647 w 2100"/>
                <a:gd name="T49" fmla="*/ 2147483647 h 834"/>
                <a:gd name="T50" fmla="*/ 2147483647 w 2100"/>
                <a:gd name="T51" fmla="*/ 2147483647 h 834"/>
                <a:gd name="T52" fmla="*/ 2147483647 w 2100"/>
                <a:gd name="T53" fmla="*/ 2147483647 h 834"/>
                <a:gd name="T54" fmla="*/ 2147483647 w 2100"/>
                <a:gd name="T55" fmla="*/ 2147483647 h 834"/>
                <a:gd name="T56" fmla="*/ 2147483647 w 2100"/>
                <a:gd name="T57" fmla="*/ 2147483647 h 834"/>
                <a:gd name="T58" fmla="*/ 2147483647 w 2100"/>
                <a:gd name="T59" fmla="*/ 2147483647 h 834"/>
                <a:gd name="T60" fmla="*/ 2147483647 w 2100"/>
                <a:gd name="T61" fmla="*/ 2147483647 h 834"/>
                <a:gd name="T62" fmla="*/ 0 w 2100"/>
                <a:gd name="T63" fmla="*/ 2147483647 h 834"/>
                <a:gd name="T64" fmla="*/ 2147483647 w 2100"/>
                <a:gd name="T65" fmla="*/ 2147483647 h 834"/>
                <a:gd name="T66" fmla="*/ 2147483647 w 2100"/>
                <a:gd name="T67" fmla="*/ 2147483647 h 834"/>
                <a:gd name="T68" fmla="*/ 2147483647 w 2100"/>
                <a:gd name="T69" fmla="*/ 2147483647 h 834"/>
                <a:gd name="T70" fmla="*/ 2147483647 w 2100"/>
                <a:gd name="T71" fmla="*/ 2147483647 h 834"/>
                <a:gd name="T72" fmla="*/ 2147483647 w 2100"/>
                <a:gd name="T73" fmla="*/ 2147483647 h 834"/>
                <a:gd name="T74" fmla="*/ 2147483647 w 2100"/>
                <a:gd name="T75" fmla="*/ 2147483647 h 834"/>
                <a:gd name="T76" fmla="*/ 2147483647 w 2100"/>
                <a:gd name="T77" fmla="*/ 2147483647 h 834"/>
                <a:gd name="T78" fmla="*/ 2147483647 w 2100"/>
                <a:gd name="T79" fmla="*/ 2147483647 h 834"/>
                <a:gd name="T80" fmla="*/ 2147483647 w 2100"/>
                <a:gd name="T81" fmla="*/ 2147483647 h 834"/>
                <a:gd name="T82" fmla="*/ 2147483647 w 2100"/>
                <a:gd name="T83" fmla="*/ 2147483647 h 834"/>
                <a:gd name="T84" fmla="*/ 2147483647 w 2100"/>
                <a:gd name="T85" fmla="*/ 2147483647 h 834"/>
                <a:gd name="T86" fmla="*/ 2147483647 w 2100"/>
                <a:gd name="T87" fmla="*/ 2147483647 h 834"/>
                <a:gd name="T88" fmla="*/ 2147483647 w 2100"/>
                <a:gd name="T89" fmla="*/ 2147483647 h 834"/>
                <a:gd name="T90" fmla="*/ 2147483647 w 2100"/>
                <a:gd name="T91" fmla="*/ 2147483647 h 834"/>
                <a:gd name="T92" fmla="*/ 2147483647 w 2100"/>
                <a:gd name="T93" fmla="*/ 2147483647 h 834"/>
                <a:gd name="T94" fmla="*/ 2147483647 w 2100"/>
                <a:gd name="T95" fmla="*/ 2147483647 h 834"/>
                <a:gd name="T96" fmla="*/ 2147483647 w 2100"/>
                <a:gd name="T97" fmla="*/ 2147483647 h 834"/>
                <a:gd name="T98" fmla="*/ 2147483647 w 2100"/>
                <a:gd name="T99" fmla="*/ 2147483647 h 834"/>
                <a:gd name="T100" fmla="*/ 2147483647 w 2100"/>
                <a:gd name="T101" fmla="*/ 2147483647 h 834"/>
                <a:gd name="T102" fmla="*/ 2147483647 w 2100"/>
                <a:gd name="T103" fmla="*/ 2147483647 h 834"/>
                <a:gd name="T104" fmla="*/ 2147483647 w 2100"/>
                <a:gd name="T105" fmla="*/ 2147483647 h 834"/>
                <a:gd name="T106" fmla="*/ 2147483647 w 2100"/>
                <a:gd name="T107" fmla="*/ 2147483647 h 834"/>
                <a:gd name="T108" fmla="*/ 2147483647 w 2100"/>
                <a:gd name="T109" fmla="*/ 2147483647 h 834"/>
                <a:gd name="T110" fmla="*/ 2147483647 w 2100"/>
                <a:gd name="T111" fmla="*/ 2147483647 h 834"/>
                <a:gd name="T112" fmla="*/ 2147483647 w 2100"/>
                <a:gd name="T113" fmla="*/ 2147483647 h 834"/>
                <a:gd name="T114" fmla="*/ 2147483647 w 2100"/>
                <a:gd name="T115" fmla="*/ 2147483647 h 834"/>
                <a:gd name="T116" fmla="*/ 2147483647 w 2100"/>
                <a:gd name="T117" fmla="*/ 2147483647 h 834"/>
                <a:gd name="T118" fmla="*/ 2147483647 w 2100"/>
                <a:gd name="T119" fmla="*/ 2147483647 h 834"/>
                <a:gd name="T120" fmla="*/ 2147483647 w 2100"/>
                <a:gd name="T121" fmla="*/ 2147483647 h 834"/>
                <a:gd name="T122" fmla="*/ 2147483647 w 2100"/>
                <a:gd name="T123" fmla="*/ 2147483647 h 83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100"/>
                <a:gd name="T187" fmla="*/ 0 h 834"/>
                <a:gd name="T188" fmla="*/ 2100 w 2100"/>
                <a:gd name="T189" fmla="*/ 834 h 83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100" h="834">
                  <a:moveTo>
                    <a:pt x="2088" y="408"/>
                  </a:moveTo>
                  <a:lnTo>
                    <a:pt x="2076" y="396"/>
                  </a:lnTo>
                  <a:lnTo>
                    <a:pt x="2070" y="384"/>
                  </a:lnTo>
                  <a:lnTo>
                    <a:pt x="2058" y="384"/>
                  </a:lnTo>
                  <a:lnTo>
                    <a:pt x="2034" y="372"/>
                  </a:lnTo>
                  <a:lnTo>
                    <a:pt x="2022" y="360"/>
                  </a:lnTo>
                  <a:lnTo>
                    <a:pt x="2010" y="354"/>
                  </a:lnTo>
                  <a:lnTo>
                    <a:pt x="2004" y="348"/>
                  </a:lnTo>
                  <a:lnTo>
                    <a:pt x="1986" y="348"/>
                  </a:lnTo>
                  <a:lnTo>
                    <a:pt x="1974" y="342"/>
                  </a:lnTo>
                  <a:lnTo>
                    <a:pt x="1968" y="336"/>
                  </a:lnTo>
                  <a:lnTo>
                    <a:pt x="1968" y="324"/>
                  </a:lnTo>
                  <a:lnTo>
                    <a:pt x="1902" y="324"/>
                  </a:lnTo>
                  <a:lnTo>
                    <a:pt x="1902" y="348"/>
                  </a:lnTo>
                  <a:lnTo>
                    <a:pt x="1896" y="354"/>
                  </a:lnTo>
                  <a:lnTo>
                    <a:pt x="1890" y="354"/>
                  </a:lnTo>
                  <a:lnTo>
                    <a:pt x="1878" y="348"/>
                  </a:lnTo>
                  <a:lnTo>
                    <a:pt x="1866" y="336"/>
                  </a:lnTo>
                  <a:lnTo>
                    <a:pt x="1812" y="336"/>
                  </a:lnTo>
                  <a:lnTo>
                    <a:pt x="1806" y="342"/>
                  </a:lnTo>
                  <a:lnTo>
                    <a:pt x="1812" y="342"/>
                  </a:lnTo>
                  <a:lnTo>
                    <a:pt x="1812" y="348"/>
                  </a:lnTo>
                  <a:lnTo>
                    <a:pt x="1794" y="348"/>
                  </a:lnTo>
                  <a:lnTo>
                    <a:pt x="1788" y="342"/>
                  </a:lnTo>
                  <a:lnTo>
                    <a:pt x="1776" y="336"/>
                  </a:lnTo>
                  <a:lnTo>
                    <a:pt x="1770" y="324"/>
                  </a:lnTo>
                  <a:lnTo>
                    <a:pt x="1770" y="306"/>
                  </a:lnTo>
                  <a:lnTo>
                    <a:pt x="1776" y="306"/>
                  </a:lnTo>
                  <a:lnTo>
                    <a:pt x="1770" y="294"/>
                  </a:lnTo>
                  <a:lnTo>
                    <a:pt x="1764" y="270"/>
                  </a:lnTo>
                  <a:lnTo>
                    <a:pt x="1758" y="258"/>
                  </a:lnTo>
                  <a:lnTo>
                    <a:pt x="1758" y="174"/>
                  </a:lnTo>
                  <a:lnTo>
                    <a:pt x="1740" y="174"/>
                  </a:lnTo>
                  <a:lnTo>
                    <a:pt x="1716" y="168"/>
                  </a:lnTo>
                  <a:lnTo>
                    <a:pt x="1710" y="174"/>
                  </a:lnTo>
                  <a:lnTo>
                    <a:pt x="1698" y="180"/>
                  </a:lnTo>
                  <a:lnTo>
                    <a:pt x="1674" y="180"/>
                  </a:lnTo>
                  <a:lnTo>
                    <a:pt x="1662" y="174"/>
                  </a:lnTo>
                  <a:lnTo>
                    <a:pt x="1644" y="156"/>
                  </a:lnTo>
                  <a:lnTo>
                    <a:pt x="1608" y="156"/>
                  </a:lnTo>
                  <a:lnTo>
                    <a:pt x="1596" y="150"/>
                  </a:lnTo>
                  <a:lnTo>
                    <a:pt x="1578" y="150"/>
                  </a:lnTo>
                  <a:lnTo>
                    <a:pt x="1548" y="180"/>
                  </a:lnTo>
                  <a:lnTo>
                    <a:pt x="1548" y="192"/>
                  </a:lnTo>
                  <a:lnTo>
                    <a:pt x="1536" y="204"/>
                  </a:lnTo>
                  <a:lnTo>
                    <a:pt x="1500" y="204"/>
                  </a:lnTo>
                  <a:lnTo>
                    <a:pt x="1488" y="216"/>
                  </a:lnTo>
                  <a:lnTo>
                    <a:pt x="1440" y="216"/>
                  </a:lnTo>
                  <a:lnTo>
                    <a:pt x="1440" y="222"/>
                  </a:lnTo>
                  <a:lnTo>
                    <a:pt x="1422" y="240"/>
                  </a:lnTo>
                  <a:lnTo>
                    <a:pt x="1416" y="240"/>
                  </a:lnTo>
                  <a:lnTo>
                    <a:pt x="1416" y="234"/>
                  </a:lnTo>
                  <a:lnTo>
                    <a:pt x="1410" y="228"/>
                  </a:lnTo>
                  <a:lnTo>
                    <a:pt x="1392" y="228"/>
                  </a:lnTo>
                  <a:lnTo>
                    <a:pt x="1380" y="234"/>
                  </a:lnTo>
                  <a:lnTo>
                    <a:pt x="1356" y="234"/>
                  </a:lnTo>
                  <a:lnTo>
                    <a:pt x="1344" y="228"/>
                  </a:lnTo>
                  <a:lnTo>
                    <a:pt x="1338" y="228"/>
                  </a:lnTo>
                  <a:lnTo>
                    <a:pt x="1332" y="222"/>
                  </a:lnTo>
                  <a:lnTo>
                    <a:pt x="1266" y="222"/>
                  </a:lnTo>
                  <a:lnTo>
                    <a:pt x="1260" y="216"/>
                  </a:lnTo>
                  <a:lnTo>
                    <a:pt x="1260" y="204"/>
                  </a:lnTo>
                  <a:lnTo>
                    <a:pt x="1248" y="198"/>
                  </a:lnTo>
                  <a:lnTo>
                    <a:pt x="1230" y="198"/>
                  </a:lnTo>
                  <a:lnTo>
                    <a:pt x="1230" y="192"/>
                  </a:lnTo>
                  <a:lnTo>
                    <a:pt x="1218" y="180"/>
                  </a:lnTo>
                  <a:lnTo>
                    <a:pt x="1218" y="174"/>
                  </a:lnTo>
                  <a:lnTo>
                    <a:pt x="1212" y="168"/>
                  </a:lnTo>
                  <a:lnTo>
                    <a:pt x="1152" y="168"/>
                  </a:lnTo>
                  <a:lnTo>
                    <a:pt x="1128" y="144"/>
                  </a:lnTo>
                  <a:lnTo>
                    <a:pt x="1092" y="144"/>
                  </a:lnTo>
                  <a:lnTo>
                    <a:pt x="1086" y="138"/>
                  </a:lnTo>
                  <a:lnTo>
                    <a:pt x="1080" y="138"/>
                  </a:lnTo>
                  <a:lnTo>
                    <a:pt x="1068" y="132"/>
                  </a:lnTo>
                  <a:lnTo>
                    <a:pt x="1020" y="132"/>
                  </a:lnTo>
                  <a:lnTo>
                    <a:pt x="966" y="150"/>
                  </a:lnTo>
                  <a:lnTo>
                    <a:pt x="954" y="156"/>
                  </a:lnTo>
                  <a:lnTo>
                    <a:pt x="942" y="156"/>
                  </a:lnTo>
                  <a:lnTo>
                    <a:pt x="930" y="150"/>
                  </a:lnTo>
                  <a:lnTo>
                    <a:pt x="918" y="150"/>
                  </a:lnTo>
                  <a:lnTo>
                    <a:pt x="912" y="144"/>
                  </a:lnTo>
                  <a:lnTo>
                    <a:pt x="882" y="144"/>
                  </a:lnTo>
                  <a:lnTo>
                    <a:pt x="864" y="126"/>
                  </a:lnTo>
                  <a:lnTo>
                    <a:pt x="864" y="120"/>
                  </a:lnTo>
                  <a:lnTo>
                    <a:pt x="840" y="126"/>
                  </a:lnTo>
                  <a:lnTo>
                    <a:pt x="840" y="120"/>
                  </a:lnTo>
                  <a:lnTo>
                    <a:pt x="834" y="114"/>
                  </a:lnTo>
                  <a:lnTo>
                    <a:pt x="822" y="90"/>
                  </a:lnTo>
                  <a:lnTo>
                    <a:pt x="810" y="78"/>
                  </a:lnTo>
                  <a:lnTo>
                    <a:pt x="804" y="66"/>
                  </a:lnTo>
                  <a:lnTo>
                    <a:pt x="798" y="60"/>
                  </a:lnTo>
                  <a:lnTo>
                    <a:pt x="786" y="54"/>
                  </a:lnTo>
                  <a:lnTo>
                    <a:pt x="768" y="54"/>
                  </a:lnTo>
                  <a:lnTo>
                    <a:pt x="756" y="60"/>
                  </a:lnTo>
                  <a:lnTo>
                    <a:pt x="750" y="60"/>
                  </a:lnTo>
                  <a:lnTo>
                    <a:pt x="726" y="48"/>
                  </a:lnTo>
                  <a:lnTo>
                    <a:pt x="720" y="42"/>
                  </a:lnTo>
                  <a:lnTo>
                    <a:pt x="708" y="36"/>
                  </a:lnTo>
                  <a:lnTo>
                    <a:pt x="672" y="36"/>
                  </a:lnTo>
                  <a:lnTo>
                    <a:pt x="648" y="30"/>
                  </a:lnTo>
                  <a:lnTo>
                    <a:pt x="636" y="30"/>
                  </a:lnTo>
                  <a:lnTo>
                    <a:pt x="576" y="0"/>
                  </a:lnTo>
                  <a:lnTo>
                    <a:pt x="576" y="18"/>
                  </a:lnTo>
                  <a:lnTo>
                    <a:pt x="570" y="30"/>
                  </a:lnTo>
                  <a:lnTo>
                    <a:pt x="558" y="36"/>
                  </a:lnTo>
                  <a:lnTo>
                    <a:pt x="552" y="36"/>
                  </a:lnTo>
                  <a:lnTo>
                    <a:pt x="558" y="48"/>
                  </a:lnTo>
                  <a:lnTo>
                    <a:pt x="540" y="48"/>
                  </a:lnTo>
                  <a:lnTo>
                    <a:pt x="540" y="60"/>
                  </a:lnTo>
                  <a:lnTo>
                    <a:pt x="552" y="72"/>
                  </a:lnTo>
                  <a:lnTo>
                    <a:pt x="558" y="90"/>
                  </a:lnTo>
                  <a:lnTo>
                    <a:pt x="582" y="126"/>
                  </a:lnTo>
                  <a:lnTo>
                    <a:pt x="588" y="126"/>
                  </a:lnTo>
                  <a:lnTo>
                    <a:pt x="594" y="132"/>
                  </a:lnTo>
                  <a:lnTo>
                    <a:pt x="600" y="144"/>
                  </a:lnTo>
                  <a:lnTo>
                    <a:pt x="600" y="168"/>
                  </a:lnTo>
                  <a:lnTo>
                    <a:pt x="582" y="168"/>
                  </a:lnTo>
                  <a:lnTo>
                    <a:pt x="582" y="174"/>
                  </a:lnTo>
                  <a:lnTo>
                    <a:pt x="576" y="180"/>
                  </a:lnTo>
                  <a:lnTo>
                    <a:pt x="552" y="192"/>
                  </a:lnTo>
                  <a:lnTo>
                    <a:pt x="546" y="186"/>
                  </a:lnTo>
                  <a:lnTo>
                    <a:pt x="546" y="174"/>
                  </a:lnTo>
                  <a:lnTo>
                    <a:pt x="498" y="180"/>
                  </a:lnTo>
                  <a:lnTo>
                    <a:pt x="498" y="168"/>
                  </a:lnTo>
                  <a:lnTo>
                    <a:pt x="456" y="168"/>
                  </a:lnTo>
                  <a:lnTo>
                    <a:pt x="450" y="174"/>
                  </a:lnTo>
                  <a:lnTo>
                    <a:pt x="450" y="180"/>
                  </a:lnTo>
                  <a:lnTo>
                    <a:pt x="444" y="168"/>
                  </a:lnTo>
                  <a:lnTo>
                    <a:pt x="420" y="174"/>
                  </a:lnTo>
                  <a:lnTo>
                    <a:pt x="414" y="162"/>
                  </a:lnTo>
                  <a:lnTo>
                    <a:pt x="384" y="162"/>
                  </a:lnTo>
                  <a:lnTo>
                    <a:pt x="366" y="156"/>
                  </a:lnTo>
                  <a:lnTo>
                    <a:pt x="360" y="150"/>
                  </a:lnTo>
                  <a:lnTo>
                    <a:pt x="360" y="138"/>
                  </a:lnTo>
                  <a:lnTo>
                    <a:pt x="354" y="132"/>
                  </a:lnTo>
                  <a:lnTo>
                    <a:pt x="354" y="126"/>
                  </a:lnTo>
                  <a:lnTo>
                    <a:pt x="312" y="126"/>
                  </a:lnTo>
                  <a:lnTo>
                    <a:pt x="294" y="132"/>
                  </a:lnTo>
                  <a:lnTo>
                    <a:pt x="270" y="132"/>
                  </a:lnTo>
                  <a:lnTo>
                    <a:pt x="264" y="114"/>
                  </a:lnTo>
                  <a:lnTo>
                    <a:pt x="228" y="114"/>
                  </a:lnTo>
                  <a:lnTo>
                    <a:pt x="228" y="108"/>
                  </a:lnTo>
                  <a:lnTo>
                    <a:pt x="210" y="114"/>
                  </a:lnTo>
                  <a:lnTo>
                    <a:pt x="204" y="108"/>
                  </a:lnTo>
                  <a:lnTo>
                    <a:pt x="186" y="108"/>
                  </a:lnTo>
                  <a:lnTo>
                    <a:pt x="180" y="114"/>
                  </a:lnTo>
                  <a:lnTo>
                    <a:pt x="180" y="120"/>
                  </a:lnTo>
                  <a:lnTo>
                    <a:pt x="174" y="126"/>
                  </a:lnTo>
                  <a:lnTo>
                    <a:pt x="174" y="132"/>
                  </a:lnTo>
                  <a:lnTo>
                    <a:pt x="150" y="132"/>
                  </a:lnTo>
                  <a:lnTo>
                    <a:pt x="138" y="150"/>
                  </a:lnTo>
                  <a:lnTo>
                    <a:pt x="120" y="150"/>
                  </a:lnTo>
                  <a:lnTo>
                    <a:pt x="84" y="186"/>
                  </a:lnTo>
                  <a:lnTo>
                    <a:pt x="84" y="192"/>
                  </a:lnTo>
                  <a:lnTo>
                    <a:pt x="90" y="198"/>
                  </a:lnTo>
                  <a:lnTo>
                    <a:pt x="66" y="198"/>
                  </a:lnTo>
                  <a:lnTo>
                    <a:pt x="72" y="210"/>
                  </a:lnTo>
                  <a:lnTo>
                    <a:pt x="12" y="210"/>
                  </a:lnTo>
                  <a:lnTo>
                    <a:pt x="12" y="228"/>
                  </a:lnTo>
                  <a:lnTo>
                    <a:pt x="0" y="240"/>
                  </a:lnTo>
                  <a:lnTo>
                    <a:pt x="6" y="246"/>
                  </a:lnTo>
                  <a:lnTo>
                    <a:pt x="6" y="258"/>
                  </a:lnTo>
                  <a:lnTo>
                    <a:pt x="0" y="264"/>
                  </a:lnTo>
                  <a:lnTo>
                    <a:pt x="24" y="264"/>
                  </a:lnTo>
                  <a:lnTo>
                    <a:pt x="24" y="282"/>
                  </a:lnTo>
                  <a:lnTo>
                    <a:pt x="36" y="288"/>
                  </a:lnTo>
                  <a:lnTo>
                    <a:pt x="48" y="288"/>
                  </a:lnTo>
                  <a:lnTo>
                    <a:pt x="60" y="294"/>
                  </a:lnTo>
                  <a:lnTo>
                    <a:pt x="72" y="294"/>
                  </a:lnTo>
                  <a:lnTo>
                    <a:pt x="78" y="306"/>
                  </a:lnTo>
                  <a:lnTo>
                    <a:pt x="102" y="330"/>
                  </a:lnTo>
                  <a:lnTo>
                    <a:pt x="138" y="318"/>
                  </a:lnTo>
                  <a:lnTo>
                    <a:pt x="156" y="330"/>
                  </a:lnTo>
                  <a:lnTo>
                    <a:pt x="162" y="336"/>
                  </a:lnTo>
                  <a:lnTo>
                    <a:pt x="174" y="336"/>
                  </a:lnTo>
                  <a:lnTo>
                    <a:pt x="186" y="342"/>
                  </a:lnTo>
                  <a:lnTo>
                    <a:pt x="204" y="348"/>
                  </a:lnTo>
                  <a:lnTo>
                    <a:pt x="222" y="366"/>
                  </a:lnTo>
                  <a:lnTo>
                    <a:pt x="228" y="378"/>
                  </a:lnTo>
                  <a:lnTo>
                    <a:pt x="240" y="396"/>
                  </a:lnTo>
                  <a:lnTo>
                    <a:pt x="264" y="414"/>
                  </a:lnTo>
                  <a:lnTo>
                    <a:pt x="276" y="426"/>
                  </a:lnTo>
                  <a:lnTo>
                    <a:pt x="282" y="438"/>
                  </a:lnTo>
                  <a:lnTo>
                    <a:pt x="282" y="450"/>
                  </a:lnTo>
                  <a:lnTo>
                    <a:pt x="288" y="456"/>
                  </a:lnTo>
                  <a:lnTo>
                    <a:pt x="294" y="468"/>
                  </a:lnTo>
                  <a:lnTo>
                    <a:pt x="300" y="474"/>
                  </a:lnTo>
                  <a:lnTo>
                    <a:pt x="300" y="480"/>
                  </a:lnTo>
                  <a:lnTo>
                    <a:pt x="288" y="492"/>
                  </a:lnTo>
                  <a:lnTo>
                    <a:pt x="288" y="504"/>
                  </a:lnTo>
                  <a:lnTo>
                    <a:pt x="294" y="522"/>
                  </a:lnTo>
                  <a:lnTo>
                    <a:pt x="300" y="534"/>
                  </a:lnTo>
                  <a:lnTo>
                    <a:pt x="306" y="540"/>
                  </a:lnTo>
                  <a:lnTo>
                    <a:pt x="318" y="546"/>
                  </a:lnTo>
                  <a:lnTo>
                    <a:pt x="330" y="546"/>
                  </a:lnTo>
                  <a:lnTo>
                    <a:pt x="342" y="552"/>
                  </a:lnTo>
                  <a:lnTo>
                    <a:pt x="348" y="552"/>
                  </a:lnTo>
                  <a:lnTo>
                    <a:pt x="366" y="558"/>
                  </a:lnTo>
                  <a:lnTo>
                    <a:pt x="390" y="564"/>
                  </a:lnTo>
                  <a:lnTo>
                    <a:pt x="486" y="564"/>
                  </a:lnTo>
                  <a:lnTo>
                    <a:pt x="492" y="570"/>
                  </a:lnTo>
                  <a:lnTo>
                    <a:pt x="498" y="570"/>
                  </a:lnTo>
                  <a:lnTo>
                    <a:pt x="510" y="576"/>
                  </a:lnTo>
                  <a:lnTo>
                    <a:pt x="516" y="576"/>
                  </a:lnTo>
                  <a:lnTo>
                    <a:pt x="528" y="582"/>
                  </a:lnTo>
                  <a:lnTo>
                    <a:pt x="534" y="594"/>
                  </a:lnTo>
                  <a:lnTo>
                    <a:pt x="540" y="594"/>
                  </a:lnTo>
                  <a:lnTo>
                    <a:pt x="546" y="600"/>
                  </a:lnTo>
                  <a:lnTo>
                    <a:pt x="552" y="600"/>
                  </a:lnTo>
                  <a:lnTo>
                    <a:pt x="576" y="612"/>
                  </a:lnTo>
                  <a:lnTo>
                    <a:pt x="588" y="612"/>
                  </a:lnTo>
                  <a:lnTo>
                    <a:pt x="594" y="618"/>
                  </a:lnTo>
                  <a:lnTo>
                    <a:pt x="630" y="618"/>
                  </a:lnTo>
                  <a:lnTo>
                    <a:pt x="642" y="642"/>
                  </a:lnTo>
                  <a:lnTo>
                    <a:pt x="684" y="684"/>
                  </a:lnTo>
                  <a:lnTo>
                    <a:pt x="690" y="696"/>
                  </a:lnTo>
                  <a:lnTo>
                    <a:pt x="720" y="726"/>
                  </a:lnTo>
                  <a:lnTo>
                    <a:pt x="732" y="732"/>
                  </a:lnTo>
                  <a:lnTo>
                    <a:pt x="738" y="744"/>
                  </a:lnTo>
                  <a:lnTo>
                    <a:pt x="750" y="750"/>
                  </a:lnTo>
                  <a:lnTo>
                    <a:pt x="810" y="744"/>
                  </a:lnTo>
                  <a:lnTo>
                    <a:pt x="864" y="750"/>
                  </a:lnTo>
                  <a:lnTo>
                    <a:pt x="912" y="750"/>
                  </a:lnTo>
                  <a:lnTo>
                    <a:pt x="948" y="756"/>
                  </a:lnTo>
                  <a:lnTo>
                    <a:pt x="954" y="750"/>
                  </a:lnTo>
                  <a:lnTo>
                    <a:pt x="966" y="744"/>
                  </a:lnTo>
                  <a:lnTo>
                    <a:pt x="972" y="738"/>
                  </a:lnTo>
                  <a:lnTo>
                    <a:pt x="984" y="738"/>
                  </a:lnTo>
                  <a:lnTo>
                    <a:pt x="996" y="744"/>
                  </a:lnTo>
                  <a:lnTo>
                    <a:pt x="1002" y="744"/>
                  </a:lnTo>
                  <a:lnTo>
                    <a:pt x="1008" y="750"/>
                  </a:lnTo>
                  <a:lnTo>
                    <a:pt x="1062" y="750"/>
                  </a:lnTo>
                  <a:lnTo>
                    <a:pt x="1080" y="756"/>
                  </a:lnTo>
                  <a:lnTo>
                    <a:pt x="1092" y="756"/>
                  </a:lnTo>
                  <a:lnTo>
                    <a:pt x="1110" y="774"/>
                  </a:lnTo>
                  <a:lnTo>
                    <a:pt x="1116" y="786"/>
                  </a:lnTo>
                  <a:lnTo>
                    <a:pt x="1128" y="792"/>
                  </a:lnTo>
                  <a:lnTo>
                    <a:pt x="1152" y="798"/>
                  </a:lnTo>
                  <a:lnTo>
                    <a:pt x="1200" y="798"/>
                  </a:lnTo>
                  <a:lnTo>
                    <a:pt x="1218" y="804"/>
                  </a:lnTo>
                  <a:lnTo>
                    <a:pt x="1242" y="816"/>
                  </a:lnTo>
                  <a:lnTo>
                    <a:pt x="1248" y="822"/>
                  </a:lnTo>
                  <a:lnTo>
                    <a:pt x="1260" y="822"/>
                  </a:lnTo>
                  <a:lnTo>
                    <a:pt x="1266" y="816"/>
                  </a:lnTo>
                  <a:lnTo>
                    <a:pt x="1278" y="816"/>
                  </a:lnTo>
                  <a:lnTo>
                    <a:pt x="1290" y="810"/>
                  </a:lnTo>
                  <a:lnTo>
                    <a:pt x="1302" y="810"/>
                  </a:lnTo>
                  <a:lnTo>
                    <a:pt x="1302" y="816"/>
                  </a:lnTo>
                  <a:lnTo>
                    <a:pt x="1308" y="828"/>
                  </a:lnTo>
                  <a:lnTo>
                    <a:pt x="1314" y="828"/>
                  </a:lnTo>
                  <a:lnTo>
                    <a:pt x="1320" y="834"/>
                  </a:lnTo>
                  <a:lnTo>
                    <a:pt x="1338" y="834"/>
                  </a:lnTo>
                  <a:lnTo>
                    <a:pt x="1344" y="828"/>
                  </a:lnTo>
                  <a:lnTo>
                    <a:pt x="1362" y="816"/>
                  </a:lnTo>
                  <a:lnTo>
                    <a:pt x="1422" y="780"/>
                  </a:lnTo>
                  <a:lnTo>
                    <a:pt x="1440" y="768"/>
                  </a:lnTo>
                  <a:lnTo>
                    <a:pt x="1596" y="768"/>
                  </a:lnTo>
                  <a:lnTo>
                    <a:pt x="1614" y="744"/>
                  </a:lnTo>
                  <a:lnTo>
                    <a:pt x="1638" y="744"/>
                  </a:lnTo>
                  <a:lnTo>
                    <a:pt x="1650" y="738"/>
                  </a:lnTo>
                  <a:lnTo>
                    <a:pt x="1662" y="714"/>
                  </a:lnTo>
                  <a:lnTo>
                    <a:pt x="1662" y="708"/>
                  </a:lnTo>
                  <a:lnTo>
                    <a:pt x="1668" y="696"/>
                  </a:lnTo>
                  <a:lnTo>
                    <a:pt x="1668" y="690"/>
                  </a:lnTo>
                  <a:lnTo>
                    <a:pt x="1692" y="690"/>
                  </a:lnTo>
                  <a:lnTo>
                    <a:pt x="1704" y="678"/>
                  </a:lnTo>
                  <a:lnTo>
                    <a:pt x="1710" y="666"/>
                  </a:lnTo>
                  <a:lnTo>
                    <a:pt x="1716" y="660"/>
                  </a:lnTo>
                  <a:lnTo>
                    <a:pt x="1716" y="654"/>
                  </a:lnTo>
                  <a:lnTo>
                    <a:pt x="1704" y="648"/>
                  </a:lnTo>
                  <a:lnTo>
                    <a:pt x="1686" y="630"/>
                  </a:lnTo>
                  <a:lnTo>
                    <a:pt x="1674" y="624"/>
                  </a:lnTo>
                  <a:lnTo>
                    <a:pt x="1656" y="606"/>
                  </a:lnTo>
                  <a:lnTo>
                    <a:pt x="1650" y="594"/>
                  </a:lnTo>
                  <a:lnTo>
                    <a:pt x="1650" y="582"/>
                  </a:lnTo>
                  <a:lnTo>
                    <a:pt x="1656" y="570"/>
                  </a:lnTo>
                  <a:lnTo>
                    <a:pt x="1656" y="558"/>
                  </a:lnTo>
                  <a:lnTo>
                    <a:pt x="1668" y="552"/>
                  </a:lnTo>
                  <a:lnTo>
                    <a:pt x="1692" y="552"/>
                  </a:lnTo>
                  <a:lnTo>
                    <a:pt x="1698" y="558"/>
                  </a:lnTo>
                  <a:lnTo>
                    <a:pt x="1704" y="558"/>
                  </a:lnTo>
                  <a:lnTo>
                    <a:pt x="1710" y="564"/>
                  </a:lnTo>
                  <a:lnTo>
                    <a:pt x="1722" y="570"/>
                  </a:lnTo>
                  <a:lnTo>
                    <a:pt x="1728" y="576"/>
                  </a:lnTo>
                  <a:lnTo>
                    <a:pt x="1740" y="582"/>
                  </a:lnTo>
                  <a:lnTo>
                    <a:pt x="1764" y="582"/>
                  </a:lnTo>
                  <a:lnTo>
                    <a:pt x="1776" y="576"/>
                  </a:lnTo>
                  <a:lnTo>
                    <a:pt x="1794" y="576"/>
                  </a:lnTo>
                  <a:lnTo>
                    <a:pt x="1806" y="570"/>
                  </a:lnTo>
                  <a:lnTo>
                    <a:pt x="1812" y="558"/>
                  </a:lnTo>
                  <a:lnTo>
                    <a:pt x="1818" y="552"/>
                  </a:lnTo>
                  <a:lnTo>
                    <a:pt x="1818" y="528"/>
                  </a:lnTo>
                  <a:lnTo>
                    <a:pt x="1890" y="528"/>
                  </a:lnTo>
                  <a:lnTo>
                    <a:pt x="1914" y="504"/>
                  </a:lnTo>
                  <a:lnTo>
                    <a:pt x="1902" y="492"/>
                  </a:lnTo>
                  <a:lnTo>
                    <a:pt x="1896" y="480"/>
                  </a:lnTo>
                  <a:lnTo>
                    <a:pt x="1902" y="474"/>
                  </a:lnTo>
                  <a:lnTo>
                    <a:pt x="1938" y="456"/>
                  </a:lnTo>
                  <a:lnTo>
                    <a:pt x="1950" y="456"/>
                  </a:lnTo>
                  <a:lnTo>
                    <a:pt x="1950" y="438"/>
                  </a:lnTo>
                  <a:lnTo>
                    <a:pt x="1980" y="444"/>
                  </a:lnTo>
                  <a:lnTo>
                    <a:pt x="1998" y="426"/>
                  </a:lnTo>
                  <a:lnTo>
                    <a:pt x="2004" y="426"/>
                  </a:lnTo>
                  <a:lnTo>
                    <a:pt x="2010" y="420"/>
                  </a:lnTo>
                  <a:lnTo>
                    <a:pt x="2040" y="420"/>
                  </a:lnTo>
                  <a:lnTo>
                    <a:pt x="2052" y="426"/>
                  </a:lnTo>
                  <a:lnTo>
                    <a:pt x="2058" y="432"/>
                  </a:lnTo>
                  <a:lnTo>
                    <a:pt x="2094" y="432"/>
                  </a:lnTo>
                  <a:lnTo>
                    <a:pt x="2100" y="426"/>
                  </a:lnTo>
                  <a:lnTo>
                    <a:pt x="2100" y="420"/>
                  </a:lnTo>
                  <a:lnTo>
                    <a:pt x="2088" y="408"/>
                  </a:lnTo>
                  <a:close/>
                </a:path>
              </a:pathLst>
            </a:cu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2700000" scaled="1"/>
              <a:tileRect/>
            </a:gra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10" name="Moldova" descr="© INSCALE GmbH, 05.05.2010&#10;http://www.presentationload.com/"/>
            <p:cNvSpPr>
              <a:spLocks/>
            </p:cNvSpPr>
            <p:nvPr/>
          </p:nvSpPr>
          <p:spPr bwMode="gray">
            <a:xfrm>
              <a:off x="4921254" y="2511425"/>
              <a:ext cx="87312" cy="95250"/>
            </a:xfrm>
            <a:custGeom>
              <a:avLst/>
              <a:gdLst>
                <a:gd name="T0" fmla="*/ 2147483647 w 216"/>
                <a:gd name="T1" fmla="*/ 2147483647 h 240"/>
                <a:gd name="T2" fmla="*/ 2147483647 w 216"/>
                <a:gd name="T3" fmla="*/ 2147483647 h 240"/>
                <a:gd name="T4" fmla="*/ 2147483647 w 216"/>
                <a:gd name="T5" fmla="*/ 2147483647 h 240"/>
                <a:gd name="T6" fmla="*/ 2147483647 w 216"/>
                <a:gd name="T7" fmla="*/ 2147483647 h 240"/>
                <a:gd name="T8" fmla="*/ 2147483647 w 216"/>
                <a:gd name="T9" fmla="*/ 2147483647 h 240"/>
                <a:gd name="T10" fmla="*/ 2147483647 w 216"/>
                <a:gd name="T11" fmla="*/ 2147483647 h 240"/>
                <a:gd name="T12" fmla="*/ 2147483647 w 216"/>
                <a:gd name="T13" fmla="*/ 2147483647 h 240"/>
                <a:gd name="T14" fmla="*/ 2147483647 w 216"/>
                <a:gd name="T15" fmla="*/ 2147483647 h 240"/>
                <a:gd name="T16" fmla="*/ 2147483647 w 216"/>
                <a:gd name="T17" fmla="*/ 2147483647 h 240"/>
                <a:gd name="T18" fmla="*/ 2147483647 w 216"/>
                <a:gd name="T19" fmla="*/ 2147483647 h 240"/>
                <a:gd name="T20" fmla="*/ 2147483647 w 216"/>
                <a:gd name="T21" fmla="*/ 2147483647 h 240"/>
                <a:gd name="T22" fmla="*/ 2147483647 w 216"/>
                <a:gd name="T23" fmla="*/ 2147483647 h 240"/>
                <a:gd name="T24" fmla="*/ 2147483647 w 216"/>
                <a:gd name="T25" fmla="*/ 2147483647 h 240"/>
                <a:gd name="T26" fmla="*/ 2147483647 w 216"/>
                <a:gd name="T27" fmla="*/ 2147483647 h 240"/>
                <a:gd name="T28" fmla="*/ 2147483647 w 216"/>
                <a:gd name="T29" fmla="*/ 2147483647 h 240"/>
                <a:gd name="T30" fmla="*/ 2147483647 w 216"/>
                <a:gd name="T31" fmla="*/ 2147483647 h 240"/>
                <a:gd name="T32" fmla="*/ 2147483647 w 216"/>
                <a:gd name="T33" fmla="*/ 2147483647 h 240"/>
                <a:gd name="T34" fmla="*/ 2147483647 w 216"/>
                <a:gd name="T35" fmla="*/ 2147483647 h 240"/>
                <a:gd name="T36" fmla="*/ 2147483647 w 216"/>
                <a:gd name="T37" fmla="*/ 2147483647 h 240"/>
                <a:gd name="T38" fmla="*/ 2147483647 w 216"/>
                <a:gd name="T39" fmla="*/ 2147483647 h 240"/>
                <a:gd name="T40" fmla="*/ 2147483647 w 216"/>
                <a:gd name="T41" fmla="*/ 2147483647 h 240"/>
                <a:gd name="T42" fmla="*/ 2147483647 w 216"/>
                <a:gd name="T43" fmla="*/ 2147483647 h 240"/>
                <a:gd name="T44" fmla="*/ 2147483647 w 216"/>
                <a:gd name="T45" fmla="*/ 2147483647 h 240"/>
                <a:gd name="T46" fmla="*/ 2147483647 w 216"/>
                <a:gd name="T47" fmla="*/ 2147483647 h 240"/>
                <a:gd name="T48" fmla="*/ 2147483647 w 216"/>
                <a:gd name="T49" fmla="*/ 2147483647 h 240"/>
                <a:gd name="T50" fmla="*/ 2147483647 w 216"/>
                <a:gd name="T51" fmla="*/ 2147483647 h 240"/>
                <a:gd name="T52" fmla="*/ 2147483647 w 216"/>
                <a:gd name="T53" fmla="*/ 2147483647 h 240"/>
                <a:gd name="T54" fmla="*/ 2147483647 w 216"/>
                <a:gd name="T55" fmla="*/ 2147483647 h 240"/>
                <a:gd name="T56" fmla="*/ 2147483647 w 216"/>
                <a:gd name="T57" fmla="*/ 2147483647 h 240"/>
                <a:gd name="T58" fmla="*/ 2147483647 w 216"/>
                <a:gd name="T59" fmla="*/ 2147483647 h 240"/>
                <a:gd name="T60" fmla="*/ 2147483647 w 216"/>
                <a:gd name="T61" fmla="*/ 0 h 240"/>
                <a:gd name="T62" fmla="*/ 2147483647 w 216"/>
                <a:gd name="T63" fmla="*/ 2147483647 h 240"/>
                <a:gd name="T64" fmla="*/ 2147483647 w 216"/>
                <a:gd name="T65" fmla="*/ 2147483647 h 240"/>
                <a:gd name="T66" fmla="*/ 2147483647 w 216"/>
                <a:gd name="T67" fmla="*/ 2147483647 h 24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
                <a:gd name="T103" fmla="*/ 0 h 240"/>
                <a:gd name="T104" fmla="*/ 216 w 216"/>
                <a:gd name="T105" fmla="*/ 240 h 24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 h="240">
                  <a:moveTo>
                    <a:pt x="0" y="18"/>
                  </a:moveTo>
                  <a:lnTo>
                    <a:pt x="18" y="24"/>
                  </a:lnTo>
                  <a:lnTo>
                    <a:pt x="24" y="30"/>
                  </a:lnTo>
                  <a:lnTo>
                    <a:pt x="30" y="42"/>
                  </a:lnTo>
                  <a:lnTo>
                    <a:pt x="36" y="48"/>
                  </a:lnTo>
                  <a:lnTo>
                    <a:pt x="36" y="60"/>
                  </a:lnTo>
                  <a:lnTo>
                    <a:pt x="60" y="72"/>
                  </a:lnTo>
                  <a:lnTo>
                    <a:pt x="66" y="96"/>
                  </a:lnTo>
                  <a:lnTo>
                    <a:pt x="78" y="96"/>
                  </a:lnTo>
                  <a:lnTo>
                    <a:pt x="84" y="114"/>
                  </a:lnTo>
                  <a:lnTo>
                    <a:pt x="102" y="114"/>
                  </a:lnTo>
                  <a:lnTo>
                    <a:pt x="108" y="120"/>
                  </a:lnTo>
                  <a:lnTo>
                    <a:pt x="108" y="162"/>
                  </a:lnTo>
                  <a:lnTo>
                    <a:pt x="114" y="162"/>
                  </a:lnTo>
                  <a:lnTo>
                    <a:pt x="108" y="168"/>
                  </a:lnTo>
                  <a:lnTo>
                    <a:pt x="108" y="180"/>
                  </a:lnTo>
                  <a:lnTo>
                    <a:pt x="102" y="186"/>
                  </a:lnTo>
                  <a:lnTo>
                    <a:pt x="102" y="198"/>
                  </a:lnTo>
                  <a:lnTo>
                    <a:pt x="108" y="210"/>
                  </a:lnTo>
                  <a:lnTo>
                    <a:pt x="114" y="216"/>
                  </a:lnTo>
                  <a:lnTo>
                    <a:pt x="114" y="240"/>
                  </a:lnTo>
                  <a:lnTo>
                    <a:pt x="138" y="234"/>
                  </a:lnTo>
                  <a:lnTo>
                    <a:pt x="138" y="222"/>
                  </a:lnTo>
                  <a:lnTo>
                    <a:pt x="132" y="216"/>
                  </a:lnTo>
                  <a:lnTo>
                    <a:pt x="132" y="204"/>
                  </a:lnTo>
                  <a:lnTo>
                    <a:pt x="138" y="204"/>
                  </a:lnTo>
                  <a:lnTo>
                    <a:pt x="150" y="198"/>
                  </a:lnTo>
                  <a:lnTo>
                    <a:pt x="156" y="192"/>
                  </a:lnTo>
                  <a:lnTo>
                    <a:pt x="174" y="180"/>
                  </a:lnTo>
                  <a:lnTo>
                    <a:pt x="168" y="174"/>
                  </a:lnTo>
                  <a:lnTo>
                    <a:pt x="156" y="168"/>
                  </a:lnTo>
                  <a:lnTo>
                    <a:pt x="150" y="168"/>
                  </a:lnTo>
                  <a:lnTo>
                    <a:pt x="150" y="162"/>
                  </a:lnTo>
                  <a:lnTo>
                    <a:pt x="156" y="156"/>
                  </a:lnTo>
                  <a:lnTo>
                    <a:pt x="174" y="156"/>
                  </a:lnTo>
                  <a:lnTo>
                    <a:pt x="180" y="162"/>
                  </a:lnTo>
                  <a:lnTo>
                    <a:pt x="198" y="162"/>
                  </a:lnTo>
                  <a:lnTo>
                    <a:pt x="210" y="156"/>
                  </a:lnTo>
                  <a:lnTo>
                    <a:pt x="216" y="156"/>
                  </a:lnTo>
                  <a:lnTo>
                    <a:pt x="216" y="126"/>
                  </a:lnTo>
                  <a:lnTo>
                    <a:pt x="210" y="120"/>
                  </a:lnTo>
                  <a:lnTo>
                    <a:pt x="198" y="120"/>
                  </a:lnTo>
                  <a:lnTo>
                    <a:pt x="192" y="114"/>
                  </a:lnTo>
                  <a:lnTo>
                    <a:pt x="180" y="114"/>
                  </a:lnTo>
                  <a:lnTo>
                    <a:pt x="180" y="96"/>
                  </a:lnTo>
                  <a:lnTo>
                    <a:pt x="186" y="90"/>
                  </a:lnTo>
                  <a:lnTo>
                    <a:pt x="180" y="84"/>
                  </a:lnTo>
                  <a:lnTo>
                    <a:pt x="174" y="84"/>
                  </a:lnTo>
                  <a:lnTo>
                    <a:pt x="162" y="90"/>
                  </a:lnTo>
                  <a:lnTo>
                    <a:pt x="162" y="66"/>
                  </a:lnTo>
                  <a:lnTo>
                    <a:pt x="168" y="60"/>
                  </a:lnTo>
                  <a:lnTo>
                    <a:pt x="162" y="48"/>
                  </a:lnTo>
                  <a:lnTo>
                    <a:pt x="156" y="42"/>
                  </a:lnTo>
                  <a:lnTo>
                    <a:pt x="144" y="36"/>
                  </a:lnTo>
                  <a:lnTo>
                    <a:pt x="126" y="36"/>
                  </a:lnTo>
                  <a:lnTo>
                    <a:pt x="126" y="24"/>
                  </a:lnTo>
                  <a:lnTo>
                    <a:pt x="120" y="18"/>
                  </a:lnTo>
                  <a:lnTo>
                    <a:pt x="78" y="18"/>
                  </a:lnTo>
                  <a:lnTo>
                    <a:pt x="78" y="12"/>
                  </a:lnTo>
                  <a:lnTo>
                    <a:pt x="72" y="12"/>
                  </a:lnTo>
                  <a:lnTo>
                    <a:pt x="60" y="0"/>
                  </a:lnTo>
                  <a:lnTo>
                    <a:pt x="54" y="0"/>
                  </a:lnTo>
                  <a:lnTo>
                    <a:pt x="42" y="6"/>
                  </a:lnTo>
                  <a:lnTo>
                    <a:pt x="36" y="6"/>
                  </a:lnTo>
                  <a:lnTo>
                    <a:pt x="36" y="12"/>
                  </a:lnTo>
                  <a:lnTo>
                    <a:pt x="24" y="12"/>
                  </a:lnTo>
                  <a:lnTo>
                    <a:pt x="12" y="6"/>
                  </a:lnTo>
                  <a:lnTo>
                    <a:pt x="6" y="6"/>
                  </a:lnTo>
                  <a:lnTo>
                    <a:pt x="0" y="18"/>
                  </a:lnTo>
                  <a:close/>
                </a:path>
              </a:pathLst>
            </a:custGeom>
            <a:solidFill>
              <a:srgbClr val="00508C"/>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11" name="Mexico" descr="© INSCALE GmbH, 05.05.2010&#10;http://www.presentationload.com/"/>
            <p:cNvSpPr>
              <a:spLocks/>
            </p:cNvSpPr>
            <p:nvPr/>
          </p:nvSpPr>
          <p:spPr bwMode="gray">
            <a:xfrm>
              <a:off x="1031876" y="3019426"/>
              <a:ext cx="749301" cy="587375"/>
            </a:xfrm>
            <a:custGeom>
              <a:avLst/>
              <a:gdLst>
                <a:gd name="T0" fmla="*/ 2147483647 w 1860"/>
                <a:gd name="T1" fmla="*/ 2147483647 h 1458"/>
                <a:gd name="T2" fmla="*/ 2147483647 w 1860"/>
                <a:gd name="T3" fmla="*/ 2147483647 h 1458"/>
                <a:gd name="T4" fmla="*/ 2147483647 w 1860"/>
                <a:gd name="T5" fmla="*/ 2147483647 h 1458"/>
                <a:gd name="T6" fmla="*/ 2147483647 w 1860"/>
                <a:gd name="T7" fmla="*/ 2147483647 h 1458"/>
                <a:gd name="T8" fmla="*/ 2147483647 w 1860"/>
                <a:gd name="T9" fmla="*/ 2147483647 h 1458"/>
                <a:gd name="T10" fmla="*/ 2147483647 w 1860"/>
                <a:gd name="T11" fmla="*/ 2147483647 h 1458"/>
                <a:gd name="T12" fmla="*/ 2147483647 w 1860"/>
                <a:gd name="T13" fmla="*/ 2147483647 h 1458"/>
                <a:gd name="T14" fmla="*/ 2147483647 w 1860"/>
                <a:gd name="T15" fmla="*/ 2147483647 h 1458"/>
                <a:gd name="T16" fmla="*/ 2147483647 w 1860"/>
                <a:gd name="T17" fmla="*/ 2147483647 h 1458"/>
                <a:gd name="T18" fmla="*/ 2147483647 w 1860"/>
                <a:gd name="T19" fmla="*/ 2147483647 h 1458"/>
                <a:gd name="T20" fmla="*/ 2147483647 w 1860"/>
                <a:gd name="T21" fmla="*/ 2147483647 h 1458"/>
                <a:gd name="T22" fmla="*/ 2147483647 w 1860"/>
                <a:gd name="T23" fmla="*/ 2147483647 h 1458"/>
                <a:gd name="T24" fmla="*/ 2147483647 w 1860"/>
                <a:gd name="T25" fmla="*/ 2147483647 h 1458"/>
                <a:gd name="T26" fmla="*/ 2147483647 w 1860"/>
                <a:gd name="T27" fmla="*/ 2147483647 h 1458"/>
                <a:gd name="T28" fmla="*/ 2147483647 w 1860"/>
                <a:gd name="T29" fmla="*/ 2147483647 h 1458"/>
                <a:gd name="T30" fmla="*/ 2147483647 w 1860"/>
                <a:gd name="T31" fmla="*/ 2147483647 h 1458"/>
                <a:gd name="T32" fmla="*/ 2147483647 w 1860"/>
                <a:gd name="T33" fmla="*/ 2147483647 h 1458"/>
                <a:gd name="T34" fmla="*/ 2147483647 w 1860"/>
                <a:gd name="T35" fmla="*/ 2147483647 h 1458"/>
                <a:gd name="T36" fmla="*/ 2147483647 w 1860"/>
                <a:gd name="T37" fmla="*/ 2147483647 h 1458"/>
                <a:gd name="T38" fmla="*/ 2147483647 w 1860"/>
                <a:gd name="T39" fmla="*/ 2147483647 h 1458"/>
                <a:gd name="T40" fmla="*/ 2147483647 w 1860"/>
                <a:gd name="T41" fmla="*/ 2147483647 h 1458"/>
                <a:gd name="T42" fmla="*/ 2147483647 w 1860"/>
                <a:gd name="T43" fmla="*/ 2147483647 h 1458"/>
                <a:gd name="T44" fmla="*/ 2147483647 w 1860"/>
                <a:gd name="T45" fmla="*/ 2147483647 h 1458"/>
                <a:gd name="T46" fmla="*/ 2147483647 w 1860"/>
                <a:gd name="T47" fmla="*/ 2147483647 h 1458"/>
                <a:gd name="T48" fmla="*/ 2147483647 w 1860"/>
                <a:gd name="T49" fmla="*/ 2147483647 h 1458"/>
                <a:gd name="T50" fmla="*/ 2147483647 w 1860"/>
                <a:gd name="T51" fmla="*/ 2147483647 h 1458"/>
                <a:gd name="T52" fmla="*/ 2147483647 w 1860"/>
                <a:gd name="T53" fmla="*/ 2147483647 h 1458"/>
                <a:gd name="T54" fmla="*/ 2147483647 w 1860"/>
                <a:gd name="T55" fmla="*/ 2147483647 h 1458"/>
                <a:gd name="T56" fmla="*/ 0 w 1860"/>
                <a:gd name="T57" fmla="*/ 2147483647 h 1458"/>
                <a:gd name="T58" fmla="*/ 2147483647 w 1860"/>
                <a:gd name="T59" fmla="*/ 2147483647 h 1458"/>
                <a:gd name="T60" fmla="*/ 2147483647 w 1860"/>
                <a:gd name="T61" fmla="*/ 2147483647 h 1458"/>
                <a:gd name="T62" fmla="*/ 2147483647 w 1860"/>
                <a:gd name="T63" fmla="*/ 2147483647 h 1458"/>
                <a:gd name="T64" fmla="*/ 2147483647 w 1860"/>
                <a:gd name="T65" fmla="*/ 2147483647 h 1458"/>
                <a:gd name="T66" fmla="*/ 2147483647 w 1860"/>
                <a:gd name="T67" fmla="*/ 2147483647 h 1458"/>
                <a:gd name="T68" fmla="*/ 2147483647 w 1860"/>
                <a:gd name="T69" fmla="*/ 2147483647 h 1458"/>
                <a:gd name="T70" fmla="*/ 2147483647 w 1860"/>
                <a:gd name="T71" fmla="*/ 2147483647 h 1458"/>
                <a:gd name="T72" fmla="*/ 2147483647 w 1860"/>
                <a:gd name="T73" fmla="*/ 2147483647 h 1458"/>
                <a:gd name="T74" fmla="*/ 2147483647 w 1860"/>
                <a:gd name="T75" fmla="*/ 2147483647 h 1458"/>
                <a:gd name="T76" fmla="*/ 2147483647 w 1860"/>
                <a:gd name="T77" fmla="*/ 2147483647 h 1458"/>
                <a:gd name="T78" fmla="*/ 2147483647 w 1860"/>
                <a:gd name="T79" fmla="*/ 2147483647 h 1458"/>
                <a:gd name="T80" fmla="*/ 2147483647 w 1860"/>
                <a:gd name="T81" fmla="*/ 2147483647 h 1458"/>
                <a:gd name="T82" fmla="*/ 2147483647 w 1860"/>
                <a:gd name="T83" fmla="*/ 2147483647 h 1458"/>
                <a:gd name="T84" fmla="*/ 2147483647 w 1860"/>
                <a:gd name="T85" fmla="*/ 2147483647 h 1458"/>
                <a:gd name="T86" fmla="*/ 2147483647 w 1860"/>
                <a:gd name="T87" fmla="*/ 2147483647 h 1458"/>
                <a:gd name="T88" fmla="*/ 2147483647 w 1860"/>
                <a:gd name="T89" fmla="*/ 2147483647 h 1458"/>
                <a:gd name="T90" fmla="*/ 2147483647 w 1860"/>
                <a:gd name="T91" fmla="*/ 2147483647 h 1458"/>
                <a:gd name="T92" fmla="*/ 2147483647 w 1860"/>
                <a:gd name="T93" fmla="*/ 2147483647 h 1458"/>
                <a:gd name="T94" fmla="*/ 2147483647 w 1860"/>
                <a:gd name="T95" fmla="*/ 2147483647 h 1458"/>
                <a:gd name="T96" fmla="*/ 2147483647 w 1860"/>
                <a:gd name="T97" fmla="*/ 2147483647 h 1458"/>
                <a:gd name="T98" fmla="*/ 2147483647 w 1860"/>
                <a:gd name="T99" fmla="*/ 2147483647 h 1458"/>
                <a:gd name="T100" fmla="*/ 2147483647 w 1860"/>
                <a:gd name="T101" fmla="*/ 2147483647 h 1458"/>
                <a:gd name="T102" fmla="*/ 2147483647 w 1860"/>
                <a:gd name="T103" fmla="*/ 2147483647 h 1458"/>
                <a:gd name="T104" fmla="*/ 2147483647 w 1860"/>
                <a:gd name="T105" fmla="*/ 2147483647 h 1458"/>
                <a:gd name="T106" fmla="*/ 2147483647 w 1860"/>
                <a:gd name="T107" fmla="*/ 2147483647 h 1458"/>
                <a:gd name="T108" fmla="*/ 2147483647 w 1860"/>
                <a:gd name="T109" fmla="*/ 2147483647 h 1458"/>
                <a:gd name="T110" fmla="*/ 2147483647 w 1860"/>
                <a:gd name="T111" fmla="*/ 2147483647 h 1458"/>
                <a:gd name="T112" fmla="*/ 2147483647 w 1860"/>
                <a:gd name="T113" fmla="*/ 2147483647 h 1458"/>
                <a:gd name="T114" fmla="*/ 2147483647 w 1860"/>
                <a:gd name="T115" fmla="*/ 2147483647 h 1458"/>
                <a:gd name="T116" fmla="*/ 2147483647 w 1860"/>
                <a:gd name="T117" fmla="*/ 2147483647 h 1458"/>
                <a:gd name="T118" fmla="*/ 2147483647 w 1860"/>
                <a:gd name="T119" fmla="*/ 2147483647 h 1458"/>
                <a:gd name="T120" fmla="*/ 2147483647 w 1860"/>
                <a:gd name="T121" fmla="*/ 2147483647 h 145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0"/>
                <a:gd name="T184" fmla="*/ 0 h 1458"/>
                <a:gd name="T185" fmla="*/ 1860 w 1860"/>
                <a:gd name="T186" fmla="*/ 1458 h 145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0" h="1458">
                  <a:moveTo>
                    <a:pt x="1422" y="1440"/>
                  </a:moveTo>
                  <a:lnTo>
                    <a:pt x="1422" y="1380"/>
                  </a:lnTo>
                  <a:lnTo>
                    <a:pt x="1452" y="1332"/>
                  </a:lnTo>
                  <a:lnTo>
                    <a:pt x="1542" y="1338"/>
                  </a:lnTo>
                  <a:lnTo>
                    <a:pt x="1542" y="1320"/>
                  </a:lnTo>
                  <a:lnTo>
                    <a:pt x="1548" y="1320"/>
                  </a:lnTo>
                  <a:lnTo>
                    <a:pt x="1554" y="1314"/>
                  </a:lnTo>
                  <a:lnTo>
                    <a:pt x="1554" y="1302"/>
                  </a:lnTo>
                  <a:lnTo>
                    <a:pt x="1536" y="1302"/>
                  </a:lnTo>
                  <a:lnTo>
                    <a:pt x="1530" y="1278"/>
                  </a:lnTo>
                  <a:lnTo>
                    <a:pt x="1524" y="1278"/>
                  </a:lnTo>
                  <a:lnTo>
                    <a:pt x="1512" y="1272"/>
                  </a:lnTo>
                  <a:lnTo>
                    <a:pt x="1506" y="1272"/>
                  </a:lnTo>
                  <a:lnTo>
                    <a:pt x="1500" y="1266"/>
                  </a:lnTo>
                  <a:lnTo>
                    <a:pt x="1494" y="1254"/>
                  </a:lnTo>
                  <a:lnTo>
                    <a:pt x="1494" y="1248"/>
                  </a:lnTo>
                  <a:lnTo>
                    <a:pt x="1482" y="1242"/>
                  </a:lnTo>
                  <a:lnTo>
                    <a:pt x="1506" y="1242"/>
                  </a:lnTo>
                  <a:lnTo>
                    <a:pt x="1518" y="1236"/>
                  </a:lnTo>
                  <a:lnTo>
                    <a:pt x="1524" y="1236"/>
                  </a:lnTo>
                  <a:lnTo>
                    <a:pt x="1524" y="1212"/>
                  </a:lnTo>
                  <a:lnTo>
                    <a:pt x="1518" y="1200"/>
                  </a:lnTo>
                  <a:lnTo>
                    <a:pt x="1518" y="1188"/>
                  </a:lnTo>
                  <a:lnTo>
                    <a:pt x="1650" y="1194"/>
                  </a:lnTo>
                  <a:lnTo>
                    <a:pt x="1656" y="1182"/>
                  </a:lnTo>
                  <a:lnTo>
                    <a:pt x="1656" y="1176"/>
                  </a:lnTo>
                  <a:lnTo>
                    <a:pt x="1662" y="1176"/>
                  </a:lnTo>
                  <a:lnTo>
                    <a:pt x="1668" y="1182"/>
                  </a:lnTo>
                  <a:lnTo>
                    <a:pt x="1668" y="1188"/>
                  </a:lnTo>
                  <a:lnTo>
                    <a:pt x="1674" y="1188"/>
                  </a:lnTo>
                  <a:lnTo>
                    <a:pt x="1680" y="1182"/>
                  </a:lnTo>
                  <a:lnTo>
                    <a:pt x="1692" y="1176"/>
                  </a:lnTo>
                  <a:lnTo>
                    <a:pt x="1698" y="1164"/>
                  </a:lnTo>
                  <a:lnTo>
                    <a:pt x="1698" y="1152"/>
                  </a:lnTo>
                  <a:lnTo>
                    <a:pt x="1704" y="1146"/>
                  </a:lnTo>
                  <a:lnTo>
                    <a:pt x="1704" y="1140"/>
                  </a:lnTo>
                  <a:lnTo>
                    <a:pt x="1710" y="1152"/>
                  </a:lnTo>
                  <a:lnTo>
                    <a:pt x="1746" y="1116"/>
                  </a:lnTo>
                  <a:lnTo>
                    <a:pt x="1746" y="1122"/>
                  </a:lnTo>
                  <a:lnTo>
                    <a:pt x="1740" y="1128"/>
                  </a:lnTo>
                  <a:lnTo>
                    <a:pt x="1740" y="1146"/>
                  </a:lnTo>
                  <a:lnTo>
                    <a:pt x="1746" y="1152"/>
                  </a:lnTo>
                  <a:lnTo>
                    <a:pt x="1758" y="1152"/>
                  </a:lnTo>
                  <a:lnTo>
                    <a:pt x="1782" y="1086"/>
                  </a:lnTo>
                  <a:lnTo>
                    <a:pt x="1770" y="1074"/>
                  </a:lnTo>
                  <a:lnTo>
                    <a:pt x="1794" y="1068"/>
                  </a:lnTo>
                  <a:lnTo>
                    <a:pt x="1794" y="1056"/>
                  </a:lnTo>
                  <a:lnTo>
                    <a:pt x="1776" y="1050"/>
                  </a:lnTo>
                  <a:lnTo>
                    <a:pt x="1794" y="1032"/>
                  </a:lnTo>
                  <a:lnTo>
                    <a:pt x="1800" y="1008"/>
                  </a:lnTo>
                  <a:lnTo>
                    <a:pt x="1806" y="996"/>
                  </a:lnTo>
                  <a:lnTo>
                    <a:pt x="1818" y="990"/>
                  </a:lnTo>
                  <a:lnTo>
                    <a:pt x="1824" y="978"/>
                  </a:lnTo>
                  <a:lnTo>
                    <a:pt x="1836" y="966"/>
                  </a:lnTo>
                  <a:lnTo>
                    <a:pt x="1842" y="954"/>
                  </a:lnTo>
                  <a:lnTo>
                    <a:pt x="1848" y="948"/>
                  </a:lnTo>
                  <a:lnTo>
                    <a:pt x="1854" y="936"/>
                  </a:lnTo>
                  <a:lnTo>
                    <a:pt x="1854" y="930"/>
                  </a:lnTo>
                  <a:lnTo>
                    <a:pt x="1860" y="918"/>
                  </a:lnTo>
                  <a:lnTo>
                    <a:pt x="1860" y="900"/>
                  </a:lnTo>
                  <a:lnTo>
                    <a:pt x="1854" y="894"/>
                  </a:lnTo>
                  <a:lnTo>
                    <a:pt x="1818" y="894"/>
                  </a:lnTo>
                  <a:lnTo>
                    <a:pt x="1812" y="900"/>
                  </a:lnTo>
                  <a:lnTo>
                    <a:pt x="1800" y="900"/>
                  </a:lnTo>
                  <a:lnTo>
                    <a:pt x="1794" y="894"/>
                  </a:lnTo>
                  <a:lnTo>
                    <a:pt x="1782" y="894"/>
                  </a:lnTo>
                  <a:lnTo>
                    <a:pt x="1770" y="888"/>
                  </a:lnTo>
                  <a:lnTo>
                    <a:pt x="1746" y="888"/>
                  </a:lnTo>
                  <a:lnTo>
                    <a:pt x="1734" y="894"/>
                  </a:lnTo>
                  <a:lnTo>
                    <a:pt x="1716" y="900"/>
                  </a:lnTo>
                  <a:lnTo>
                    <a:pt x="1698" y="900"/>
                  </a:lnTo>
                  <a:lnTo>
                    <a:pt x="1686" y="906"/>
                  </a:lnTo>
                  <a:lnTo>
                    <a:pt x="1668" y="906"/>
                  </a:lnTo>
                  <a:lnTo>
                    <a:pt x="1656" y="912"/>
                  </a:lnTo>
                  <a:lnTo>
                    <a:pt x="1626" y="912"/>
                  </a:lnTo>
                  <a:lnTo>
                    <a:pt x="1614" y="918"/>
                  </a:lnTo>
                  <a:lnTo>
                    <a:pt x="1608" y="924"/>
                  </a:lnTo>
                  <a:lnTo>
                    <a:pt x="1596" y="948"/>
                  </a:lnTo>
                  <a:lnTo>
                    <a:pt x="1590" y="966"/>
                  </a:lnTo>
                  <a:lnTo>
                    <a:pt x="1590" y="1026"/>
                  </a:lnTo>
                  <a:lnTo>
                    <a:pt x="1572" y="1032"/>
                  </a:lnTo>
                  <a:lnTo>
                    <a:pt x="1572" y="1062"/>
                  </a:lnTo>
                  <a:lnTo>
                    <a:pt x="1566" y="1074"/>
                  </a:lnTo>
                  <a:lnTo>
                    <a:pt x="1542" y="1086"/>
                  </a:lnTo>
                  <a:lnTo>
                    <a:pt x="1524" y="1098"/>
                  </a:lnTo>
                  <a:lnTo>
                    <a:pt x="1512" y="1110"/>
                  </a:lnTo>
                  <a:lnTo>
                    <a:pt x="1512" y="1122"/>
                  </a:lnTo>
                  <a:lnTo>
                    <a:pt x="1506" y="1128"/>
                  </a:lnTo>
                  <a:lnTo>
                    <a:pt x="1506" y="1140"/>
                  </a:lnTo>
                  <a:lnTo>
                    <a:pt x="1500" y="1146"/>
                  </a:lnTo>
                  <a:lnTo>
                    <a:pt x="1488" y="1146"/>
                  </a:lnTo>
                  <a:lnTo>
                    <a:pt x="1476" y="1134"/>
                  </a:lnTo>
                  <a:lnTo>
                    <a:pt x="1476" y="1128"/>
                  </a:lnTo>
                  <a:lnTo>
                    <a:pt x="1470" y="1122"/>
                  </a:lnTo>
                  <a:lnTo>
                    <a:pt x="1440" y="1122"/>
                  </a:lnTo>
                  <a:lnTo>
                    <a:pt x="1416" y="1128"/>
                  </a:lnTo>
                  <a:lnTo>
                    <a:pt x="1392" y="1140"/>
                  </a:lnTo>
                  <a:lnTo>
                    <a:pt x="1356" y="1140"/>
                  </a:lnTo>
                  <a:lnTo>
                    <a:pt x="1338" y="1146"/>
                  </a:lnTo>
                  <a:lnTo>
                    <a:pt x="1290" y="1170"/>
                  </a:lnTo>
                  <a:lnTo>
                    <a:pt x="1284" y="1170"/>
                  </a:lnTo>
                  <a:lnTo>
                    <a:pt x="1272" y="1158"/>
                  </a:lnTo>
                  <a:lnTo>
                    <a:pt x="1266" y="1146"/>
                  </a:lnTo>
                  <a:lnTo>
                    <a:pt x="1266" y="1140"/>
                  </a:lnTo>
                  <a:lnTo>
                    <a:pt x="1260" y="1128"/>
                  </a:lnTo>
                  <a:lnTo>
                    <a:pt x="1242" y="1128"/>
                  </a:lnTo>
                  <a:lnTo>
                    <a:pt x="1224" y="1122"/>
                  </a:lnTo>
                  <a:lnTo>
                    <a:pt x="1194" y="1122"/>
                  </a:lnTo>
                  <a:lnTo>
                    <a:pt x="1194" y="1104"/>
                  </a:lnTo>
                  <a:lnTo>
                    <a:pt x="1188" y="1092"/>
                  </a:lnTo>
                  <a:lnTo>
                    <a:pt x="1176" y="1080"/>
                  </a:lnTo>
                  <a:lnTo>
                    <a:pt x="1170" y="1068"/>
                  </a:lnTo>
                  <a:lnTo>
                    <a:pt x="1164" y="1062"/>
                  </a:lnTo>
                  <a:lnTo>
                    <a:pt x="1164" y="1026"/>
                  </a:lnTo>
                  <a:lnTo>
                    <a:pt x="1128" y="966"/>
                  </a:lnTo>
                  <a:lnTo>
                    <a:pt x="1122" y="924"/>
                  </a:lnTo>
                  <a:lnTo>
                    <a:pt x="1110" y="894"/>
                  </a:lnTo>
                  <a:lnTo>
                    <a:pt x="1104" y="804"/>
                  </a:lnTo>
                  <a:lnTo>
                    <a:pt x="1110" y="798"/>
                  </a:lnTo>
                  <a:lnTo>
                    <a:pt x="1122" y="774"/>
                  </a:lnTo>
                  <a:lnTo>
                    <a:pt x="1128" y="768"/>
                  </a:lnTo>
                  <a:lnTo>
                    <a:pt x="1128" y="654"/>
                  </a:lnTo>
                  <a:lnTo>
                    <a:pt x="1152" y="648"/>
                  </a:lnTo>
                  <a:lnTo>
                    <a:pt x="1152" y="612"/>
                  </a:lnTo>
                  <a:lnTo>
                    <a:pt x="1158" y="600"/>
                  </a:lnTo>
                  <a:lnTo>
                    <a:pt x="1158" y="594"/>
                  </a:lnTo>
                  <a:lnTo>
                    <a:pt x="1164" y="588"/>
                  </a:lnTo>
                  <a:lnTo>
                    <a:pt x="1176" y="588"/>
                  </a:lnTo>
                  <a:lnTo>
                    <a:pt x="1182" y="594"/>
                  </a:lnTo>
                  <a:lnTo>
                    <a:pt x="1188" y="594"/>
                  </a:lnTo>
                  <a:lnTo>
                    <a:pt x="1188" y="588"/>
                  </a:lnTo>
                  <a:lnTo>
                    <a:pt x="1194" y="576"/>
                  </a:lnTo>
                  <a:lnTo>
                    <a:pt x="1194" y="564"/>
                  </a:lnTo>
                  <a:lnTo>
                    <a:pt x="1200" y="558"/>
                  </a:lnTo>
                  <a:lnTo>
                    <a:pt x="1206" y="546"/>
                  </a:lnTo>
                  <a:lnTo>
                    <a:pt x="1206" y="540"/>
                  </a:lnTo>
                  <a:lnTo>
                    <a:pt x="1206" y="546"/>
                  </a:lnTo>
                  <a:lnTo>
                    <a:pt x="1182" y="546"/>
                  </a:lnTo>
                  <a:lnTo>
                    <a:pt x="1176" y="534"/>
                  </a:lnTo>
                  <a:lnTo>
                    <a:pt x="1176" y="528"/>
                  </a:lnTo>
                  <a:lnTo>
                    <a:pt x="1134" y="528"/>
                  </a:lnTo>
                  <a:lnTo>
                    <a:pt x="1122" y="516"/>
                  </a:lnTo>
                  <a:lnTo>
                    <a:pt x="1110" y="516"/>
                  </a:lnTo>
                  <a:lnTo>
                    <a:pt x="1092" y="510"/>
                  </a:lnTo>
                  <a:lnTo>
                    <a:pt x="1080" y="498"/>
                  </a:lnTo>
                  <a:lnTo>
                    <a:pt x="1080" y="468"/>
                  </a:lnTo>
                  <a:lnTo>
                    <a:pt x="1068" y="456"/>
                  </a:lnTo>
                  <a:lnTo>
                    <a:pt x="1068" y="420"/>
                  </a:lnTo>
                  <a:lnTo>
                    <a:pt x="1074" y="420"/>
                  </a:lnTo>
                  <a:lnTo>
                    <a:pt x="1080" y="414"/>
                  </a:lnTo>
                  <a:lnTo>
                    <a:pt x="1080" y="408"/>
                  </a:lnTo>
                  <a:lnTo>
                    <a:pt x="1068" y="396"/>
                  </a:lnTo>
                  <a:lnTo>
                    <a:pt x="1056" y="390"/>
                  </a:lnTo>
                  <a:lnTo>
                    <a:pt x="1050" y="384"/>
                  </a:lnTo>
                  <a:lnTo>
                    <a:pt x="1050" y="360"/>
                  </a:lnTo>
                  <a:lnTo>
                    <a:pt x="1038" y="354"/>
                  </a:lnTo>
                  <a:lnTo>
                    <a:pt x="1032" y="342"/>
                  </a:lnTo>
                  <a:lnTo>
                    <a:pt x="1032" y="330"/>
                  </a:lnTo>
                  <a:lnTo>
                    <a:pt x="1038" y="318"/>
                  </a:lnTo>
                  <a:lnTo>
                    <a:pt x="1038" y="294"/>
                  </a:lnTo>
                  <a:lnTo>
                    <a:pt x="1026" y="282"/>
                  </a:lnTo>
                  <a:lnTo>
                    <a:pt x="1020" y="270"/>
                  </a:lnTo>
                  <a:lnTo>
                    <a:pt x="1008" y="258"/>
                  </a:lnTo>
                  <a:lnTo>
                    <a:pt x="1002" y="246"/>
                  </a:lnTo>
                  <a:lnTo>
                    <a:pt x="996" y="240"/>
                  </a:lnTo>
                  <a:lnTo>
                    <a:pt x="990" y="228"/>
                  </a:lnTo>
                  <a:lnTo>
                    <a:pt x="948" y="228"/>
                  </a:lnTo>
                  <a:lnTo>
                    <a:pt x="930" y="222"/>
                  </a:lnTo>
                  <a:lnTo>
                    <a:pt x="930" y="228"/>
                  </a:lnTo>
                  <a:lnTo>
                    <a:pt x="912" y="228"/>
                  </a:lnTo>
                  <a:lnTo>
                    <a:pt x="900" y="240"/>
                  </a:lnTo>
                  <a:lnTo>
                    <a:pt x="888" y="264"/>
                  </a:lnTo>
                  <a:lnTo>
                    <a:pt x="876" y="276"/>
                  </a:lnTo>
                  <a:lnTo>
                    <a:pt x="852" y="288"/>
                  </a:lnTo>
                  <a:lnTo>
                    <a:pt x="840" y="288"/>
                  </a:lnTo>
                  <a:lnTo>
                    <a:pt x="822" y="276"/>
                  </a:lnTo>
                  <a:lnTo>
                    <a:pt x="810" y="270"/>
                  </a:lnTo>
                  <a:lnTo>
                    <a:pt x="780" y="240"/>
                  </a:lnTo>
                  <a:lnTo>
                    <a:pt x="780" y="228"/>
                  </a:lnTo>
                  <a:lnTo>
                    <a:pt x="786" y="216"/>
                  </a:lnTo>
                  <a:lnTo>
                    <a:pt x="786" y="174"/>
                  </a:lnTo>
                  <a:lnTo>
                    <a:pt x="780" y="162"/>
                  </a:lnTo>
                  <a:lnTo>
                    <a:pt x="768" y="150"/>
                  </a:lnTo>
                  <a:lnTo>
                    <a:pt x="756" y="144"/>
                  </a:lnTo>
                  <a:lnTo>
                    <a:pt x="744" y="144"/>
                  </a:lnTo>
                  <a:lnTo>
                    <a:pt x="738" y="114"/>
                  </a:lnTo>
                  <a:lnTo>
                    <a:pt x="708" y="102"/>
                  </a:lnTo>
                  <a:lnTo>
                    <a:pt x="708" y="78"/>
                  </a:lnTo>
                  <a:lnTo>
                    <a:pt x="696" y="66"/>
                  </a:lnTo>
                  <a:lnTo>
                    <a:pt x="582" y="66"/>
                  </a:lnTo>
                  <a:lnTo>
                    <a:pt x="576" y="72"/>
                  </a:lnTo>
                  <a:lnTo>
                    <a:pt x="576" y="90"/>
                  </a:lnTo>
                  <a:lnTo>
                    <a:pt x="570" y="102"/>
                  </a:lnTo>
                  <a:lnTo>
                    <a:pt x="570" y="108"/>
                  </a:lnTo>
                  <a:lnTo>
                    <a:pt x="366" y="108"/>
                  </a:lnTo>
                  <a:lnTo>
                    <a:pt x="156" y="12"/>
                  </a:lnTo>
                  <a:lnTo>
                    <a:pt x="150" y="12"/>
                  </a:lnTo>
                  <a:lnTo>
                    <a:pt x="150" y="6"/>
                  </a:lnTo>
                  <a:lnTo>
                    <a:pt x="156" y="0"/>
                  </a:lnTo>
                  <a:lnTo>
                    <a:pt x="12" y="6"/>
                  </a:lnTo>
                  <a:lnTo>
                    <a:pt x="6" y="0"/>
                  </a:lnTo>
                  <a:lnTo>
                    <a:pt x="0" y="18"/>
                  </a:lnTo>
                  <a:lnTo>
                    <a:pt x="0" y="48"/>
                  </a:lnTo>
                  <a:lnTo>
                    <a:pt x="6" y="60"/>
                  </a:lnTo>
                  <a:lnTo>
                    <a:pt x="12" y="66"/>
                  </a:lnTo>
                  <a:lnTo>
                    <a:pt x="18" y="78"/>
                  </a:lnTo>
                  <a:lnTo>
                    <a:pt x="0" y="90"/>
                  </a:lnTo>
                  <a:lnTo>
                    <a:pt x="12" y="114"/>
                  </a:lnTo>
                  <a:lnTo>
                    <a:pt x="6" y="126"/>
                  </a:lnTo>
                  <a:lnTo>
                    <a:pt x="24" y="144"/>
                  </a:lnTo>
                  <a:lnTo>
                    <a:pt x="6" y="174"/>
                  </a:lnTo>
                  <a:lnTo>
                    <a:pt x="18" y="180"/>
                  </a:lnTo>
                  <a:lnTo>
                    <a:pt x="18" y="210"/>
                  </a:lnTo>
                  <a:lnTo>
                    <a:pt x="24" y="228"/>
                  </a:lnTo>
                  <a:lnTo>
                    <a:pt x="24" y="240"/>
                  </a:lnTo>
                  <a:lnTo>
                    <a:pt x="30" y="252"/>
                  </a:lnTo>
                  <a:lnTo>
                    <a:pt x="42" y="264"/>
                  </a:lnTo>
                  <a:lnTo>
                    <a:pt x="60" y="264"/>
                  </a:lnTo>
                  <a:lnTo>
                    <a:pt x="60" y="270"/>
                  </a:lnTo>
                  <a:lnTo>
                    <a:pt x="66" y="276"/>
                  </a:lnTo>
                  <a:lnTo>
                    <a:pt x="72" y="288"/>
                  </a:lnTo>
                  <a:lnTo>
                    <a:pt x="84" y="300"/>
                  </a:lnTo>
                  <a:lnTo>
                    <a:pt x="90" y="318"/>
                  </a:lnTo>
                  <a:lnTo>
                    <a:pt x="96" y="330"/>
                  </a:lnTo>
                  <a:lnTo>
                    <a:pt x="96" y="342"/>
                  </a:lnTo>
                  <a:lnTo>
                    <a:pt x="78" y="378"/>
                  </a:lnTo>
                  <a:lnTo>
                    <a:pt x="72" y="384"/>
                  </a:lnTo>
                  <a:lnTo>
                    <a:pt x="72" y="390"/>
                  </a:lnTo>
                  <a:lnTo>
                    <a:pt x="84" y="396"/>
                  </a:lnTo>
                  <a:lnTo>
                    <a:pt x="72" y="414"/>
                  </a:lnTo>
                  <a:lnTo>
                    <a:pt x="60" y="396"/>
                  </a:lnTo>
                  <a:lnTo>
                    <a:pt x="12" y="390"/>
                  </a:lnTo>
                  <a:lnTo>
                    <a:pt x="36" y="414"/>
                  </a:lnTo>
                  <a:lnTo>
                    <a:pt x="42" y="438"/>
                  </a:lnTo>
                  <a:lnTo>
                    <a:pt x="66" y="444"/>
                  </a:lnTo>
                  <a:lnTo>
                    <a:pt x="78" y="456"/>
                  </a:lnTo>
                  <a:lnTo>
                    <a:pt x="84" y="468"/>
                  </a:lnTo>
                  <a:lnTo>
                    <a:pt x="90" y="474"/>
                  </a:lnTo>
                  <a:lnTo>
                    <a:pt x="96" y="474"/>
                  </a:lnTo>
                  <a:lnTo>
                    <a:pt x="102" y="468"/>
                  </a:lnTo>
                  <a:lnTo>
                    <a:pt x="108" y="468"/>
                  </a:lnTo>
                  <a:lnTo>
                    <a:pt x="120" y="462"/>
                  </a:lnTo>
                  <a:lnTo>
                    <a:pt x="126" y="456"/>
                  </a:lnTo>
                  <a:lnTo>
                    <a:pt x="126" y="480"/>
                  </a:lnTo>
                  <a:lnTo>
                    <a:pt x="144" y="516"/>
                  </a:lnTo>
                  <a:lnTo>
                    <a:pt x="156" y="528"/>
                  </a:lnTo>
                  <a:lnTo>
                    <a:pt x="168" y="552"/>
                  </a:lnTo>
                  <a:lnTo>
                    <a:pt x="168" y="564"/>
                  </a:lnTo>
                  <a:lnTo>
                    <a:pt x="156" y="588"/>
                  </a:lnTo>
                  <a:lnTo>
                    <a:pt x="150" y="606"/>
                  </a:lnTo>
                  <a:lnTo>
                    <a:pt x="150" y="618"/>
                  </a:lnTo>
                  <a:lnTo>
                    <a:pt x="180" y="648"/>
                  </a:lnTo>
                  <a:lnTo>
                    <a:pt x="192" y="666"/>
                  </a:lnTo>
                  <a:lnTo>
                    <a:pt x="222" y="696"/>
                  </a:lnTo>
                  <a:lnTo>
                    <a:pt x="234" y="714"/>
                  </a:lnTo>
                  <a:lnTo>
                    <a:pt x="264" y="744"/>
                  </a:lnTo>
                  <a:lnTo>
                    <a:pt x="258" y="750"/>
                  </a:lnTo>
                  <a:lnTo>
                    <a:pt x="258" y="762"/>
                  </a:lnTo>
                  <a:lnTo>
                    <a:pt x="252" y="768"/>
                  </a:lnTo>
                  <a:lnTo>
                    <a:pt x="252" y="780"/>
                  </a:lnTo>
                  <a:lnTo>
                    <a:pt x="258" y="786"/>
                  </a:lnTo>
                  <a:lnTo>
                    <a:pt x="276" y="786"/>
                  </a:lnTo>
                  <a:lnTo>
                    <a:pt x="288" y="780"/>
                  </a:lnTo>
                  <a:lnTo>
                    <a:pt x="294" y="768"/>
                  </a:lnTo>
                  <a:lnTo>
                    <a:pt x="306" y="762"/>
                  </a:lnTo>
                  <a:lnTo>
                    <a:pt x="312" y="756"/>
                  </a:lnTo>
                  <a:lnTo>
                    <a:pt x="306" y="738"/>
                  </a:lnTo>
                  <a:lnTo>
                    <a:pt x="306" y="732"/>
                  </a:lnTo>
                  <a:lnTo>
                    <a:pt x="300" y="726"/>
                  </a:lnTo>
                  <a:lnTo>
                    <a:pt x="300" y="708"/>
                  </a:lnTo>
                  <a:lnTo>
                    <a:pt x="288" y="684"/>
                  </a:lnTo>
                  <a:lnTo>
                    <a:pt x="282" y="678"/>
                  </a:lnTo>
                  <a:lnTo>
                    <a:pt x="258" y="678"/>
                  </a:lnTo>
                  <a:lnTo>
                    <a:pt x="240" y="648"/>
                  </a:lnTo>
                  <a:lnTo>
                    <a:pt x="240" y="576"/>
                  </a:lnTo>
                  <a:lnTo>
                    <a:pt x="222" y="546"/>
                  </a:lnTo>
                  <a:lnTo>
                    <a:pt x="228" y="534"/>
                  </a:lnTo>
                  <a:lnTo>
                    <a:pt x="228" y="528"/>
                  </a:lnTo>
                  <a:lnTo>
                    <a:pt x="234" y="516"/>
                  </a:lnTo>
                  <a:lnTo>
                    <a:pt x="234" y="492"/>
                  </a:lnTo>
                  <a:lnTo>
                    <a:pt x="228" y="486"/>
                  </a:lnTo>
                  <a:lnTo>
                    <a:pt x="216" y="480"/>
                  </a:lnTo>
                  <a:lnTo>
                    <a:pt x="210" y="474"/>
                  </a:lnTo>
                  <a:lnTo>
                    <a:pt x="198" y="474"/>
                  </a:lnTo>
                  <a:lnTo>
                    <a:pt x="198" y="432"/>
                  </a:lnTo>
                  <a:lnTo>
                    <a:pt x="168" y="396"/>
                  </a:lnTo>
                  <a:lnTo>
                    <a:pt x="174" y="336"/>
                  </a:lnTo>
                  <a:lnTo>
                    <a:pt x="168" y="330"/>
                  </a:lnTo>
                  <a:lnTo>
                    <a:pt x="162" y="318"/>
                  </a:lnTo>
                  <a:lnTo>
                    <a:pt x="144" y="300"/>
                  </a:lnTo>
                  <a:lnTo>
                    <a:pt x="138" y="288"/>
                  </a:lnTo>
                  <a:lnTo>
                    <a:pt x="138" y="276"/>
                  </a:lnTo>
                  <a:lnTo>
                    <a:pt x="132" y="264"/>
                  </a:lnTo>
                  <a:lnTo>
                    <a:pt x="132" y="246"/>
                  </a:lnTo>
                  <a:lnTo>
                    <a:pt x="126" y="240"/>
                  </a:lnTo>
                  <a:lnTo>
                    <a:pt x="120" y="228"/>
                  </a:lnTo>
                  <a:lnTo>
                    <a:pt x="108" y="216"/>
                  </a:lnTo>
                  <a:lnTo>
                    <a:pt x="102" y="204"/>
                  </a:lnTo>
                  <a:lnTo>
                    <a:pt x="96" y="198"/>
                  </a:lnTo>
                  <a:lnTo>
                    <a:pt x="96" y="192"/>
                  </a:lnTo>
                  <a:lnTo>
                    <a:pt x="102" y="186"/>
                  </a:lnTo>
                  <a:lnTo>
                    <a:pt x="114" y="162"/>
                  </a:lnTo>
                  <a:lnTo>
                    <a:pt x="114" y="114"/>
                  </a:lnTo>
                  <a:lnTo>
                    <a:pt x="120" y="108"/>
                  </a:lnTo>
                  <a:lnTo>
                    <a:pt x="126" y="96"/>
                  </a:lnTo>
                  <a:lnTo>
                    <a:pt x="126" y="60"/>
                  </a:lnTo>
                  <a:lnTo>
                    <a:pt x="132" y="66"/>
                  </a:lnTo>
                  <a:lnTo>
                    <a:pt x="144" y="72"/>
                  </a:lnTo>
                  <a:lnTo>
                    <a:pt x="150" y="84"/>
                  </a:lnTo>
                  <a:lnTo>
                    <a:pt x="162" y="90"/>
                  </a:lnTo>
                  <a:lnTo>
                    <a:pt x="180" y="90"/>
                  </a:lnTo>
                  <a:lnTo>
                    <a:pt x="186" y="84"/>
                  </a:lnTo>
                  <a:lnTo>
                    <a:pt x="198" y="84"/>
                  </a:lnTo>
                  <a:lnTo>
                    <a:pt x="198" y="102"/>
                  </a:lnTo>
                  <a:lnTo>
                    <a:pt x="204" y="108"/>
                  </a:lnTo>
                  <a:lnTo>
                    <a:pt x="216" y="114"/>
                  </a:lnTo>
                  <a:lnTo>
                    <a:pt x="234" y="114"/>
                  </a:lnTo>
                  <a:lnTo>
                    <a:pt x="234" y="120"/>
                  </a:lnTo>
                  <a:lnTo>
                    <a:pt x="228" y="126"/>
                  </a:lnTo>
                  <a:lnTo>
                    <a:pt x="228" y="186"/>
                  </a:lnTo>
                  <a:lnTo>
                    <a:pt x="240" y="258"/>
                  </a:lnTo>
                  <a:lnTo>
                    <a:pt x="240" y="270"/>
                  </a:lnTo>
                  <a:lnTo>
                    <a:pt x="246" y="282"/>
                  </a:lnTo>
                  <a:lnTo>
                    <a:pt x="252" y="306"/>
                  </a:lnTo>
                  <a:lnTo>
                    <a:pt x="264" y="342"/>
                  </a:lnTo>
                  <a:lnTo>
                    <a:pt x="276" y="372"/>
                  </a:lnTo>
                  <a:lnTo>
                    <a:pt x="282" y="384"/>
                  </a:lnTo>
                  <a:lnTo>
                    <a:pt x="324" y="384"/>
                  </a:lnTo>
                  <a:lnTo>
                    <a:pt x="318" y="390"/>
                  </a:lnTo>
                  <a:lnTo>
                    <a:pt x="306" y="414"/>
                  </a:lnTo>
                  <a:lnTo>
                    <a:pt x="318" y="438"/>
                  </a:lnTo>
                  <a:lnTo>
                    <a:pt x="330" y="444"/>
                  </a:lnTo>
                  <a:lnTo>
                    <a:pt x="336" y="450"/>
                  </a:lnTo>
                  <a:lnTo>
                    <a:pt x="348" y="450"/>
                  </a:lnTo>
                  <a:lnTo>
                    <a:pt x="354" y="474"/>
                  </a:lnTo>
                  <a:lnTo>
                    <a:pt x="384" y="474"/>
                  </a:lnTo>
                  <a:lnTo>
                    <a:pt x="390" y="516"/>
                  </a:lnTo>
                  <a:lnTo>
                    <a:pt x="384" y="516"/>
                  </a:lnTo>
                  <a:lnTo>
                    <a:pt x="378" y="522"/>
                  </a:lnTo>
                  <a:lnTo>
                    <a:pt x="366" y="528"/>
                  </a:lnTo>
                  <a:lnTo>
                    <a:pt x="360" y="534"/>
                  </a:lnTo>
                  <a:lnTo>
                    <a:pt x="354" y="546"/>
                  </a:lnTo>
                  <a:lnTo>
                    <a:pt x="354" y="558"/>
                  </a:lnTo>
                  <a:lnTo>
                    <a:pt x="360" y="564"/>
                  </a:lnTo>
                  <a:lnTo>
                    <a:pt x="372" y="570"/>
                  </a:lnTo>
                  <a:lnTo>
                    <a:pt x="384" y="558"/>
                  </a:lnTo>
                  <a:lnTo>
                    <a:pt x="384" y="564"/>
                  </a:lnTo>
                  <a:lnTo>
                    <a:pt x="396" y="576"/>
                  </a:lnTo>
                  <a:lnTo>
                    <a:pt x="396" y="588"/>
                  </a:lnTo>
                  <a:lnTo>
                    <a:pt x="402" y="594"/>
                  </a:lnTo>
                  <a:lnTo>
                    <a:pt x="414" y="594"/>
                  </a:lnTo>
                  <a:lnTo>
                    <a:pt x="426" y="600"/>
                  </a:lnTo>
                  <a:lnTo>
                    <a:pt x="432" y="600"/>
                  </a:lnTo>
                  <a:lnTo>
                    <a:pt x="438" y="606"/>
                  </a:lnTo>
                  <a:lnTo>
                    <a:pt x="438" y="624"/>
                  </a:lnTo>
                  <a:lnTo>
                    <a:pt x="432" y="630"/>
                  </a:lnTo>
                  <a:lnTo>
                    <a:pt x="432" y="636"/>
                  </a:lnTo>
                  <a:lnTo>
                    <a:pt x="426" y="648"/>
                  </a:lnTo>
                  <a:lnTo>
                    <a:pt x="426" y="654"/>
                  </a:lnTo>
                  <a:lnTo>
                    <a:pt x="468" y="654"/>
                  </a:lnTo>
                  <a:lnTo>
                    <a:pt x="468" y="684"/>
                  </a:lnTo>
                  <a:lnTo>
                    <a:pt x="504" y="720"/>
                  </a:lnTo>
                  <a:lnTo>
                    <a:pt x="510" y="732"/>
                  </a:lnTo>
                  <a:lnTo>
                    <a:pt x="528" y="750"/>
                  </a:lnTo>
                  <a:lnTo>
                    <a:pt x="534" y="768"/>
                  </a:lnTo>
                  <a:lnTo>
                    <a:pt x="546" y="780"/>
                  </a:lnTo>
                  <a:lnTo>
                    <a:pt x="552" y="798"/>
                  </a:lnTo>
                  <a:lnTo>
                    <a:pt x="558" y="810"/>
                  </a:lnTo>
                  <a:lnTo>
                    <a:pt x="558" y="870"/>
                  </a:lnTo>
                  <a:lnTo>
                    <a:pt x="564" y="882"/>
                  </a:lnTo>
                  <a:lnTo>
                    <a:pt x="576" y="894"/>
                  </a:lnTo>
                  <a:lnTo>
                    <a:pt x="576" y="906"/>
                  </a:lnTo>
                  <a:lnTo>
                    <a:pt x="570" y="918"/>
                  </a:lnTo>
                  <a:lnTo>
                    <a:pt x="552" y="936"/>
                  </a:lnTo>
                  <a:lnTo>
                    <a:pt x="546" y="948"/>
                  </a:lnTo>
                  <a:lnTo>
                    <a:pt x="546" y="954"/>
                  </a:lnTo>
                  <a:lnTo>
                    <a:pt x="552" y="960"/>
                  </a:lnTo>
                  <a:lnTo>
                    <a:pt x="564" y="966"/>
                  </a:lnTo>
                  <a:lnTo>
                    <a:pt x="540" y="966"/>
                  </a:lnTo>
                  <a:lnTo>
                    <a:pt x="528" y="972"/>
                  </a:lnTo>
                  <a:lnTo>
                    <a:pt x="528" y="1038"/>
                  </a:lnTo>
                  <a:lnTo>
                    <a:pt x="534" y="1056"/>
                  </a:lnTo>
                  <a:lnTo>
                    <a:pt x="540" y="1062"/>
                  </a:lnTo>
                  <a:lnTo>
                    <a:pt x="546" y="1074"/>
                  </a:lnTo>
                  <a:lnTo>
                    <a:pt x="558" y="1074"/>
                  </a:lnTo>
                  <a:lnTo>
                    <a:pt x="576" y="1080"/>
                  </a:lnTo>
                  <a:lnTo>
                    <a:pt x="600" y="1080"/>
                  </a:lnTo>
                  <a:lnTo>
                    <a:pt x="612" y="1086"/>
                  </a:lnTo>
                  <a:lnTo>
                    <a:pt x="636" y="1110"/>
                  </a:lnTo>
                  <a:lnTo>
                    <a:pt x="642" y="1122"/>
                  </a:lnTo>
                  <a:lnTo>
                    <a:pt x="648" y="1140"/>
                  </a:lnTo>
                  <a:lnTo>
                    <a:pt x="654" y="1152"/>
                  </a:lnTo>
                  <a:lnTo>
                    <a:pt x="666" y="1164"/>
                  </a:lnTo>
                  <a:lnTo>
                    <a:pt x="678" y="1170"/>
                  </a:lnTo>
                  <a:lnTo>
                    <a:pt x="732" y="1170"/>
                  </a:lnTo>
                  <a:lnTo>
                    <a:pt x="750" y="1176"/>
                  </a:lnTo>
                  <a:lnTo>
                    <a:pt x="762" y="1182"/>
                  </a:lnTo>
                  <a:lnTo>
                    <a:pt x="768" y="1188"/>
                  </a:lnTo>
                  <a:lnTo>
                    <a:pt x="774" y="1200"/>
                  </a:lnTo>
                  <a:lnTo>
                    <a:pt x="786" y="1218"/>
                  </a:lnTo>
                  <a:lnTo>
                    <a:pt x="810" y="1242"/>
                  </a:lnTo>
                  <a:lnTo>
                    <a:pt x="834" y="1254"/>
                  </a:lnTo>
                  <a:lnTo>
                    <a:pt x="870" y="1266"/>
                  </a:lnTo>
                  <a:lnTo>
                    <a:pt x="912" y="1272"/>
                  </a:lnTo>
                  <a:lnTo>
                    <a:pt x="942" y="1278"/>
                  </a:lnTo>
                  <a:lnTo>
                    <a:pt x="960" y="1290"/>
                  </a:lnTo>
                  <a:lnTo>
                    <a:pt x="966" y="1302"/>
                  </a:lnTo>
                  <a:lnTo>
                    <a:pt x="978" y="1314"/>
                  </a:lnTo>
                  <a:lnTo>
                    <a:pt x="990" y="1320"/>
                  </a:lnTo>
                  <a:lnTo>
                    <a:pt x="996" y="1320"/>
                  </a:lnTo>
                  <a:lnTo>
                    <a:pt x="1002" y="1326"/>
                  </a:lnTo>
                  <a:lnTo>
                    <a:pt x="1008" y="1338"/>
                  </a:lnTo>
                  <a:lnTo>
                    <a:pt x="1014" y="1344"/>
                  </a:lnTo>
                  <a:lnTo>
                    <a:pt x="1080" y="1344"/>
                  </a:lnTo>
                  <a:lnTo>
                    <a:pt x="1092" y="1356"/>
                  </a:lnTo>
                  <a:lnTo>
                    <a:pt x="1098" y="1368"/>
                  </a:lnTo>
                  <a:lnTo>
                    <a:pt x="1104" y="1374"/>
                  </a:lnTo>
                  <a:lnTo>
                    <a:pt x="1116" y="1374"/>
                  </a:lnTo>
                  <a:lnTo>
                    <a:pt x="1140" y="1362"/>
                  </a:lnTo>
                  <a:lnTo>
                    <a:pt x="1170" y="1350"/>
                  </a:lnTo>
                  <a:lnTo>
                    <a:pt x="1206" y="1332"/>
                  </a:lnTo>
                  <a:lnTo>
                    <a:pt x="1260" y="1314"/>
                  </a:lnTo>
                  <a:lnTo>
                    <a:pt x="1278" y="1326"/>
                  </a:lnTo>
                  <a:lnTo>
                    <a:pt x="1308" y="1350"/>
                  </a:lnTo>
                  <a:lnTo>
                    <a:pt x="1344" y="1374"/>
                  </a:lnTo>
                  <a:lnTo>
                    <a:pt x="1386" y="1416"/>
                  </a:lnTo>
                  <a:lnTo>
                    <a:pt x="1386" y="1428"/>
                  </a:lnTo>
                  <a:lnTo>
                    <a:pt x="1392" y="1446"/>
                  </a:lnTo>
                  <a:lnTo>
                    <a:pt x="1398" y="1458"/>
                  </a:lnTo>
                  <a:lnTo>
                    <a:pt x="1416" y="1458"/>
                  </a:lnTo>
                  <a:lnTo>
                    <a:pt x="1422" y="1452"/>
                  </a:lnTo>
                  <a:lnTo>
                    <a:pt x="1422" y="1440"/>
                  </a:lnTo>
                  <a:close/>
                </a:path>
              </a:pathLst>
            </a:custGeom>
            <a:solidFill>
              <a:srgbClr val="658B26"/>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12" name="Malta" descr="© INSCALE GmbH, 05.05.2010&#10;http://www.presentationload.com/"/>
            <p:cNvSpPr>
              <a:spLocks/>
            </p:cNvSpPr>
            <p:nvPr/>
          </p:nvSpPr>
          <p:spPr bwMode="gray">
            <a:xfrm>
              <a:off x="4611692" y="2903536"/>
              <a:ext cx="12700" cy="11113"/>
            </a:xfrm>
            <a:custGeom>
              <a:avLst/>
              <a:gdLst>
                <a:gd name="T0" fmla="*/ 2147483647 w 30"/>
                <a:gd name="T1" fmla="*/ 2147483647 h 30"/>
                <a:gd name="T2" fmla="*/ 2147483647 w 30"/>
                <a:gd name="T3" fmla="*/ 2147483647 h 30"/>
                <a:gd name="T4" fmla="*/ 2147483647 w 30"/>
                <a:gd name="T5" fmla="*/ 2147483647 h 30"/>
                <a:gd name="T6" fmla="*/ 2147483647 w 30"/>
                <a:gd name="T7" fmla="*/ 0 h 30"/>
                <a:gd name="T8" fmla="*/ 2147483647 w 30"/>
                <a:gd name="T9" fmla="*/ 0 h 30"/>
                <a:gd name="T10" fmla="*/ 0 w 30"/>
                <a:gd name="T11" fmla="*/ 2147483647 h 30"/>
                <a:gd name="T12" fmla="*/ 0 w 30"/>
                <a:gd name="T13" fmla="*/ 2147483647 h 30"/>
                <a:gd name="T14" fmla="*/ 2147483647 w 30"/>
                <a:gd name="T15" fmla="*/ 2147483647 h 30"/>
                <a:gd name="T16" fmla="*/ 2147483647 w 30"/>
                <a:gd name="T17" fmla="*/ 2147483647 h 30"/>
                <a:gd name="T18" fmla="*/ 2147483647 w 30"/>
                <a:gd name="T19" fmla="*/ 2147483647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
                <a:gd name="T31" fmla="*/ 0 h 30"/>
                <a:gd name="T32" fmla="*/ 30 w 30"/>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 h="30">
                  <a:moveTo>
                    <a:pt x="24" y="30"/>
                  </a:moveTo>
                  <a:lnTo>
                    <a:pt x="30" y="24"/>
                  </a:lnTo>
                  <a:lnTo>
                    <a:pt x="30" y="12"/>
                  </a:lnTo>
                  <a:lnTo>
                    <a:pt x="18" y="0"/>
                  </a:lnTo>
                  <a:lnTo>
                    <a:pt x="6" y="0"/>
                  </a:lnTo>
                  <a:lnTo>
                    <a:pt x="0" y="6"/>
                  </a:lnTo>
                  <a:lnTo>
                    <a:pt x="0" y="18"/>
                  </a:lnTo>
                  <a:lnTo>
                    <a:pt x="6" y="24"/>
                  </a:lnTo>
                  <a:lnTo>
                    <a:pt x="18" y="30"/>
                  </a:lnTo>
                  <a:lnTo>
                    <a:pt x="24" y="30"/>
                  </a:lnTo>
                  <a:close/>
                </a:path>
              </a:pathLst>
            </a:custGeom>
            <a:solidFill>
              <a:srgbClr val="005995"/>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13" name="Mauritania" descr="© INSCALE GmbH, 05.05.2010&#10;http://www.presentationload.com/"/>
            <p:cNvSpPr>
              <a:spLocks/>
            </p:cNvSpPr>
            <p:nvPr/>
          </p:nvSpPr>
          <p:spPr bwMode="gray">
            <a:xfrm>
              <a:off x="3746429" y="3205388"/>
              <a:ext cx="346076" cy="404814"/>
            </a:xfrm>
            <a:custGeom>
              <a:avLst/>
              <a:gdLst>
                <a:gd name="T0" fmla="*/ 2147483647 w 858"/>
                <a:gd name="T1" fmla="*/ 2147483647 h 1002"/>
                <a:gd name="T2" fmla="*/ 2147483647 w 858"/>
                <a:gd name="T3" fmla="*/ 2147483647 h 1002"/>
                <a:gd name="T4" fmla="*/ 2147483647 w 858"/>
                <a:gd name="T5" fmla="*/ 2147483647 h 1002"/>
                <a:gd name="T6" fmla="*/ 2147483647 w 858"/>
                <a:gd name="T7" fmla="*/ 2147483647 h 1002"/>
                <a:gd name="T8" fmla="*/ 2147483647 w 858"/>
                <a:gd name="T9" fmla="*/ 2147483647 h 1002"/>
                <a:gd name="T10" fmla="*/ 2147483647 w 858"/>
                <a:gd name="T11" fmla="*/ 2147483647 h 1002"/>
                <a:gd name="T12" fmla="*/ 2147483647 w 858"/>
                <a:gd name="T13" fmla="*/ 2147483647 h 1002"/>
                <a:gd name="T14" fmla="*/ 2147483647 w 858"/>
                <a:gd name="T15" fmla="*/ 2147483647 h 1002"/>
                <a:gd name="T16" fmla="*/ 2147483647 w 858"/>
                <a:gd name="T17" fmla="*/ 2147483647 h 1002"/>
                <a:gd name="T18" fmla="*/ 2147483647 w 858"/>
                <a:gd name="T19" fmla="*/ 2147483647 h 1002"/>
                <a:gd name="T20" fmla="*/ 2147483647 w 858"/>
                <a:gd name="T21" fmla="*/ 2147483647 h 1002"/>
                <a:gd name="T22" fmla="*/ 2147483647 w 858"/>
                <a:gd name="T23" fmla="*/ 2147483647 h 1002"/>
                <a:gd name="T24" fmla="*/ 2147483647 w 858"/>
                <a:gd name="T25" fmla="*/ 2147483647 h 1002"/>
                <a:gd name="T26" fmla="*/ 2147483647 w 858"/>
                <a:gd name="T27" fmla="*/ 2147483647 h 1002"/>
                <a:gd name="T28" fmla="*/ 2147483647 w 858"/>
                <a:gd name="T29" fmla="*/ 2147483647 h 1002"/>
                <a:gd name="T30" fmla="*/ 2147483647 w 858"/>
                <a:gd name="T31" fmla="*/ 2147483647 h 1002"/>
                <a:gd name="T32" fmla="*/ 2147483647 w 858"/>
                <a:gd name="T33" fmla="*/ 2147483647 h 1002"/>
                <a:gd name="T34" fmla="*/ 2147483647 w 858"/>
                <a:gd name="T35" fmla="*/ 2147483647 h 1002"/>
                <a:gd name="T36" fmla="*/ 2147483647 w 858"/>
                <a:gd name="T37" fmla="*/ 2147483647 h 1002"/>
                <a:gd name="T38" fmla="*/ 2147483647 w 858"/>
                <a:gd name="T39" fmla="*/ 2147483647 h 1002"/>
                <a:gd name="T40" fmla="*/ 2147483647 w 858"/>
                <a:gd name="T41" fmla="*/ 2147483647 h 1002"/>
                <a:gd name="T42" fmla="*/ 2147483647 w 858"/>
                <a:gd name="T43" fmla="*/ 2147483647 h 1002"/>
                <a:gd name="T44" fmla="*/ 2147483647 w 858"/>
                <a:gd name="T45" fmla="*/ 2147483647 h 1002"/>
                <a:gd name="T46" fmla="*/ 2147483647 w 858"/>
                <a:gd name="T47" fmla="*/ 2147483647 h 1002"/>
                <a:gd name="T48" fmla="*/ 2147483647 w 858"/>
                <a:gd name="T49" fmla="*/ 2147483647 h 1002"/>
                <a:gd name="T50" fmla="*/ 2147483647 w 858"/>
                <a:gd name="T51" fmla="*/ 2147483647 h 1002"/>
                <a:gd name="T52" fmla="*/ 2147483647 w 858"/>
                <a:gd name="T53" fmla="*/ 2147483647 h 1002"/>
                <a:gd name="T54" fmla="*/ 2147483647 w 858"/>
                <a:gd name="T55" fmla="*/ 2147483647 h 1002"/>
                <a:gd name="T56" fmla="*/ 2147483647 w 858"/>
                <a:gd name="T57" fmla="*/ 2147483647 h 1002"/>
                <a:gd name="T58" fmla="*/ 2147483647 w 858"/>
                <a:gd name="T59" fmla="*/ 2147483647 h 1002"/>
                <a:gd name="T60" fmla="*/ 2147483647 w 858"/>
                <a:gd name="T61" fmla="*/ 2147483647 h 1002"/>
                <a:gd name="T62" fmla="*/ 2147483647 w 858"/>
                <a:gd name="T63" fmla="*/ 2147483647 h 1002"/>
                <a:gd name="T64" fmla="*/ 2147483647 w 858"/>
                <a:gd name="T65" fmla="*/ 2147483647 h 1002"/>
                <a:gd name="T66" fmla="*/ 2147483647 w 858"/>
                <a:gd name="T67" fmla="*/ 2147483647 h 1002"/>
                <a:gd name="T68" fmla="*/ 2147483647 w 858"/>
                <a:gd name="T69" fmla="*/ 2147483647 h 1002"/>
                <a:gd name="T70" fmla="*/ 2147483647 w 858"/>
                <a:gd name="T71" fmla="*/ 2147483647 h 1002"/>
                <a:gd name="T72" fmla="*/ 2147483647 w 858"/>
                <a:gd name="T73" fmla="*/ 2147483647 h 1002"/>
                <a:gd name="T74" fmla="*/ 2147483647 w 858"/>
                <a:gd name="T75" fmla="*/ 2147483647 h 1002"/>
                <a:gd name="T76" fmla="*/ 2147483647 w 858"/>
                <a:gd name="T77" fmla="*/ 2147483647 h 1002"/>
                <a:gd name="T78" fmla="*/ 2147483647 w 858"/>
                <a:gd name="T79" fmla="*/ 2147483647 h 1002"/>
                <a:gd name="T80" fmla="*/ 2147483647 w 858"/>
                <a:gd name="T81" fmla="*/ 2147483647 h 1002"/>
                <a:gd name="T82" fmla="*/ 2147483647 w 858"/>
                <a:gd name="T83" fmla="*/ 2147483647 h 1002"/>
                <a:gd name="T84" fmla="*/ 2147483647 w 858"/>
                <a:gd name="T85" fmla="*/ 2147483647 h 1002"/>
                <a:gd name="T86" fmla="*/ 2147483647 w 858"/>
                <a:gd name="T87" fmla="*/ 2147483647 h 1002"/>
                <a:gd name="T88" fmla="*/ 2147483647 w 858"/>
                <a:gd name="T89" fmla="*/ 2147483647 h 1002"/>
                <a:gd name="T90" fmla="*/ 2147483647 w 858"/>
                <a:gd name="T91" fmla="*/ 2147483647 h 1002"/>
                <a:gd name="T92" fmla="*/ 2147483647 w 858"/>
                <a:gd name="T93" fmla="*/ 2147483647 h 1002"/>
                <a:gd name="T94" fmla="*/ 2147483647 w 858"/>
                <a:gd name="T95" fmla="*/ 2147483647 h 1002"/>
                <a:gd name="T96" fmla="*/ 2147483647 w 858"/>
                <a:gd name="T97" fmla="*/ 2147483647 h 1002"/>
                <a:gd name="T98" fmla="*/ 0 w 858"/>
                <a:gd name="T99" fmla="*/ 2147483647 h 100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58"/>
                <a:gd name="T151" fmla="*/ 0 h 1002"/>
                <a:gd name="T152" fmla="*/ 858 w 858"/>
                <a:gd name="T153" fmla="*/ 1002 h 100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58" h="1002">
                  <a:moveTo>
                    <a:pt x="0" y="498"/>
                  </a:moveTo>
                  <a:lnTo>
                    <a:pt x="18" y="498"/>
                  </a:lnTo>
                  <a:lnTo>
                    <a:pt x="18" y="528"/>
                  </a:lnTo>
                  <a:lnTo>
                    <a:pt x="24" y="534"/>
                  </a:lnTo>
                  <a:lnTo>
                    <a:pt x="30" y="534"/>
                  </a:lnTo>
                  <a:lnTo>
                    <a:pt x="30" y="528"/>
                  </a:lnTo>
                  <a:lnTo>
                    <a:pt x="36" y="522"/>
                  </a:lnTo>
                  <a:lnTo>
                    <a:pt x="48" y="558"/>
                  </a:lnTo>
                  <a:lnTo>
                    <a:pt x="42" y="600"/>
                  </a:lnTo>
                  <a:lnTo>
                    <a:pt x="30" y="600"/>
                  </a:lnTo>
                  <a:lnTo>
                    <a:pt x="36" y="624"/>
                  </a:lnTo>
                  <a:lnTo>
                    <a:pt x="24" y="630"/>
                  </a:lnTo>
                  <a:lnTo>
                    <a:pt x="30" y="642"/>
                  </a:lnTo>
                  <a:lnTo>
                    <a:pt x="36" y="648"/>
                  </a:lnTo>
                  <a:lnTo>
                    <a:pt x="48" y="666"/>
                  </a:lnTo>
                  <a:lnTo>
                    <a:pt x="60" y="690"/>
                  </a:lnTo>
                  <a:lnTo>
                    <a:pt x="60" y="720"/>
                  </a:lnTo>
                  <a:lnTo>
                    <a:pt x="54" y="738"/>
                  </a:lnTo>
                  <a:lnTo>
                    <a:pt x="54" y="750"/>
                  </a:lnTo>
                  <a:lnTo>
                    <a:pt x="48" y="756"/>
                  </a:lnTo>
                  <a:lnTo>
                    <a:pt x="48" y="804"/>
                  </a:lnTo>
                  <a:lnTo>
                    <a:pt x="42" y="816"/>
                  </a:lnTo>
                  <a:lnTo>
                    <a:pt x="30" y="822"/>
                  </a:lnTo>
                  <a:lnTo>
                    <a:pt x="24" y="840"/>
                  </a:lnTo>
                  <a:lnTo>
                    <a:pt x="18" y="852"/>
                  </a:lnTo>
                  <a:lnTo>
                    <a:pt x="18" y="864"/>
                  </a:lnTo>
                  <a:lnTo>
                    <a:pt x="12" y="876"/>
                  </a:lnTo>
                  <a:lnTo>
                    <a:pt x="12" y="906"/>
                  </a:lnTo>
                  <a:lnTo>
                    <a:pt x="18" y="900"/>
                  </a:lnTo>
                  <a:lnTo>
                    <a:pt x="36" y="864"/>
                  </a:lnTo>
                  <a:lnTo>
                    <a:pt x="42" y="858"/>
                  </a:lnTo>
                  <a:lnTo>
                    <a:pt x="54" y="852"/>
                  </a:lnTo>
                  <a:lnTo>
                    <a:pt x="60" y="852"/>
                  </a:lnTo>
                  <a:lnTo>
                    <a:pt x="66" y="858"/>
                  </a:lnTo>
                  <a:lnTo>
                    <a:pt x="72" y="858"/>
                  </a:lnTo>
                  <a:lnTo>
                    <a:pt x="84" y="852"/>
                  </a:lnTo>
                  <a:lnTo>
                    <a:pt x="114" y="858"/>
                  </a:lnTo>
                  <a:lnTo>
                    <a:pt x="114" y="840"/>
                  </a:lnTo>
                  <a:lnTo>
                    <a:pt x="138" y="852"/>
                  </a:lnTo>
                  <a:lnTo>
                    <a:pt x="162" y="852"/>
                  </a:lnTo>
                  <a:lnTo>
                    <a:pt x="174" y="858"/>
                  </a:lnTo>
                  <a:lnTo>
                    <a:pt x="180" y="858"/>
                  </a:lnTo>
                  <a:lnTo>
                    <a:pt x="186" y="870"/>
                  </a:lnTo>
                  <a:lnTo>
                    <a:pt x="198" y="882"/>
                  </a:lnTo>
                  <a:lnTo>
                    <a:pt x="204" y="894"/>
                  </a:lnTo>
                  <a:lnTo>
                    <a:pt x="216" y="888"/>
                  </a:lnTo>
                  <a:lnTo>
                    <a:pt x="234" y="888"/>
                  </a:lnTo>
                  <a:lnTo>
                    <a:pt x="240" y="894"/>
                  </a:lnTo>
                  <a:lnTo>
                    <a:pt x="240" y="900"/>
                  </a:lnTo>
                  <a:lnTo>
                    <a:pt x="246" y="912"/>
                  </a:lnTo>
                  <a:lnTo>
                    <a:pt x="246" y="942"/>
                  </a:lnTo>
                  <a:lnTo>
                    <a:pt x="264" y="942"/>
                  </a:lnTo>
                  <a:lnTo>
                    <a:pt x="270" y="948"/>
                  </a:lnTo>
                  <a:lnTo>
                    <a:pt x="270" y="972"/>
                  </a:lnTo>
                  <a:lnTo>
                    <a:pt x="300" y="978"/>
                  </a:lnTo>
                  <a:lnTo>
                    <a:pt x="312" y="1002"/>
                  </a:lnTo>
                  <a:lnTo>
                    <a:pt x="330" y="1002"/>
                  </a:lnTo>
                  <a:lnTo>
                    <a:pt x="342" y="996"/>
                  </a:lnTo>
                  <a:lnTo>
                    <a:pt x="348" y="996"/>
                  </a:lnTo>
                  <a:lnTo>
                    <a:pt x="348" y="948"/>
                  </a:lnTo>
                  <a:lnTo>
                    <a:pt x="360" y="936"/>
                  </a:lnTo>
                  <a:lnTo>
                    <a:pt x="378" y="936"/>
                  </a:lnTo>
                  <a:lnTo>
                    <a:pt x="402" y="960"/>
                  </a:lnTo>
                  <a:lnTo>
                    <a:pt x="408" y="972"/>
                  </a:lnTo>
                  <a:lnTo>
                    <a:pt x="420" y="948"/>
                  </a:lnTo>
                  <a:lnTo>
                    <a:pt x="456" y="948"/>
                  </a:lnTo>
                  <a:lnTo>
                    <a:pt x="462" y="954"/>
                  </a:lnTo>
                  <a:lnTo>
                    <a:pt x="492" y="954"/>
                  </a:lnTo>
                  <a:lnTo>
                    <a:pt x="504" y="948"/>
                  </a:lnTo>
                  <a:lnTo>
                    <a:pt x="510" y="948"/>
                  </a:lnTo>
                  <a:lnTo>
                    <a:pt x="510" y="936"/>
                  </a:lnTo>
                  <a:lnTo>
                    <a:pt x="516" y="930"/>
                  </a:lnTo>
                  <a:lnTo>
                    <a:pt x="522" y="930"/>
                  </a:lnTo>
                  <a:lnTo>
                    <a:pt x="522" y="942"/>
                  </a:lnTo>
                  <a:lnTo>
                    <a:pt x="786" y="942"/>
                  </a:lnTo>
                  <a:lnTo>
                    <a:pt x="798" y="900"/>
                  </a:lnTo>
                  <a:lnTo>
                    <a:pt x="804" y="894"/>
                  </a:lnTo>
                  <a:lnTo>
                    <a:pt x="804" y="882"/>
                  </a:lnTo>
                  <a:lnTo>
                    <a:pt x="786" y="864"/>
                  </a:lnTo>
                  <a:lnTo>
                    <a:pt x="780" y="864"/>
                  </a:lnTo>
                  <a:lnTo>
                    <a:pt x="738" y="174"/>
                  </a:lnTo>
                  <a:lnTo>
                    <a:pt x="858" y="180"/>
                  </a:lnTo>
                  <a:lnTo>
                    <a:pt x="600" y="0"/>
                  </a:lnTo>
                  <a:lnTo>
                    <a:pt x="594" y="48"/>
                  </a:lnTo>
                  <a:lnTo>
                    <a:pt x="588" y="54"/>
                  </a:lnTo>
                  <a:lnTo>
                    <a:pt x="588" y="90"/>
                  </a:lnTo>
                  <a:lnTo>
                    <a:pt x="366" y="96"/>
                  </a:lnTo>
                  <a:lnTo>
                    <a:pt x="366" y="108"/>
                  </a:lnTo>
                  <a:lnTo>
                    <a:pt x="354" y="114"/>
                  </a:lnTo>
                  <a:lnTo>
                    <a:pt x="354" y="306"/>
                  </a:lnTo>
                  <a:lnTo>
                    <a:pt x="348" y="312"/>
                  </a:lnTo>
                  <a:lnTo>
                    <a:pt x="336" y="318"/>
                  </a:lnTo>
                  <a:lnTo>
                    <a:pt x="306" y="318"/>
                  </a:lnTo>
                  <a:lnTo>
                    <a:pt x="282" y="330"/>
                  </a:lnTo>
                  <a:lnTo>
                    <a:pt x="276" y="342"/>
                  </a:lnTo>
                  <a:lnTo>
                    <a:pt x="276" y="360"/>
                  </a:lnTo>
                  <a:lnTo>
                    <a:pt x="282" y="372"/>
                  </a:lnTo>
                  <a:lnTo>
                    <a:pt x="276" y="474"/>
                  </a:lnTo>
                  <a:lnTo>
                    <a:pt x="0" y="474"/>
                  </a:lnTo>
                  <a:lnTo>
                    <a:pt x="0" y="498"/>
                  </a:lnTo>
                  <a:close/>
                </a:path>
              </a:pathLst>
            </a:custGeom>
            <a:solidFill>
              <a:srgbClr val="692864"/>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14" name="Mali" descr="© INSCALE GmbH, 05.05.2010&#10;http://www.presentationload.com/"/>
            <p:cNvSpPr>
              <a:spLocks/>
            </p:cNvSpPr>
            <p:nvPr/>
          </p:nvSpPr>
          <p:spPr bwMode="gray">
            <a:xfrm>
              <a:off x="3883027" y="3275015"/>
              <a:ext cx="466725" cy="484188"/>
            </a:xfrm>
            <a:custGeom>
              <a:avLst/>
              <a:gdLst>
                <a:gd name="T0" fmla="*/ 2147483647 w 1164"/>
                <a:gd name="T1" fmla="*/ 2147483647 h 1200"/>
                <a:gd name="T2" fmla="*/ 2147483647 w 1164"/>
                <a:gd name="T3" fmla="*/ 2147483647 h 1200"/>
                <a:gd name="T4" fmla="*/ 2147483647 w 1164"/>
                <a:gd name="T5" fmla="*/ 2147483647 h 1200"/>
                <a:gd name="T6" fmla="*/ 2147483647 w 1164"/>
                <a:gd name="T7" fmla="*/ 2147483647 h 1200"/>
                <a:gd name="T8" fmla="*/ 2147483647 w 1164"/>
                <a:gd name="T9" fmla="*/ 2147483647 h 1200"/>
                <a:gd name="T10" fmla="*/ 2147483647 w 1164"/>
                <a:gd name="T11" fmla="*/ 2147483647 h 1200"/>
                <a:gd name="T12" fmla="*/ 2147483647 w 1164"/>
                <a:gd name="T13" fmla="*/ 2147483647 h 1200"/>
                <a:gd name="T14" fmla="*/ 2147483647 w 1164"/>
                <a:gd name="T15" fmla="*/ 2147483647 h 1200"/>
                <a:gd name="T16" fmla="*/ 2147483647 w 1164"/>
                <a:gd name="T17" fmla="*/ 2147483647 h 1200"/>
                <a:gd name="T18" fmla="*/ 2147483647 w 1164"/>
                <a:gd name="T19" fmla="*/ 2147483647 h 1200"/>
                <a:gd name="T20" fmla="*/ 2147483647 w 1164"/>
                <a:gd name="T21" fmla="*/ 2147483647 h 1200"/>
                <a:gd name="T22" fmla="*/ 2147483647 w 1164"/>
                <a:gd name="T23" fmla="*/ 2147483647 h 1200"/>
                <a:gd name="T24" fmla="*/ 2147483647 w 1164"/>
                <a:gd name="T25" fmla="*/ 2147483647 h 1200"/>
                <a:gd name="T26" fmla="*/ 2147483647 w 1164"/>
                <a:gd name="T27" fmla="*/ 2147483647 h 1200"/>
                <a:gd name="T28" fmla="*/ 2147483647 w 1164"/>
                <a:gd name="T29" fmla="*/ 2147483647 h 1200"/>
                <a:gd name="T30" fmla="*/ 2147483647 w 1164"/>
                <a:gd name="T31" fmla="*/ 2147483647 h 1200"/>
                <a:gd name="T32" fmla="*/ 2147483647 w 1164"/>
                <a:gd name="T33" fmla="*/ 2147483647 h 1200"/>
                <a:gd name="T34" fmla="*/ 2147483647 w 1164"/>
                <a:gd name="T35" fmla="*/ 2147483647 h 1200"/>
                <a:gd name="T36" fmla="*/ 2147483647 w 1164"/>
                <a:gd name="T37" fmla="*/ 2147483647 h 1200"/>
                <a:gd name="T38" fmla="*/ 2147483647 w 1164"/>
                <a:gd name="T39" fmla="*/ 2147483647 h 1200"/>
                <a:gd name="T40" fmla="*/ 2147483647 w 1164"/>
                <a:gd name="T41" fmla="*/ 2147483647 h 1200"/>
                <a:gd name="T42" fmla="*/ 2147483647 w 1164"/>
                <a:gd name="T43" fmla="*/ 2147483647 h 1200"/>
                <a:gd name="T44" fmla="*/ 2147483647 w 1164"/>
                <a:gd name="T45" fmla="*/ 2147483647 h 1200"/>
                <a:gd name="T46" fmla="*/ 2147483647 w 1164"/>
                <a:gd name="T47" fmla="*/ 2147483647 h 1200"/>
                <a:gd name="T48" fmla="*/ 2147483647 w 1164"/>
                <a:gd name="T49" fmla="*/ 2147483647 h 1200"/>
                <a:gd name="T50" fmla="*/ 2147483647 w 1164"/>
                <a:gd name="T51" fmla="*/ 2147483647 h 1200"/>
                <a:gd name="T52" fmla="*/ 2147483647 w 1164"/>
                <a:gd name="T53" fmla="*/ 2147483647 h 1200"/>
                <a:gd name="T54" fmla="*/ 0 w 1164"/>
                <a:gd name="T55" fmla="*/ 2147483647 h 1200"/>
                <a:gd name="T56" fmla="*/ 2147483647 w 1164"/>
                <a:gd name="T57" fmla="*/ 2147483647 h 1200"/>
                <a:gd name="T58" fmla="*/ 2147483647 w 1164"/>
                <a:gd name="T59" fmla="*/ 2147483647 h 1200"/>
                <a:gd name="T60" fmla="*/ 2147483647 w 1164"/>
                <a:gd name="T61" fmla="*/ 2147483647 h 1200"/>
                <a:gd name="T62" fmla="*/ 2147483647 w 1164"/>
                <a:gd name="T63" fmla="*/ 2147483647 h 1200"/>
                <a:gd name="T64" fmla="*/ 2147483647 w 1164"/>
                <a:gd name="T65" fmla="*/ 2147483647 h 1200"/>
                <a:gd name="T66" fmla="*/ 2147483647 w 1164"/>
                <a:gd name="T67" fmla="*/ 2147483647 h 1200"/>
                <a:gd name="T68" fmla="*/ 2147483647 w 1164"/>
                <a:gd name="T69" fmla="*/ 2147483647 h 1200"/>
                <a:gd name="T70" fmla="*/ 2147483647 w 1164"/>
                <a:gd name="T71" fmla="*/ 2147483647 h 1200"/>
                <a:gd name="T72" fmla="*/ 2147483647 w 1164"/>
                <a:gd name="T73" fmla="*/ 2147483647 h 1200"/>
                <a:gd name="T74" fmla="*/ 2147483647 w 1164"/>
                <a:gd name="T75" fmla="*/ 2147483647 h 1200"/>
                <a:gd name="T76" fmla="*/ 2147483647 w 1164"/>
                <a:gd name="T77" fmla="*/ 2147483647 h 1200"/>
                <a:gd name="T78" fmla="*/ 2147483647 w 1164"/>
                <a:gd name="T79" fmla="*/ 2147483647 h 1200"/>
                <a:gd name="T80" fmla="*/ 2147483647 w 1164"/>
                <a:gd name="T81" fmla="*/ 2147483647 h 1200"/>
                <a:gd name="T82" fmla="*/ 2147483647 w 1164"/>
                <a:gd name="T83" fmla="*/ 2147483647 h 1200"/>
                <a:gd name="T84" fmla="*/ 2147483647 w 1164"/>
                <a:gd name="T85" fmla="*/ 2147483647 h 1200"/>
                <a:gd name="T86" fmla="*/ 2147483647 w 1164"/>
                <a:gd name="T87" fmla="*/ 2147483647 h 1200"/>
                <a:gd name="T88" fmla="*/ 2147483647 w 1164"/>
                <a:gd name="T89" fmla="*/ 2147483647 h 1200"/>
                <a:gd name="T90" fmla="*/ 2147483647 w 1164"/>
                <a:gd name="T91" fmla="*/ 2147483647 h 1200"/>
                <a:gd name="T92" fmla="*/ 2147483647 w 1164"/>
                <a:gd name="T93" fmla="*/ 2147483647 h 1200"/>
                <a:gd name="T94" fmla="*/ 2147483647 w 1164"/>
                <a:gd name="T95" fmla="*/ 2147483647 h 1200"/>
                <a:gd name="T96" fmla="*/ 2147483647 w 1164"/>
                <a:gd name="T97" fmla="*/ 2147483647 h 1200"/>
                <a:gd name="T98" fmla="*/ 2147483647 w 1164"/>
                <a:gd name="T99" fmla="*/ 2147483647 h 1200"/>
                <a:gd name="T100" fmla="*/ 2147483647 w 1164"/>
                <a:gd name="T101" fmla="*/ 2147483647 h 1200"/>
                <a:gd name="T102" fmla="*/ 2147483647 w 1164"/>
                <a:gd name="T103" fmla="*/ 2147483647 h 1200"/>
                <a:gd name="T104" fmla="*/ 2147483647 w 1164"/>
                <a:gd name="T105" fmla="*/ 2147483647 h 1200"/>
                <a:gd name="T106" fmla="*/ 2147483647 w 1164"/>
                <a:gd name="T107" fmla="*/ 2147483647 h 120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164"/>
                <a:gd name="T163" fmla="*/ 0 h 1200"/>
                <a:gd name="T164" fmla="*/ 1164 w 1164"/>
                <a:gd name="T165" fmla="*/ 1200 h 120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164" h="1200">
                  <a:moveTo>
                    <a:pt x="612" y="954"/>
                  </a:moveTo>
                  <a:lnTo>
                    <a:pt x="636" y="948"/>
                  </a:lnTo>
                  <a:lnTo>
                    <a:pt x="636" y="912"/>
                  </a:lnTo>
                  <a:lnTo>
                    <a:pt x="654" y="912"/>
                  </a:lnTo>
                  <a:lnTo>
                    <a:pt x="654" y="906"/>
                  </a:lnTo>
                  <a:lnTo>
                    <a:pt x="660" y="900"/>
                  </a:lnTo>
                  <a:lnTo>
                    <a:pt x="666" y="888"/>
                  </a:lnTo>
                  <a:lnTo>
                    <a:pt x="678" y="882"/>
                  </a:lnTo>
                  <a:lnTo>
                    <a:pt x="684" y="870"/>
                  </a:lnTo>
                  <a:lnTo>
                    <a:pt x="690" y="864"/>
                  </a:lnTo>
                  <a:lnTo>
                    <a:pt x="696" y="864"/>
                  </a:lnTo>
                  <a:lnTo>
                    <a:pt x="708" y="876"/>
                  </a:lnTo>
                  <a:lnTo>
                    <a:pt x="720" y="876"/>
                  </a:lnTo>
                  <a:lnTo>
                    <a:pt x="720" y="870"/>
                  </a:lnTo>
                  <a:lnTo>
                    <a:pt x="726" y="864"/>
                  </a:lnTo>
                  <a:lnTo>
                    <a:pt x="726" y="846"/>
                  </a:lnTo>
                  <a:lnTo>
                    <a:pt x="750" y="846"/>
                  </a:lnTo>
                  <a:lnTo>
                    <a:pt x="768" y="822"/>
                  </a:lnTo>
                  <a:lnTo>
                    <a:pt x="792" y="822"/>
                  </a:lnTo>
                  <a:lnTo>
                    <a:pt x="810" y="804"/>
                  </a:lnTo>
                  <a:lnTo>
                    <a:pt x="858" y="804"/>
                  </a:lnTo>
                  <a:lnTo>
                    <a:pt x="882" y="816"/>
                  </a:lnTo>
                  <a:lnTo>
                    <a:pt x="930" y="804"/>
                  </a:lnTo>
                  <a:lnTo>
                    <a:pt x="954" y="786"/>
                  </a:lnTo>
                  <a:lnTo>
                    <a:pt x="1020" y="792"/>
                  </a:lnTo>
                  <a:lnTo>
                    <a:pt x="1020" y="774"/>
                  </a:lnTo>
                  <a:lnTo>
                    <a:pt x="1068" y="780"/>
                  </a:lnTo>
                  <a:lnTo>
                    <a:pt x="1080" y="774"/>
                  </a:lnTo>
                  <a:lnTo>
                    <a:pt x="1104" y="774"/>
                  </a:lnTo>
                  <a:lnTo>
                    <a:pt x="1122" y="768"/>
                  </a:lnTo>
                  <a:lnTo>
                    <a:pt x="1134" y="762"/>
                  </a:lnTo>
                  <a:lnTo>
                    <a:pt x="1140" y="750"/>
                  </a:lnTo>
                  <a:lnTo>
                    <a:pt x="1140" y="732"/>
                  </a:lnTo>
                  <a:lnTo>
                    <a:pt x="1146" y="720"/>
                  </a:lnTo>
                  <a:lnTo>
                    <a:pt x="1146" y="708"/>
                  </a:lnTo>
                  <a:lnTo>
                    <a:pt x="1164" y="684"/>
                  </a:lnTo>
                  <a:lnTo>
                    <a:pt x="1164" y="480"/>
                  </a:lnTo>
                  <a:lnTo>
                    <a:pt x="1140" y="480"/>
                  </a:lnTo>
                  <a:lnTo>
                    <a:pt x="1134" y="486"/>
                  </a:lnTo>
                  <a:lnTo>
                    <a:pt x="1104" y="486"/>
                  </a:lnTo>
                  <a:lnTo>
                    <a:pt x="1092" y="480"/>
                  </a:lnTo>
                  <a:lnTo>
                    <a:pt x="1086" y="474"/>
                  </a:lnTo>
                  <a:lnTo>
                    <a:pt x="1086" y="468"/>
                  </a:lnTo>
                  <a:lnTo>
                    <a:pt x="1104" y="450"/>
                  </a:lnTo>
                  <a:lnTo>
                    <a:pt x="1104" y="432"/>
                  </a:lnTo>
                  <a:lnTo>
                    <a:pt x="1092" y="408"/>
                  </a:lnTo>
                  <a:lnTo>
                    <a:pt x="1080" y="402"/>
                  </a:lnTo>
                  <a:lnTo>
                    <a:pt x="1050" y="402"/>
                  </a:lnTo>
                  <a:lnTo>
                    <a:pt x="1044" y="408"/>
                  </a:lnTo>
                  <a:lnTo>
                    <a:pt x="1038" y="408"/>
                  </a:lnTo>
                  <a:lnTo>
                    <a:pt x="1032" y="378"/>
                  </a:lnTo>
                  <a:lnTo>
                    <a:pt x="996" y="378"/>
                  </a:lnTo>
                  <a:lnTo>
                    <a:pt x="984" y="366"/>
                  </a:lnTo>
                  <a:lnTo>
                    <a:pt x="984" y="348"/>
                  </a:lnTo>
                  <a:lnTo>
                    <a:pt x="978" y="342"/>
                  </a:lnTo>
                  <a:lnTo>
                    <a:pt x="954" y="342"/>
                  </a:lnTo>
                  <a:lnTo>
                    <a:pt x="954" y="318"/>
                  </a:lnTo>
                  <a:lnTo>
                    <a:pt x="546" y="6"/>
                  </a:lnTo>
                  <a:lnTo>
                    <a:pt x="426" y="0"/>
                  </a:lnTo>
                  <a:lnTo>
                    <a:pt x="468" y="690"/>
                  </a:lnTo>
                  <a:lnTo>
                    <a:pt x="474" y="690"/>
                  </a:lnTo>
                  <a:lnTo>
                    <a:pt x="492" y="708"/>
                  </a:lnTo>
                  <a:lnTo>
                    <a:pt x="492" y="720"/>
                  </a:lnTo>
                  <a:lnTo>
                    <a:pt x="486" y="726"/>
                  </a:lnTo>
                  <a:lnTo>
                    <a:pt x="474" y="768"/>
                  </a:lnTo>
                  <a:lnTo>
                    <a:pt x="210" y="768"/>
                  </a:lnTo>
                  <a:lnTo>
                    <a:pt x="210" y="756"/>
                  </a:lnTo>
                  <a:lnTo>
                    <a:pt x="204" y="756"/>
                  </a:lnTo>
                  <a:lnTo>
                    <a:pt x="198" y="762"/>
                  </a:lnTo>
                  <a:lnTo>
                    <a:pt x="198" y="774"/>
                  </a:lnTo>
                  <a:lnTo>
                    <a:pt x="192" y="774"/>
                  </a:lnTo>
                  <a:lnTo>
                    <a:pt x="180" y="780"/>
                  </a:lnTo>
                  <a:lnTo>
                    <a:pt x="150" y="780"/>
                  </a:lnTo>
                  <a:lnTo>
                    <a:pt x="144" y="774"/>
                  </a:lnTo>
                  <a:lnTo>
                    <a:pt x="108" y="774"/>
                  </a:lnTo>
                  <a:lnTo>
                    <a:pt x="96" y="798"/>
                  </a:lnTo>
                  <a:lnTo>
                    <a:pt x="90" y="786"/>
                  </a:lnTo>
                  <a:lnTo>
                    <a:pt x="66" y="762"/>
                  </a:lnTo>
                  <a:lnTo>
                    <a:pt x="48" y="762"/>
                  </a:lnTo>
                  <a:lnTo>
                    <a:pt x="36" y="774"/>
                  </a:lnTo>
                  <a:lnTo>
                    <a:pt x="36" y="822"/>
                  </a:lnTo>
                  <a:lnTo>
                    <a:pt x="30" y="822"/>
                  </a:lnTo>
                  <a:lnTo>
                    <a:pt x="18" y="828"/>
                  </a:lnTo>
                  <a:lnTo>
                    <a:pt x="0" y="828"/>
                  </a:lnTo>
                  <a:lnTo>
                    <a:pt x="0" y="852"/>
                  </a:lnTo>
                  <a:lnTo>
                    <a:pt x="12" y="870"/>
                  </a:lnTo>
                  <a:lnTo>
                    <a:pt x="12" y="876"/>
                  </a:lnTo>
                  <a:lnTo>
                    <a:pt x="24" y="888"/>
                  </a:lnTo>
                  <a:lnTo>
                    <a:pt x="24" y="906"/>
                  </a:lnTo>
                  <a:lnTo>
                    <a:pt x="18" y="912"/>
                  </a:lnTo>
                  <a:lnTo>
                    <a:pt x="18" y="936"/>
                  </a:lnTo>
                  <a:lnTo>
                    <a:pt x="24" y="942"/>
                  </a:lnTo>
                  <a:lnTo>
                    <a:pt x="36" y="942"/>
                  </a:lnTo>
                  <a:lnTo>
                    <a:pt x="36" y="936"/>
                  </a:lnTo>
                  <a:lnTo>
                    <a:pt x="42" y="936"/>
                  </a:lnTo>
                  <a:lnTo>
                    <a:pt x="48" y="942"/>
                  </a:lnTo>
                  <a:lnTo>
                    <a:pt x="54" y="954"/>
                  </a:lnTo>
                  <a:lnTo>
                    <a:pt x="54" y="1032"/>
                  </a:lnTo>
                  <a:lnTo>
                    <a:pt x="60" y="1044"/>
                  </a:lnTo>
                  <a:lnTo>
                    <a:pt x="60" y="1050"/>
                  </a:lnTo>
                  <a:lnTo>
                    <a:pt x="66" y="1056"/>
                  </a:lnTo>
                  <a:lnTo>
                    <a:pt x="72" y="1050"/>
                  </a:lnTo>
                  <a:lnTo>
                    <a:pt x="78" y="1038"/>
                  </a:lnTo>
                  <a:lnTo>
                    <a:pt x="90" y="1026"/>
                  </a:lnTo>
                  <a:lnTo>
                    <a:pt x="102" y="1038"/>
                  </a:lnTo>
                  <a:lnTo>
                    <a:pt x="108" y="1050"/>
                  </a:lnTo>
                  <a:lnTo>
                    <a:pt x="108" y="1062"/>
                  </a:lnTo>
                  <a:lnTo>
                    <a:pt x="114" y="1050"/>
                  </a:lnTo>
                  <a:lnTo>
                    <a:pt x="126" y="1038"/>
                  </a:lnTo>
                  <a:lnTo>
                    <a:pt x="132" y="1026"/>
                  </a:lnTo>
                  <a:lnTo>
                    <a:pt x="138" y="1026"/>
                  </a:lnTo>
                  <a:lnTo>
                    <a:pt x="144" y="1032"/>
                  </a:lnTo>
                  <a:lnTo>
                    <a:pt x="150" y="1032"/>
                  </a:lnTo>
                  <a:lnTo>
                    <a:pt x="162" y="1038"/>
                  </a:lnTo>
                  <a:lnTo>
                    <a:pt x="168" y="1044"/>
                  </a:lnTo>
                  <a:lnTo>
                    <a:pt x="180" y="1050"/>
                  </a:lnTo>
                  <a:lnTo>
                    <a:pt x="198" y="1032"/>
                  </a:lnTo>
                  <a:lnTo>
                    <a:pt x="198" y="1014"/>
                  </a:lnTo>
                  <a:lnTo>
                    <a:pt x="204" y="1008"/>
                  </a:lnTo>
                  <a:lnTo>
                    <a:pt x="216" y="1008"/>
                  </a:lnTo>
                  <a:lnTo>
                    <a:pt x="228" y="1014"/>
                  </a:lnTo>
                  <a:lnTo>
                    <a:pt x="228" y="1032"/>
                  </a:lnTo>
                  <a:lnTo>
                    <a:pt x="246" y="1044"/>
                  </a:lnTo>
                  <a:lnTo>
                    <a:pt x="234" y="1074"/>
                  </a:lnTo>
                  <a:lnTo>
                    <a:pt x="270" y="1092"/>
                  </a:lnTo>
                  <a:lnTo>
                    <a:pt x="246" y="1128"/>
                  </a:lnTo>
                  <a:lnTo>
                    <a:pt x="270" y="1128"/>
                  </a:lnTo>
                  <a:lnTo>
                    <a:pt x="270" y="1164"/>
                  </a:lnTo>
                  <a:lnTo>
                    <a:pt x="300" y="1194"/>
                  </a:lnTo>
                  <a:lnTo>
                    <a:pt x="312" y="1200"/>
                  </a:lnTo>
                  <a:lnTo>
                    <a:pt x="312" y="1182"/>
                  </a:lnTo>
                  <a:lnTo>
                    <a:pt x="318" y="1176"/>
                  </a:lnTo>
                  <a:lnTo>
                    <a:pt x="330" y="1176"/>
                  </a:lnTo>
                  <a:lnTo>
                    <a:pt x="348" y="1182"/>
                  </a:lnTo>
                  <a:lnTo>
                    <a:pt x="366" y="1200"/>
                  </a:lnTo>
                  <a:lnTo>
                    <a:pt x="372" y="1182"/>
                  </a:lnTo>
                  <a:lnTo>
                    <a:pt x="390" y="1182"/>
                  </a:lnTo>
                  <a:lnTo>
                    <a:pt x="396" y="1158"/>
                  </a:lnTo>
                  <a:lnTo>
                    <a:pt x="408" y="1176"/>
                  </a:lnTo>
                  <a:lnTo>
                    <a:pt x="420" y="1152"/>
                  </a:lnTo>
                  <a:lnTo>
                    <a:pt x="420" y="1188"/>
                  </a:lnTo>
                  <a:lnTo>
                    <a:pt x="444" y="1194"/>
                  </a:lnTo>
                  <a:lnTo>
                    <a:pt x="450" y="1188"/>
                  </a:lnTo>
                  <a:lnTo>
                    <a:pt x="456" y="1176"/>
                  </a:lnTo>
                  <a:lnTo>
                    <a:pt x="462" y="1170"/>
                  </a:lnTo>
                  <a:lnTo>
                    <a:pt x="474" y="1170"/>
                  </a:lnTo>
                  <a:lnTo>
                    <a:pt x="468" y="1116"/>
                  </a:lnTo>
                  <a:lnTo>
                    <a:pt x="492" y="1116"/>
                  </a:lnTo>
                  <a:lnTo>
                    <a:pt x="504" y="1092"/>
                  </a:lnTo>
                  <a:lnTo>
                    <a:pt x="480" y="1062"/>
                  </a:lnTo>
                  <a:lnTo>
                    <a:pt x="498" y="1050"/>
                  </a:lnTo>
                  <a:lnTo>
                    <a:pt x="504" y="1050"/>
                  </a:lnTo>
                  <a:lnTo>
                    <a:pt x="510" y="1044"/>
                  </a:lnTo>
                  <a:lnTo>
                    <a:pt x="546" y="1044"/>
                  </a:lnTo>
                  <a:lnTo>
                    <a:pt x="546" y="1032"/>
                  </a:lnTo>
                  <a:lnTo>
                    <a:pt x="540" y="1026"/>
                  </a:lnTo>
                  <a:lnTo>
                    <a:pt x="546" y="1026"/>
                  </a:lnTo>
                  <a:lnTo>
                    <a:pt x="552" y="1020"/>
                  </a:lnTo>
                  <a:lnTo>
                    <a:pt x="552" y="990"/>
                  </a:lnTo>
                  <a:lnTo>
                    <a:pt x="570" y="990"/>
                  </a:lnTo>
                  <a:lnTo>
                    <a:pt x="570" y="960"/>
                  </a:lnTo>
                  <a:lnTo>
                    <a:pt x="564" y="954"/>
                  </a:lnTo>
                  <a:lnTo>
                    <a:pt x="582" y="924"/>
                  </a:lnTo>
                  <a:lnTo>
                    <a:pt x="612" y="954"/>
                  </a:lnTo>
                  <a:close/>
                </a:path>
              </a:pathLst>
            </a:custGeom>
            <a:solidFill>
              <a:srgbClr val="692864"/>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15" name="Malaysia" descr="© INSCALE GmbH, 05.05.2010&#10;http://www.presentationload.com/"/>
            <p:cNvSpPr>
              <a:spLocks/>
            </p:cNvSpPr>
            <p:nvPr/>
          </p:nvSpPr>
          <p:spPr bwMode="gray">
            <a:xfrm>
              <a:off x="7073907" y="3859212"/>
              <a:ext cx="123825" cy="176213"/>
            </a:xfrm>
            <a:custGeom>
              <a:avLst/>
              <a:gdLst>
                <a:gd name="T0" fmla="*/ 2147483647 w 306"/>
                <a:gd name="T1" fmla="*/ 2147483647 h 438"/>
                <a:gd name="T2" fmla="*/ 2147483647 w 306"/>
                <a:gd name="T3" fmla="*/ 2147483647 h 438"/>
                <a:gd name="T4" fmla="*/ 2147483647 w 306"/>
                <a:gd name="T5" fmla="*/ 2147483647 h 438"/>
                <a:gd name="T6" fmla="*/ 2147483647 w 306"/>
                <a:gd name="T7" fmla="*/ 2147483647 h 438"/>
                <a:gd name="T8" fmla="*/ 2147483647 w 306"/>
                <a:gd name="T9" fmla="*/ 2147483647 h 438"/>
                <a:gd name="T10" fmla="*/ 2147483647 w 306"/>
                <a:gd name="T11" fmla="*/ 2147483647 h 438"/>
                <a:gd name="T12" fmla="*/ 2147483647 w 306"/>
                <a:gd name="T13" fmla="*/ 2147483647 h 438"/>
                <a:gd name="T14" fmla="*/ 2147483647 w 306"/>
                <a:gd name="T15" fmla="*/ 2147483647 h 438"/>
                <a:gd name="T16" fmla="*/ 2147483647 w 306"/>
                <a:gd name="T17" fmla="*/ 2147483647 h 438"/>
                <a:gd name="T18" fmla="*/ 2147483647 w 306"/>
                <a:gd name="T19" fmla="*/ 2147483647 h 438"/>
                <a:gd name="T20" fmla="*/ 2147483647 w 306"/>
                <a:gd name="T21" fmla="*/ 2147483647 h 438"/>
                <a:gd name="T22" fmla="*/ 2147483647 w 306"/>
                <a:gd name="T23" fmla="*/ 2147483647 h 438"/>
                <a:gd name="T24" fmla="*/ 2147483647 w 306"/>
                <a:gd name="T25" fmla="*/ 2147483647 h 438"/>
                <a:gd name="T26" fmla="*/ 2147483647 w 306"/>
                <a:gd name="T27" fmla="*/ 2147483647 h 438"/>
                <a:gd name="T28" fmla="*/ 2147483647 w 306"/>
                <a:gd name="T29" fmla="*/ 2147483647 h 438"/>
                <a:gd name="T30" fmla="*/ 2147483647 w 306"/>
                <a:gd name="T31" fmla="*/ 2147483647 h 438"/>
                <a:gd name="T32" fmla="*/ 2147483647 w 306"/>
                <a:gd name="T33" fmla="*/ 2147483647 h 438"/>
                <a:gd name="T34" fmla="*/ 2147483647 w 306"/>
                <a:gd name="T35" fmla="*/ 2147483647 h 438"/>
                <a:gd name="T36" fmla="*/ 2147483647 w 306"/>
                <a:gd name="T37" fmla="*/ 2147483647 h 438"/>
                <a:gd name="T38" fmla="*/ 2147483647 w 306"/>
                <a:gd name="T39" fmla="*/ 2147483647 h 438"/>
                <a:gd name="T40" fmla="*/ 2147483647 w 306"/>
                <a:gd name="T41" fmla="*/ 2147483647 h 438"/>
                <a:gd name="T42" fmla="*/ 2147483647 w 306"/>
                <a:gd name="T43" fmla="*/ 2147483647 h 438"/>
                <a:gd name="T44" fmla="*/ 2147483647 w 306"/>
                <a:gd name="T45" fmla="*/ 2147483647 h 438"/>
                <a:gd name="T46" fmla="*/ 2147483647 w 306"/>
                <a:gd name="T47" fmla="*/ 2147483647 h 438"/>
                <a:gd name="T48" fmla="*/ 2147483647 w 306"/>
                <a:gd name="T49" fmla="*/ 2147483647 h 438"/>
                <a:gd name="T50" fmla="*/ 2147483647 w 306"/>
                <a:gd name="T51" fmla="*/ 2147483647 h 438"/>
                <a:gd name="T52" fmla="*/ 2147483647 w 306"/>
                <a:gd name="T53" fmla="*/ 2147483647 h 438"/>
                <a:gd name="T54" fmla="*/ 2147483647 w 306"/>
                <a:gd name="T55" fmla="*/ 2147483647 h 438"/>
                <a:gd name="T56" fmla="*/ 2147483647 w 306"/>
                <a:gd name="T57" fmla="*/ 2147483647 h 438"/>
                <a:gd name="T58" fmla="*/ 2147483647 w 306"/>
                <a:gd name="T59" fmla="*/ 2147483647 h 438"/>
                <a:gd name="T60" fmla="*/ 2147483647 w 306"/>
                <a:gd name="T61" fmla="*/ 2147483647 h 438"/>
                <a:gd name="T62" fmla="*/ 2147483647 w 306"/>
                <a:gd name="T63" fmla="*/ 2147483647 h 438"/>
                <a:gd name="T64" fmla="*/ 2147483647 w 306"/>
                <a:gd name="T65" fmla="*/ 2147483647 h 438"/>
                <a:gd name="T66" fmla="*/ 2147483647 w 306"/>
                <a:gd name="T67" fmla="*/ 2147483647 h 438"/>
                <a:gd name="T68" fmla="*/ 2147483647 w 306"/>
                <a:gd name="T69" fmla="*/ 2147483647 h 438"/>
                <a:gd name="T70" fmla="*/ 2147483647 w 306"/>
                <a:gd name="T71" fmla="*/ 2147483647 h 438"/>
                <a:gd name="T72" fmla="*/ 2147483647 w 306"/>
                <a:gd name="T73" fmla="*/ 2147483647 h 438"/>
                <a:gd name="T74" fmla="*/ 2147483647 w 306"/>
                <a:gd name="T75" fmla="*/ 2147483647 h 438"/>
                <a:gd name="T76" fmla="*/ 2147483647 w 306"/>
                <a:gd name="T77" fmla="*/ 0 h 438"/>
                <a:gd name="T78" fmla="*/ 2147483647 w 306"/>
                <a:gd name="T79" fmla="*/ 2147483647 h 438"/>
                <a:gd name="T80" fmla="*/ 2147483647 w 306"/>
                <a:gd name="T81" fmla="*/ 2147483647 h 43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06"/>
                <a:gd name="T124" fmla="*/ 0 h 438"/>
                <a:gd name="T125" fmla="*/ 306 w 306"/>
                <a:gd name="T126" fmla="*/ 438 h 43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06" h="438">
                  <a:moveTo>
                    <a:pt x="0" y="42"/>
                  </a:moveTo>
                  <a:lnTo>
                    <a:pt x="6" y="138"/>
                  </a:lnTo>
                  <a:lnTo>
                    <a:pt x="18" y="138"/>
                  </a:lnTo>
                  <a:lnTo>
                    <a:pt x="24" y="132"/>
                  </a:lnTo>
                  <a:lnTo>
                    <a:pt x="42" y="132"/>
                  </a:lnTo>
                  <a:lnTo>
                    <a:pt x="54" y="138"/>
                  </a:lnTo>
                  <a:lnTo>
                    <a:pt x="54" y="168"/>
                  </a:lnTo>
                  <a:lnTo>
                    <a:pt x="48" y="180"/>
                  </a:lnTo>
                  <a:lnTo>
                    <a:pt x="48" y="198"/>
                  </a:lnTo>
                  <a:lnTo>
                    <a:pt x="54" y="216"/>
                  </a:lnTo>
                  <a:lnTo>
                    <a:pt x="60" y="228"/>
                  </a:lnTo>
                  <a:lnTo>
                    <a:pt x="66" y="234"/>
                  </a:lnTo>
                  <a:lnTo>
                    <a:pt x="84" y="234"/>
                  </a:lnTo>
                  <a:lnTo>
                    <a:pt x="90" y="228"/>
                  </a:lnTo>
                  <a:lnTo>
                    <a:pt x="90" y="240"/>
                  </a:lnTo>
                  <a:lnTo>
                    <a:pt x="84" y="252"/>
                  </a:lnTo>
                  <a:lnTo>
                    <a:pt x="84" y="282"/>
                  </a:lnTo>
                  <a:lnTo>
                    <a:pt x="96" y="306"/>
                  </a:lnTo>
                  <a:lnTo>
                    <a:pt x="102" y="312"/>
                  </a:lnTo>
                  <a:lnTo>
                    <a:pt x="114" y="318"/>
                  </a:lnTo>
                  <a:lnTo>
                    <a:pt x="132" y="330"/>
                  </a:lnTo>
                  <a:lnTo>
                    <a:pt x="144" y="336"/>
                  </a:lnTo>
                  <a:lnTo>
                    <a:pt x="162" y="354"/>
                  </a:lnTo>
                  <a:lnTo>
                    <a:pt x="168" y="354"/>
                  </a:lnTo>
                  <a:lnTo>
                    <a:pt x="168" y="366"/>
                  </a:lnTo>
                  <a:lnTo>
                    <a:pt x="174" y="372"/>
                  </a:lnTo>
                  <a:lnTo>
                    <a:pt x="174" y="378"/>
                  </a:lnTo>
                  <a:lnTo>
                    <a:pt x="180" y="384"/>
                  </a:lnTo>
                  <a:lnTo>
                    <a:pt x="186" y="384"/>
                  </a:lnTo>
                  <a:lnTo>
                    <a:pt x="198" y="390"/>
                  </a:lnTo>
                  <a:lnTo>
                    <a:pt x="204" y="396"/>
                  </a:lnTo>
                  <a:lnTo>
                    <a:pt x="216" y="396"/>
                  </a:lnTo>
                  <a:lnTo>
                    <a:pt x="222" y="402"/>
                  </a:lnTo>
                  <a:lnTo>
                    <a:pt x="228" y="402"/>
                  </a:lnTo>
                  <a:lnTo>
                    <a:pt x="252" y="438"/>
                  </a:lnTo>
                  <a:lnTo>
                    <a:pt x="300" y="432"/>
                  </a:lnTo>
                  <a:lnTo>
                    <a:pt x="300" y="420"/>
                  </a:lnTo>
                  <a:lnTo>
                    <a:pt x="306" y="408"/>
                  </a:lnTo>
                  <a:lnTo>
                    <a:pt x="306" y="378"/>
                  </a:lnTo>
                  <a:lnTo>
                    <a:pt x="294" y="354"/>
                  </a:lnTo>
                  <a:lnTo>
                    <a:pt x="270" y="330"/>
                  </a:lnTo>
                  <a:lnTo>
                    <a:pt x="264" y="318"/>
                  </a:lnTo>
                  <a:lnTo>
                    <a:pt x="258" y="312"/>
                  </a:lnTo>
                  <a:lnTo>
                    <a:pt x="258" y="288"/>
                  </a:lnTo>
                  <a:lnTo>
                    <a:pt x="252" y="276"/>
                  </a:lnTo>
                  <a:lnTo>
                    <a:pt x="246" y="270"/>
                  </a:lnTo>
                  <a:lnTo>
                    <a:pt x="246" y="258"/>
                  </a:lnTo>
                  <a:lnTo>
                    <a:pt x="252" y="252"/>
                  </a:lnTo>
                  <a:lnTo>
                    <a:pt x="252" y="126"/>
                  </a:lnTo>
                  <a:lnTo>
                    <a:pt x="246" y="114"/>
                  </a:lnTo>
                  <a:lnTo>
                    <a:pt x="222" y="90"/>
                  </a:lnTo>
                  <a:lnTo>
                    <a:pt x="204" y="84"/>
                  </a:lnTo>
                  <a:lnTo>
                    <a:pt x="192" y="72"/>
                  </a:lnTo>
                  <a:lnTo>
                    <a:pt x="180" y="66"/>
                  </a:lnTo>
                  <a:lnTo>
                    <a:pt x="156" y="42"/>
                  </a:lnTo>
                  <a:lnTo>
                    <a:pt x="150" y="54"/>
                  </a:lnTo>
                  <a:lnTo>
                    <a:pt x="144" y="60"/>
                  </a:lnTo>
                  <a:lnTo>
                    <a:pt x="138" y="72"/>
                  </a:lnTo>
                  <a:lnTo>
                    <a:pt x="138" y="78"/>
                  </a:lnTo>
                  <a:lnTo>
                    <a:pt x="132" y="84"/>
                  </a:lnTo>
                  <a:lnTo>
                    <a:pt x="114" y="66"/>
                  </a:lnTo>
                  <a:lnTo>
                    <a:pt x="108" y="66"/>
                  </a:lnTo>
                  <a:lnTo>
                    <a:pt x="102" y="72"/>
                  </a:lnTo>
                  <a:lnTo>
                    <a:pt x="90" y="72"/>
                  </a:lnTo>
                  <a:lnTo>
                    <a:pt x="90" y="78"/>
                  </a:lnTo>
                  <a:lnTo>
                    <a:pt x="72" y="78"/>
                  </a:lnTo>
                  <a:lnTo>
                    <a:pt x="66" y="72"/>
                  </a:lnTo>
                  <a:lnTo>
                    <a:pt x="66" y="66"/>
                  </a:lnTo>
                  <a:lnTo>
                    <a:pt x="78" y="54"/>
                  </a:lnTo>
                  <a:lnTo>
                    <a:pt x="78" y="42"/>
                  </a:lnTo>
                  <a:lnTo>
                    <a:pt x="66" y="42"/>
                  </a:lnTo>
                  <a:lnTo>
                    <a:pt x="66" y="30"/>
                  </a:lnTo>
                  <a:lnTo>
                    <a:pt x="60" y="24"/>
                  </a:lnTo>
                  <a:lnTo>
                    <a:pt x="48" y="18"/>
                  </a:lnTo>
                  <a:lnTo>
                    <a:pt x="30" y="18"/>
                  </a:lnTo>
                  <a:lnTo>
                    <a:pt x="30" y="12"/>
                  </a:lnTo>
                  <a:lnTo>
                    <a:pt x="24" y="0"/>
                  </a:lnTo>
                  <a:lnTo>
                    <a:pt x="12" y="0"/>
                  </a:lnTo>
                  <a:lnTo>
                    <a:pt x="6" y="6"/>
                  </a:lnTo>
                  <a:lnTo>
                    <a:pt x="6" y="18"/>
                  </a:lnTo>
                  <a:lnTo>
                    <a:pt x="12" y="24"/>
                  </a:lnTo>
                  <a:lnTo>
                    <a:pt x="6" y="36"/>
                  </a:lnTo>
                  <a:lnTo>
                    <a:pt x="0" y="42"/>
                  </a:lnTo>
                  <a:close/>
                </a:path>
              </a:pathLst>
            </a:custGeom>
            <a:solidFill>
              <a:srgbClr val="FFC000"/>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16" name="Malaysia" descr="© INSCALE GmbH, 05.05.2010&#10;http://www.presentationload.com/"/>
            <p:cNvSpPr>
              <a:spLocks/>
            </p:cNvSpPr>
            <p:nvPr/>
          </p:nvSpPr>
          <p:spPr bwMode="gray">
            <a:xfrm>
              <a:off x="7362832" y="3838575"/>
              <a:ext cx="276225" cy="212725"/>
            </a:xfrm>
            <a:custGeom>
              <a:avLst/>
              <a:gdLst>
                <a:gd name="T0" fmla="*/ 2147483647 w 690"/>
                <a:gd name="T1" fmla="*/ 2147483647 h 528"/>
                <a:gd name="T2" fmla="*/ 2147483647 w 690"/>
                <a:gd name="T3" fmla="*/ 2147483647 h 528"/>
                <a:gd name="T4" fmla="*/ 2147483647 w 690"/>
                <a:gd name="T5" fmla="*/ 2147483647 h 528"/>
                <a:gd name="T6" fmla="*/ 2147483647 w 690"/>
                <a:gd name="T7" fmla="*/ 2147483647 h 528"/>
                <a:gd name="T8" fmla="*/ 2147483647 w 690"/>
                <a:gd name="T9" fmla="*/ 2147483647 h 528"/>
                <a:gd name="T10" fmla="*/ 2147483647 w 690"/>
                <a:gd name="T11" fmla="*/ 2147483647 h 528"/>
                <a:gd name="T12" fmla="*/ 2147483647 w 690"/>
                <a:gd name="T13" fmla="*/ 2147483647 h 528"/>
                <a:gd name="T14" fmla="*/ 2147483647 w 690"/>
                <a:gd name="T15" fmla="*/ 2147483647 h 528"/>
                <a:gd name="T16" fmla="*/ 2147483647 w 690"/>
                <a:gd name="T17" fmla="*/ 2147483647 h 528"/>
                <a:gd name="T18" fmla="*/ 2147483647 w 690"/>
                <a:gd name="T19" fmla="*/ 2147483647 h 528"/>
                <a:gd name="T20" fmla="*/ 2147483647 w 690"/>
                <a:gd name="T21" fmla="*/ 2147483647 h 528"/>
                <a:gd name="T22" fmla="*/ 2147483647 w 690"/>
                <a:gd name="T23" fmla="*/ 2147483647 h 528"/>
                <a:gd name="T24" fmla="*/ 2147483647 w 690"/>
                <a:gd name="T25" fmla="*/ 2147483647 h 528"/>
                <a:gd name="T26" fmla="*/ 2147483647 w 690"/>
                <a:gd name="T27" fmla="*/ 2147483647 h 528"/>
                <a:gd name="T28" fmla="*/ 2147483647 w 690"/>
                <a:gd name="T29" fmla="*/ 2147483647 h 528"/>
                <a:gd name="T30" fmla="*/ 2147483647 w 690"/>
                <a:gd name="T31" fmla="*/ 2147483647 h 528"/>
                <a:gd name="T32" fmla="*/ 2147483647 w 690"/>
                <a:gd name="T33" fmla="*/ 2147483647 h 528"/>
                <a:gd name="T34" fmla="*/ 2147483647 w 690"/>
                <a:gd name="T35" fmla="*/ 2147483647 h 528"/>
                <a:gd name="T36" fmla="*/ 2147483647 w 690"/>
                <a:gd name="T37" fmla="*/ 2147483647 h 528"/>
                <a:gd name="T38" fmla="*/ 2147483647 w 690"/>
                <a:gd name="T39" fmla="*/ 2147483647 h 528"/>
                <a:gd name="T40" fmla="*/ 2147483647 w 690"/>
                <a:gd name="T41" fmla="*/ 2147483647 h 528"/>
                <a:gd name="T42" fmla="*/ 2147483647 w 690"/>
                <a:gd name="T43" fmla="*/ 2147483647 h 528"/>
                <a:gd name="T44" fmla="*/ 2147483647 w 690"/>
                <a:gd name="T45" fmla="*/ 2147483647 h 528"/>
                <a:gd name="T46" fmla="*/ 2147483647 w 690"/>
                <a:gd name="T47" fmla="*/ 2147483647 h 528"/>
                <a:gd name="T48" fmla="*/ 2147483647 w 690"/>
                <a:gd name="T49" fmla="*/ 2147483647 h 528"/>
                <a:gd name="T50" fmla="*/ 2147483647 w 690"/>
                <a:gd name="T51" fmla="*/ 2147483647 h 528"/>
                <a:gd name="T52" fmla="*/ 2147483647 w 690"/>
                <a:gd name="T53" fmla="*/ 2147483647 h 528"/>
                <a:gd name="T54" fmla="*/ 2147483647 w 690"/>
                <a:gd name="T55" fmla="*/ 2147483647 h 528"/>
                <a:gd name="T56" fmla="*/ 2147483647 w 690"/>
                <a:gd name="T57" fmla="*/ 2147483647 h 528"/>
                <a:gd name="T58" fmla="*/ 2147483647 w 690"/>
                <a:gd name="T59" fmla="*/ 2147483647 h 528"/>
                <a:gd name="T60" fmla="*/ 2147483647 w 690"/>
                <a:gd name="T61" fmla="*/ 2147483647 h 528"/>
                <a:gd name="T62" fmla="*/ 2147483647 w 690"/>
                <a:gd name="T63" fmla="*/ 2147483647 h 528"/>
                <a:gd name="T64" fmla="*/ 2147483647 w 690"/>
                <a:gd name="T65" fmla="*/ 2147483647 h 528"/>
                <a:gd name="T66" fmla="*/ 2147483647 w 690"/>
                <a:gd name="T67" fmla="*/ 2147483647 h 528"/>
                <a:gd name="T68" fmla="*/ 2147483647 w 690"/>
                <a:gd name="T69" fmla="*/ 2147483647 h 528"/>
                <a:gd name="T70" fmla="*/ 2147483647 w 690"/>
                <a:gd name="T71" fmla="*/ 0 h 528"/>
                <a:gd name="T72" fmla="*/ 2147483647 w 690"/>
                <a:gd name="T73" fmla="*/ 0 h 528"/>
                <a:gd name="T74" fmla="*/ 2147483647 w 690"/>
                <a:gd name="T75" fmla="*/ 2147483647 h 528"/>
                <a:gd name="T76" fmla="*/ 2147483647 w 690"/>
                <a:gd name="T77" fmla="*/ 2147483647 h 528"/>
                <a:gd name="T78" fmla="*/ 2147483647 w 690"/>
                <a:gd name="T79" fmla="*/ 2147483647 h 528"/>
                <a:gd name="T80" fmla="*/ 2147483647 w 690"/>
                <a:gd name="T81" fmla="*/ 2147483647 h 528"/>
                <a:gd name="T82" fmla="*/ 2147483647 w 690"/>
                <a:gd name="T83" fmla="*/ 2147483647 h 528"/>
                <a:gd name="T84" fmla="*/ 2147483647 w 690"/>
                <a:gd name="T85" fmla="*/ 2147483647 h 528"/>
                <a:gd name="T86" fmla="*/ 2147483647 w 690"/>
                <a:gd name="T87" fmla="*/ 2147483647 h 528"/>
                <a:gd name="T88" fmla="*/ 2147483647 w 690"/>
                <a:gd name="T89" fmla="*/ 2147483647 h 528"/>
                <a:gd name="T90" fmla="*/ 2147483647 w 690"/>
                <a:gd name="T91" fmla="*/ 2147483647 h 528"/>
                <a:gd name="T92" fmla="*/ 2147483647 w 690"/>
                <a:gd name="T93" fmla="*/ 2147483647 h 528"/>
                <a:gd name="T94" fmla="*/ 2147483647 w 690"/>
                <a:gd name="T95" fmla="*/ 2147483647 h 528"/>
                <a:gd name="T96" fmla="*/ 2147483647 w 690"/>
                <a:gd name="T97" fmla="*/ 2147483647 h 528"/>
                <a:gd name="T98" fmla="*/ 2147483647 w 690"/>
                <a:gd name="T99" fmla="*/ 2147483647 h 528"/>
                <a:gd name="T100" fmla="*/ 2147483647 w 690"/>
                <a:gd name="T101" fmla="*/ 2147483647 h 528"/>
                <a:gd name="T102" fmla="*/ 2147483647 w 690"/>
                <a:gd name="T103" fmla="*/ 2147483647 h 528"/>
                <a:gd name="T104" fmla="*/ 2147483647 w 690"/>
                <a:gd name="T105" fmla="*/ 2147483647 h 528"/>
                <a:gd name="T106" fmla="*/ 2147483647 w 690"/>
                <a:gd name="T107" fmla="*/ 2147483647 h 528"/>
                <a:gd name="T108" fmla="*/ 2147483647 w 690"/>
                <a:gd name="T109" fmla="*/ 2147483647 h 528"/>
                <a:gd name="T110" fmla="*/ 2147483647 w 690"/>
                <a:gd name="T111" fmla="*/ 2147483647 h 528"/>
                <a:gd name="T112" fmla="*/ 2147483647 w 690"/>
                <a:gd name="T113" fmla="*/ 2147483647 h 528"/>
                <a:gd name="T114" fmla="*/ 0 w 690"/>
                <a:gd name="T115" fmla="*/ 2147483647 h 5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90"/>
                <a:gd name="T175" fmla="*/ 0 h 528"/>
                <a:gd name="T176" fmla="*/ 690 w 690"/>
                <a:gd name="T177" fmla="*/ 528 h 52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90" h="528">
                  <a:moveTo>
                    <a:pt x="12" y="504"/>
                  </a:moveTo>
                  <a:lnTo>
                    <a:pt x="24" y="510"/>
                  </a:lnTo>
                  <a:lnTo>
                    <a:pt x="30" y="516"/>
                  </a:lnTo>
                  <a:lnTo>
                    <a:pt x="54" y="528"/>
                  </a:lnTo>
                  <a:lnTo>
                    <a:pt x="60" y="528"/>
                  </a:lnTo>
                  <a:lnTo>
                    <a:pt x="78" y="510"/>
                  </a:lnTo>
                  <a:lnTo>
                    <a:pt x="102" y="510"/>
                  </a:lnTo>
                  <a:lnTo>
                    <a:pt x="120" y="516"/>
                  </a:lnTo>
                  <a:lnTo>
                    <a:pt x="144" y="516"/>
                  </a:lnTo>
                  <a:lnTo>
                    <a:pt x="174" y="486"/>
                  </a:lnTo>
                  <a:lnTo>
                    <a:pt x="180" y="474"/>
                  </a:lnTo>
                  <a:lnTo>
                    <a:pt x="222" y="474"/>
                  </a:lnTo>
                  <a:lnTo>
                    <a:pt x="234" y="486"/>
                  </a:lnTo>
                  <a:lnTo>
                    <a:pt x="258" y="498"/>
                  </a:lnTo>
                  <a:lnTo>
                    <a:pt x="264" y="504"/>
                  </a:lnTo>
                  <a:lnTo>
                    <a:pt x="270" y="504"/>
                  </a:lnTo>
                  <a:lnTo>
                    <a:pt x="282" y="492"/>
                  </a:lnTo>
                  <a:lnTo>
                    <a:pt x="294" y="486"/>
                  </a:lnTo>
                  <a:lnTo>
                    <a:pt x="300" y="480"/>
                  </a:lnTo>
                  <a:lnTo>
                    <a:pt x="324" y="480"/>
                  </a:lnTo>
                  <a:lnTo>
                    <a:pt x="354" y="444"/>
                  </a:lnTo>
                  <a:lnTo>
                    <a:pt x="348" y="432"/>
                  </a:lnTo>
                  <a:lnTo>
                    <a:pt x="384" y="402"/>
                  </a:lnTo>
                  <a:lnTo>
                    <a:pt x="378" y="390"/>
                  </a:lnTo>
                  <a:lnTo>
                    <a:pt x="372" y="384"/>
                  </a:lnTo>
                  <a:lnTo>
                    <a:pt x="372" y="360"/>
                  </a:lnTo>
                  <a:lnTo>
                    <a:pt x="378" y="354"/>
                  </a:lnTo>
                  <a:lnTo>
                    <a:pt x="396" y="354"/>
                  </a:lnTo>
                  <a:lnTo>
                    <a:pt x="402" y="342"/>
                  </a:lnTo>
                  <a:lnTo>
                    <a:pt x="402" y="336"/>
                  </a:lnTo>
                  <a:lnTo>
                    <a:pt x="408" y="318"/>
                  </a:lnTo>
                  <a:lnTo>
                    <a:pt x="408" y="264"/>
                  </a:lnTo>
                  <a:lnTo>
                    <a:pt x="414" y="252"/>
                  </a:lnTo>
                  <a:lnTo>
                    <a:pt x="420" y="246"/>
                  </a:lnTo>
                  <a:lnTo>
                    <a:pt x="516" y="246"/>
                  </a:lnTo>
                  <a:lnTo>
                    <a:pt x="540" y="270"/>
                  </a:lnTo>
                  <a:lnTo>
                    <a:pt x="552" y="276"/>
                  </a:lnTo>
                  <a:lnTo>
                    <a:pt x="558" y="282"/>
                  </a:lnTo>
                  <a:lnTo>
                    <a:pt x="576" y="276"/>
                  </a:lnTo>
                  <a:lnTo>
                    <a:pt x="564" y="216"/>
                  </a:lnTo>
                  <a:lnTo>
                    <a:pt x="576" y="222"/>
                  </a:lnTo>
                  <a:lnTo>
                    <a:pt x="582" y="234"/>
                  </a:lnTo>
                  <a:lnTo>
                    <a:pt x="594" y="240"/>
                  </a:lnTo>
                  <a:lnTo>
                    <a:pt x="636" y="240"/>
                  </a:lnTo>
                  <a:lnTo>
                    <a:pt x="630" y="234"/>
                  </a:lnTo>
                  <a:lnTo>
                    <a:pt x="624" y="222"/>
                  </a:lnTo>
                  <a:lnTo>
                    <a:pt x="618" y="216"/>
                  </a:lnTo>
                  <a:lnTo>
                    <a:pt x="606" y="192"/>
                  </a:lnTo>
                  <a:lnTo>
                    <a:pt x="606" y="186"/>
                  </a:lnTo>
                  <a:lnTo>
                    <a:pt x="612" y="180"/>
                  </a:lnTo>
                  <a:lnTo>
                    <a:pt x="624" y="180"/>
                  </a:lnTo>
                  <a:lnTo>
                    <a:pt x="642" y="186"/>
                  </a:lnTo>
                  <a:lnTo>
                    <a:pt x="654" y="186"/>
                  </a:lnTo>
                  <a:lnTo>
                    <a:pt x="660" y="192"/>
                  </a:lnTo>
                  <a:lnTo>
                    <a:pt x="666" y="192"/>
                  </a:lnTo>
                  <a:lnTo>
                    <a:pt x="690" y="162"/>
                  </a:lnTo>
                  <a:lnTo>
                    <a:pt x="666" y="156"/>
                  </a:lnTo>
                  <a:lnTo>
                    <a:pt x="660" y="144"/>
                  </a:lnTo>
                  <a:lnTo>
                    <a:pt x="642" y="126"/>
                  </a:lnTo>
                  <a:lnTo>
                    <a:pt x="630" y="120"/>
                  </a:lnTo>
                  <a:lnTo>
                    <a:pt x="612" y="120"/>
                  </a:lnTo>
                  <a:lnTo>
                    <a:pt x="600" y="114"/>
                  </a:lnTo>
                  <a:lnTo>
                    <a:pt x="588" y="114"/>
                  </a:lnTo>
                  <a:lnTo>
                    <a:pt x="588" y="108"/>
                  </a:lnTo>
                  <a:lnTo>
                    <a:pt x="582" y="102"/>
                  </a:lnTo>
                  <a:lnTo>
                    <a:pt x="582" y="90"/>
                  </a:lnTo>
                  <a:lnTo>
                    <a:pt x="576" y="78"/>
                  </a:lnTo>
                  <a:lnTo>
                    <a:pt x="564" y="66"/>
                  </a:lnTo>
                  <a:lnTo>
                    <a:pt x="540" y="54"/>
                  </a:lnTo>
                  <a:lnTo>
                    <a:pt x="534" y="60"/>
                  </a:lnTo>
                  <a:lnTo>
                    <a:pt x="528" y="60"/>
                  </a:lnTo>
                  <a:lnTo>
                    <a:pt x="510" y="0"/>
                  </a:lnTo>
                  <a:lnTo>
                    <a:pt x="504" y="18"/>
                  </a:lnTo>
                  <a:lnTo>
                    <a:pt x="492" y="0"/>
                  </a:lnTo>
                  <a:lnTo>
                    <a:pt x="480" y="60"/>
                  </a:lnTo>
                  <a:lnTo>
                    <a:pt x="468" y="66"/>
                  </a:lnTo>
                  <a:lnTo>
                    <a:pt x="462" y="66"/>
                  </a:lnTo>
                  <a:lnTo>
                    <a:pt x="450" y="72"/>
                  </a:lnTo>
                  <a:lnTo>
                    <a:pt x="438" y="96"/>
                  </a:lnTo>
                  <a:lnTo>
                    <a:pt x="438" y="114"/>
                  </a:lnTo>
                  <a:lnTo>
                    <a:pt x="408" y="126"/>
                  </a:lnTo>
                  <a:lnTo>
                    <a:pt x="420" y="162"/>
                  </a:lnTo>
                  <a:lnTo>
                    <a:pt x="408" y="162"/>
                  </a:lnTo>
                  <a:lnTo>
                    <a:pt x="390" y="156"/>
                  </a:lnTo>
                  <a:lnTo>
                    <a:pt x="378" y="156"/>
                  </a:lnTo>
                  <a:lnTo>
                    <a:pt x="360" y="150"/>
                  </a:lnTo>
                  <a:lnTo>
                    <a:pt x="354" y="150"/>
                  </a:lnTo>
                  <a:lnTo>
                    <a:pt x="342" y="156"/>
                  </a:lnTo>
                  <a:lnTo>
                    <a:pt x="342" y="168"/>
                  </a:lnTo>
                  <a:lnTo>
                    <a:pt x="336" y="180"/>
                  </a:lnTo>
                  <a:lnTo>
                    <a:pt x="336" y="204"/>
                  </a:lnTo>
                  <a:lnTo>
                    <a:pt x="294" y="246"/>
                  </a:lnTo>
                  <a:lnTo>
                    <a:pt x="294" y="258"/>
                  </a:lnTo>
                  <a:lnTo>
                    <a:pt x="282" y="294"/>
                  </a:lnTo>
                  <a:lnTo>
                    <a:pt x="276" y="306"/>
                  </a:lnTo>
                  <a:lnTo>
                    <a:pt x="264" y="318"/>
                  </a:lnTo>
                  <a:lnTo>
                    <a:pt x="228" y="336"/>
                  </a:lnTo>
                  <a:lnTo>
                    <a:pt x="186" y="342"/>
                  </a:lnTo>
                  <a:lnTo>
                    <a:pt x="162" y="348"/>
                  </a:lnTo>
                  <a:lnTo>
                    <a:pt x="156" y="354"/>
                  </a:lnTo>
                  <a:lnTo>
                    <a:pt x="132" y="366"/>
                  </a:lnTo>
                  <a:lnTo>
                    <a:pt x="114" y="384"/>
                  </a:lnTo>
                  <a:lnTo>
                    <a:pt x="102" y="390"/>
                  </a:lnTo>
                  <a:lnTo>
                    <a:pt x="84" y="426"/>
                  </a:lnTo>
                  <a:lnTo>
                    <a:pt x="102" y="444"/>
                  </a:lnTo>
                  <a:lnTo>
                    <a:pt x="102" y="462"/>
                  </a:lnTo>
                  <a:lnTo>
                    <a:pt x="96" y="474"/>
                  </a:lnTo>
                  <a:lnTo>
                    <a:pt x="84" y="480"/>
                  </a:lnTo>
                  <a:lnTo>
                    <a:pt x="72" y="480"/>
                  </a:lnTo>
                  <a:lnTo>
                    <a:pt x="48" y="468"/>
                  </a:lnTo>
                  <a:lnTo>
                    <a:pt x="42" y="462"/>
                  </a:lnTo>
                  <a:lnTo>
                    <a:pt x="30" y="456"/>
                  </a:lnTo>
                  <a:lnTo>
                    <a:pt x="24" y="456"/>
                  </a:lnTo>
                  <a:lnTo>
                    <a:pt x="12" y="462"/>
                  </a:lnTo>
                  <a:lnTo>
                    <a:pt x="0" y="474"/>
                  </a:lnTo>
                  <a:lnTo>
                    <a:pt x="0" y="492"/>
                  </a:lnTo>
                  <a:lnTo>
                    <a:pt x="12" y="504"/>
                  </a:lnTo>
                  <a:close/>
                </a:path>
              </a:pathLst>
            </a:custGeom>
            <a:solidFill>
              <a:srgbClr val="FFC000"/>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17" name="Malawi" descr="© INSCALE GmbH, 05.05.2010&#10;http://www.presentationload.com/"/>
            <p:cNvSpPr>
              <a:spLocks/>
            </p:cNvSpPr>
            <p:nvPr/>
          </p:nvSpPr>
          <p:spPr bwMode="gray">
            <a:xfrm>
              <a:off x="5145092" y="4383087"/>
              <a:ext cx="93662" cy="252412"/>
            </a:xfrm>
            <a:custGeom>
              <a:avLst/>
              <a:gdLst>
                <a:gd name="T0" fmla="*/ 2147483647 w 234"/>
                <a:gd name="T1" fmla="*/ 2147483647 h 624"/>
                <a:gd name="T2" fmla="*/ 2147483647 w 234"/>
                <a:gd name="T3" fmla="*/ 2147483647 h 624"/>
                <a:gd name="T4" fmla="*/ 2147483647 w 234"/>
                <a:gd name="T5" fmla="*/ 2147483647 h 624"/>
                <a:gd name="T6" fmla="*/ 2147483647 w 234"/>
                <a:gd name="T7" fmla="*/ 2147483647 h 624"/>
                <a:gd name="T8" fmla="*/ 2147483647 w 234"/>
                <a:gd name="T9" fmla="*/ 2147483647 h 624"/>
                <a:gd name="T10" fmla="*/ 2147483647 w 234"/>
                <a:gd name="T11" fmla="*/ 2147483647 h 624"/>
                <a:gd name="T12" fmla="*/ 2147483647 w 234"/>
                <a:gd name="T13" fmla="*/ 2147483647 h 624"/>
                <a:gd name="T14" fmla="*/ 2147483647 w 234"/>
                <a:gd name="T15" fmla="*/ 2147483647 h 624"/>
                <a:gd name="T16" fmla="*/ 2147483647 w 234"/>
                <a:gd name="T17" fmla="*/ 2147483647 h 624"/>
                <a:gd name="T18" fmla="*/ 2147483647 w 234"/>
                <a:gd name="T19" fmla="*/ 2147483647 h 624"/>
                <a:gd name="T20" fmla="*/ 2147483647 w 234"/>
                <a:gd name="T21" fmla="*/ 2147483647 h 624"/>
                <a:gd name="T22" fmla="*/ 2147483647 w 234"/>
                <a:gd name="T23" fmla="*/ 2147483647 h 624"/>
                <a:gd name="T24" fmla="*/ 2147483647 w 234"/>
                <a:gd name="T25" fmla="*/ 2147483647 h 624"/>
                <a:gd name="T26" fmla="*/ 2147483647 w 234"/>
                <a:gd name="T27" fmla="*/ 2147483647 h 624"/>
                <a:gd name="T28" fmla="*/ 2147483647 w 234"/>
                <a:gd name="T29" fmla="*/ 2147483647 h 624"/>
                <a:gd name="T30" fmla="*/ 2147483647 w 234"/>
                <a:gd name="T31" fmla="*/ 2147483647 h 624"/>
                <a:gd name="T32" fmla="*/ 2147483647 w 234"/>
                <a:gd name="T33" fmla="*/ 2147483647 h 624"/>
                <a:gd name="T34" fmla="*/ 2147483647 w 234"/>
                <a:gd name="T35" fmla="*/ 2147483647 h 624"/>
                <a:gd name="T36" fmla="*/ 2147483647 w 234"/>
                <a:gd name="T37" fmla="*/ 2147483647 h 624"/>
                <a:gd name="T38" fmla="*/ 2147483647 w 234"/>
                <a:gd name="T39" fmla="*/ 2147483647 h 624"/>
                <a:gd name="T40" fmla="*/ 2147483647 w 234"/>
                <a:gd name="T41" fmla="*/ 2147483647 h 624"/>
                <a:gd name="T42" fmla="*/ 2147483647 w 234"/>
                <a:gd name="T43" fmla="*/ 2147483647 h 624"/>
                <a:gd name="T44" fmla="*/ 2147483647 w 234"/>
                <a:gd name="T45" fmla="*/ 2147483647 h 624"/>
                <a:gd name="T46" fmla="*/ 2147483647 w 234"/>
                <a:gd name="T47" fmla="*/ 0 h 624"/>
                <a:gd name="T48" fmla="*/ 2147483647 w 234"/>
                <a:gd name="T49" fmla="*/ 2147483647 h 624"/>
                <a:gd name="T50" fmla="*/ 2147483647 w 234"/>
                <a:gd name="T51" fmla="*/ 2147483647 h 624"/>
                <a:gd name="T52" fmla="*/ 2147483647 w 234"/>
                <a:gd name="T53" fmla="*/ 2147483647 h 624"/>
                <a:gd name="T54" fmla="*/ 2147483647 w 234"/>
                <a:gd name="T55" fmla="*/ 2147483647 h 624"/>
                <a:gd name="T56" fmla="*/ 2147483647 w 234"/>
                <a:gd name="T57" fmla="*/ 2147483647 h 624"/>
                <a:gd name="T58" fmla="*/ 2147483647 w 234"/>
                <a:gd name="T59" fmla="*/ 2147483647 h 624"/>
                <a:gd name="T60" fmla="*/ 2147483647 w 234"/>
                <a:gd name="T61" fmla="*/ 2147483647 h 624"/>
                <a:gd name="T62" fmla="*/ 2147483647 w 234"/>
                <a:gd name="T63" fmla="*/ 2147483647 h 624"/>
                <a:gd name="T64" fmla="*/ 2147483647 w 234"/>
                <a:gd name="T65" fmla="*/ 2147483647 h 624"/>
                <a:gd name="T66" fmla="*/ 2147483647 w 234"/>
                <a:gd name="T67" fmla="*/ 2147483647 h 624"/>
                <a:gd name="T68" fmla="*/ 2147483647 w 234"/>
                <a:gd name="T69" fmla="*/ 2147483647 h 624"/>
                <a:gd name="T70" fmla="*/ 2147483647 w 234"/>
                <a:gd name="T71" fmla="*/ 2147483647 h 624"/>
                <a:gd name="T72" fmla="*/ 2147483647 w 234"/>
                <a:gd name="T73" fmla="*/ 2147483647 h 624"/>
                <a:gd name="T74" fmla="*/ 0 w 234"/>
                <a:gd name="T75" fmla="*/ 2147483647 h 624"/>
                <a:gd name="T76" fmla="*/ 2147483647 w 234"/>
                <a:gd name="T77" fmla="*/ 2147483647 h 624"/>
                <a:gd name="T78" fmla="*/ 2147483647 w 234"/>
                <a:gd name="T79" fmla="*/ 2147483647 h 624"/>
                <a:gd name="T80" fmla="*/ 2147483647 w 234"/>
                <a:gd name="T81" fmla="*/ 2147483647 h 624"/>
                <a:gd name="T82" fmla="*/ 2147483647 w 234"/>
                <a:gd name="T83" fmla="*/ 2147483647 h 624"/>
                <a:gd name="T84" fmla="*/ 2147483647 w 234"/>
                <a:gd name="T85" fmla="*/ 2147483647 h 624"/>
                <a:gd name="T86" fmla="*/ 2147483647 w 234"/>
                <a:gd name="T87" fmla="*/ 2147483647 h 624"/>
                <a:gd name="T88" fmla="*/ 2147483647 w 234"/>
                <a:gd name="T89" fmla="*/ 2147483647 h 624"/>
                <a:gd name="T90" fmla="*/ 2147483647 w 234"/>
                <a:gd name="T91" fmla="*/ 2147483647 h 624"/>
                <a:gd name="T92" fmla="*/ 2147483647 w 234"/>
                <a:gd name="T93" fmla="*/ 2147483647 h 624"/>
                <a:gd name="T94" fmla="*/ 2147483647 w 234"/>
                <a:gd name="T95" fmla="*/ 2147483647 h 624"/>
                <a:gd name="T96" fmla="*/ 2147483647 w 234"/>
                <a:gd name="T97" fmla="*/ 2147483647 h 624"/>
                <a:gd name="T98" fmla="*/ 2147483647 w 234"/>
                <a:gd name="T99" fmla="*/ 2147483647 h 624"/>
                <a:gd name="T100" fmla="*/ 2147483647 w 234"/>
                <a:gd name="T101" fmla="*/ 2147483647 h 624"/>
                <a:gd name="T102" fmla="*/ 2147483647 w 234"/>
                <a:gd name="T103" fmla="*/ 2147483647 h 624"/>
                <a:gd name="T104" fmla="*/ 2147483647 w 234"/>
                <a:gd name="T105" fmla="*/ 2147483647 h 624"/>
                <a:gd name="T106" fmla="*/ 2147483647 w 234"/>
                <a:gd name="T107" fmla="*/ 2147483647 h 624"/>
                <a:gd name="T108" fmla="*/ 2147483647 w 234"/>
                <a:gd name="T109" fmla="*/ 2147483647 h 624"/>
                <a:gd name="T110" fmla="*/ 2147483647 w 234"/>
                <a:gd name="T111" fmla="*/ 2147483647 h 624"/>
                <a:gd name="T112" fmla="*/ 2147483647 w 234"/>
                <a:gd name="T113" fmla="*/ 2147483647 h 624"/>
                <a:gd name="T114" fmla="*/ 2147483647 w 234"/>
                <a:gd name="T115" fmla="*/ 2147483647 h 624"/>
                <a:gd name="T116" fmla="*/ 2147483647 w 234"/>
                <a:gd name="T117" fmla="*/ 2147483647 h 6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4"/>
                <a:gd name="T178" fmla="*/ 0 h 624"/>
                <a:gd name="T179" fmla="*/ 234 w 234"/>
                <a:gd name="T180" fmla="*/ 624 h 6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4" h="624">
                  <a:moveTo>
                    <a:pt x="234" y="432"/>
                  </a:moveTo>
                  <a:lnTo>
                    <a:pt x="222" y="420"/>
                  </a:lnTo>
                  <a:lnTo>
                    <a:pt x="210" y="402"/>
                  </a:lnTo>
                  <a:lnTo>
                    <a:pt x="204" y="390"/>
                  </a:lnTo>
                  <a:lnTo>
                    <a:pt x="198" y="384"/>
                  </a:lnTo>
                  <a:lnTo>
                    <a:pt x="186" y="360"/>
                  </a:lnTo>
                  <a:lnTo>
                    <a:pt x="162" y="336"/>
                  </a:lnTo>
                  <a:lnTo>
                    <a:pt x="156" y="336"/>
                  </a:lnTo>
                  <a:lnTo>
                    <a:pt x="156" y="330"/>
                  </a:lnTo>
                  <a:lnTo>
                    <a:pt x="150" y="330"/>
                  </a:lnTo>
                  <a:lnTo>
                    <a:pt x="150" y="342"/>
                  </a:lnTo>
                  <a:lnTo>
                    <a:pt x="156" y="342"/>
                  </a:lnTo>
                  <a:lnTo>
                    <a:pt x="168" y="354"/>
                  </a:lnTo>
                  <a:lnTo>
                    <a:pt x="168" y="366"/>
                  </a:lnTo>
                  <a:lnTo>
                    <a:pt x="174" y="378"/>
                  </a:lnTo>
                  <a:lnTo>
                    <a:pt x="174" y="390"/>
                  </a:lnTo>
                  <a:lnTo>
                    <a:pt x="168" y="396"/>
                  </a:lnTo>
                  <a:lnTo>
                    <a:pt x="162" y="396"/>
                  </a:lnTo>
                  <a:lnTo>
                    <a:pt x="162" y="390"/>
                  </a:lnTo>
                  <a:lnTo>
                    <a:pt x="156" y="384"/>
                  </a:lnTo>
                  <a:lnTo>
                    <a:pt x="156" y="378"/>
                  </a:lnTo>
                  <a:lnTo>
                    <a:pt x="144" y="384"/>
                  </a:lnTo>
                  <a:lnTo>
                    <a:pt x="132" y="384"/>
                  </a:lnTo>
                  <a:lnTo>
                    <a:pt x="132" y="360"/>
                  </a:lnTo>
                  <a:lnTo>
                    <a:pt x="126" y="354"/>
                  </a:lnTo>
                  <a:lnTo>
                    <a:pt x="126" y="342"/>
                  </a:lnTo>
                  <a:lnTo>
                    <a:pt x="120" y="330"/>
                  </a:lnTo>
                  <a:lnTo>
                    <a:pt x="120" y="282"/>
                  </a:lnTo>
                  <a:lnTo>
                    <a:pt x="84" y="246"/>
                  </a:lnTo>
                  <a:lnTo>
                    <a:pt x="90" y="240"/>
                  </a:lnTo>
                  <a:lnTo>
                    <a:pt x="90" y="222"/>
                  </a:lnTo>
                  <a:lnTo>
                    <a:pt x="96" y="210"/>
                  </a:lnTo>
                  <a:lnTo>
                    <a:pt x="114" y="192"/>
                  </a:lnTo>
                  <a:lnTo>
                    <a:pt x="120" y="180"/>
                  </a:lnTo>
                  <a:lnTo>
                    <a:pt x="126" y="174"/>
                  </a:lnTo>
                  <a:lnTo>
                    <a:pt x="126" y="156"/>
                  </a:lnTo>
                  <a:lnTo>
                    <a:pt x="120" y="150"/>
                  </a:lnTo>
                  <a:lnTo>
                    <a:pt x="120" y="102"/>
                  </a:lnTo>
                  <a:lnTo>
                    <a:pt x="114" y="78"/>
                  </a:lnTo>
                  <a:lnTo>
                    <a:pt x="114" y="60"/>
                  </a:lnTo>
                  <a:lnTo>
                    <a:pt x="102" y="60"/>
                  </a:lnTo>
                  <a:lnTo>
                    <a:pt x="84" y="42"/>
                  </a:lnTo>
                  <a:lnTo>
                    <a:pt x="84" y="36"/>
                  </a:lnTo>
                  <a:lnTo>
                    <a:pt x="90" y="24"/>
                  </a:lnTo>
                  <a:lnTo>
                    <a:pt x="90" y="18"/>
                  </a:lnTo>
                  <a:lnTo>
                    <a:pt x="60" y="18"/>
                  </a:lnTo>
                  <a:lnTo>
                    <a:pt x="54" y="0"/>
                  </a:lnTo>
                  <a:lnTo>
                    <a:pt x="30" y="0"/>
                  </a:lnTo>
                  <a:lnTo>
                    <a:pt x="30" y="12"/>
                  </a:lnTo>
                  <a:lnTo>
                    <a:pt x="42" y="12"/>
                  </a:lnTo>
                  <a:lnTo>
                    <a:pt x="54" y="24"/>
                  </a:lnTo>
                  <a:lnTo>
                    <a:pt x="54" y="66"/>
                  </a:lnTo>
                  <a:lnTo>
                    <a:pt x="60" y="66"/>
                  </a:lnTo>
                  <a:lnTo>
                    <a:pt x="66" y="60"/>
                  </a:lnTo>
                  <a:lnTo>
                    <a:pt x="66" y="84"/>
                  </a:lnTo>
                  <a:lnTo>
                    <a:pt x="78" y="84"/>
                  </a:lnTo>
                  <a:lnTo>
                    <a:pt x="78" y="96"/>
                  </a:lnTo>
                  <a:lnTo>
                    <a:pt x="54" y="108"/>
                  </a:lnTo>
                  <a:lnTo>
                    <a:pt x="48" y="114"/>
                  </a:lnTo>
                  <a:lnTo>
                    <a:pt x="42" y="114"/>
                  </a:lnTo>
                  <a:lnTo>
                    <a:pt x="42" y="132"/>
                  </a:lnTo>
                  <a:lnTo>
                    <a:pt x="54" y="138"/>
                  </a:lnTo>
                  <a:lnTo>
                    <a:pt x="48" y="156"/>
                  </a:lnTo>
                  <a:lnTo>
                    <a:pt x="48" y="228"/>
                  </a:lnTo>
                  <a:lnTo>
                    <a:pt x="60" y="228"/>
                  </a:lnTo>
                  <a:lnTo>
                    <a:pt x="60" y="234"/>
                  </a:lnTo>
                  <a:lnTo>
                    <a:pt x="42" y="252"/>
                  </a:lnTo>
                  <a:lnTo>
                    <a:pt x="30" y="258"/>
                  </a:lnTo>
                  <a:lnTo>
                    <a:pt x="24" y="264"/>
                  </a:lnTo>
                  <a:lnTo>
                    <a:pt x="18" y="264"/>
                  </a:lnTo>
                  <a:lnTo>
                    <a:pt x="24" y="300"/>
                  </a:lnTo>
                  <a:lnTo>
                    <a:pt x="18" y="312"/>
                  </a:lnTo>
                  <a:lnTo>
                    <a:pt x="12" y="318"/>
                  </a:lnTo>
                  <a:lnTo>
                    <a:pt x="6" y="330"/>
                  </a:lnTo>
                  <a:lnTo>
                    <a:pt x="0" y="336"/>
                  </a:lnTo>
                  <a:lnTo>
                    <a:pt x="0" y="342"/>
                  </a:lnTo>
                  <a:lnTo>
                    <a:pt x="12" y="348"/>
                  </a:lnTo>
                  <a:lnTo>
                    <a:pt x="24" y="360"/>
                  </a:lnTo>
                  <a:lnTo>
                    <a:pt x="36" y="366"/>
                  </a:lnTo>
                  <a:lnTo>
                    <a:pt x="66" y="414"/>
                  </a:lnTo>
                  <a:lnTo>
                    <a:pt x="96" y="414"/>
                  </a:lnTo>
                  <a:lnTo>
                    <a:pt x="102" y="408"/>
                  </a:lnTo>
                  <a:lnTo>
                    <a:pt x="120" y="408"/>
                  </a:lnTo>
                  <a:lnTo>
                    <a:pt x="126" y="414"/>
                  </a:lnTo>
                  <a:lnTo>
                    <a:pt x="126" y="450"/>
                  </a:lnTo>
                  <a:lnTo>
                    <a:pt x="132" y="450"/>
                  </a:lnTo>
                  <a:lnTo>
                    <a:pt x="126" y="480"/>
                  </a:lnTo>
                  <a:lnTo>
                    <a:pt x="114" y="486"/>
                  </a:lnTo>
                  <a:lnTo>
                    <a:pt x="126" y="504"/>
                  </a:lnTo>
                  <a:lnTo>
                    <a:pt x="120" y="510"/>
                  </a:lnTo>
                  <a:lnTo>
                    <a:pt x="108" y="516"/>
                  </a:lnTo>
                  <a:lnTo>
                    <a:pt x="102" y="522"/>
                  </a:lnTo>
                  <a:lnTo>
                    <a:pt x="102" y="528"/>
                  </a:lnTo>
                  <a:lnTo>
                    <a:pt x="114" y="528"/>
                  </a:lnTo>
                  <a:lnTo>
                    <a:pt x="114" y="558"/>
                  </a:lnTo>
                  <a:lnTo>
                    <a:pt x="126" y="564"/>
                  </a:lnTo>
                  <a:lnTo>
                    <a:pt x="132" y="570"/>
                  </a:lnTo>
                  <a:lnTo>
                    <a:pt x="144" y="576"/>
                  </a:lnTo>
                  <a:lnTo>
                    <a:pt x="150" y="582"/>
                  </a:lnTo>
                  <a:lnTo>
                    <a:pt x="162" y="588"/>
                  </a:lnTo>
                  <a:lnTo>
                    <a:pt x="162" y="600"/>
                  </a:lnTo>
                  <a:lnTo>
                    <a:pt x="156" y="606"/>
                  </a:lnTo>
                  <a:lnTo>
                    <a:pt x="156" y="618"/>
                  </a:lnTo>
                  <a:lnTo>
                    <a:pt x="162" y="624"/>
                  </a:lnTo>
                  <a:lnTo>
                    <a:pt x="168" y="618"/>
                  </a:lnTo>
                  <a:lnTo>
                    <a:pt x="180" y="612"/>
                  </a:lnTo>
                  <a:lnTo>
                    <a:pt x="180" y="582"/>
                  </a:lnTo>
                  <a:lnTo>
                    <a:pt x="174" y="576"/>
                  </a:lnTo>
                  <a:lnTo>
                    <a:pt x="168" y="576"/>
                  </a:lnTo>
                  <a:lnTo>
                    <a:pt x="168" y="558"/>
                  </a:lnTo>
                  <a:lnTo>
                    <a:pt x="174" y="546"/>
                  </a:lnTo>
                  <a:lnTo>
                    <a:pt x="186" y="540"/>
                  </a:lnTo>
                  <a:lnTo>
                    <a:pt x="210" y="540"/>
                  </a:lnTo>
                  <a:lnTo>
                    <a:pt x="216" y="534"/>
                  </a:lnTo>
                  <a:lnTo>
                    <a:pt x="216" y="474"/>
                  </a:lnTo>
                  <a:lnTo>
                    <a:pt x="222" y="468"/>
                  </a:lnTo>
                  <a:lnTo>
                    <a:pt x="228" y="456"/>
                  </a:lnTo>
                  <a:lnTo>
                    <a:pt x="234" y="450"/>
                  </a:lnTo>
                  <a:lnTo>
                    <a:pt x="234" y="432"/>
                  </a:lnTo>
                  <a:close/>
                </a:path>
              </a:pathLst>
            </a:custGeom>
            <a:solidFill>
              <a:srgbClr val="692864"/>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18" name="Madagascar" descr="© INSCALE GmbH, 05.05.2010&#10;http://www.presentationload.com/"/>
            <p:cNvSpPr>
              <a:spLocks/>
            </p:cNvSpPr>
            <p:nvPr/>
          </p:nvSpPr>
          <p:spPr bwMode="gray">
            <a:xfrm>
              <a:off x="5419730" y="4476749"/>
              <a:ext cx="239712" cy="438150"/>
            </a:xfrm>
            <a:custGeom>
              <a:avLst/>
              <a:gdLst>
                <a:gd name="T0" fmla="*/ 2147483647 w 594"/>
                <a:gd name="T1" fmla="*/ 2147483647 h 1092"/>
                <a:gd name="T2" fmla="*/ 2147483647 w 594"/>
                <a:gd name="T3" fmla="*/ 2147483647 h 1092"/>
                <a:gd name="T4" fmla="*/ 2147483647 w 594"/>
                <a:gd name="T5" fmla="*/ 2147483647 h 1092"/>
                <a:gd name="T6" fmla="*/ 2147483647 w 594"/>
                <a:gd name="T7" fmla="*/ 2147483647 h 1092"/>
                <a:gd name="T8" fmla="*/ 2147483647 w 594"/>
                <a:gd name="T9" fmla="*/ 2147483647 h 1092"/>
                <a:gd name="T10" fmla="*/ 2147483647 w 594"/>
                <a:gd name="T11" fmla="*/ 2147483647 h 1092"/>
                <a:gd name="T12" fmla="*/ 2147483647 w 594"/>
                <a:gd name="T13" fmla="*/ 2147483647 h 1092"/>
                <a:gd name="T14" fmla="*/ 2147483647 w 594"/>
                <a:gd name="T15" fmla="*/ 2147483647 h 1092"/>
                <a:gd name="T16" fmla="*/ 2147483647 w 594"/>
                <a:gd name="T17" fmla="*/ 2147483647 h 1092"/>
                <a:gd name="T18" fmla="*/ 2147483647 w 594"/>
                <a:gd name="T19" fmla="*/ 2147483647 h 1092"/>
                <a:gd name="T20" fmla="*/ 2147483647 w 594"/>
                <a:gd name="T21" fmla="*/ 2147483647 h 1092"/>
                <a:gd name="T22" fmla="*/ 2147483647 w 594"/>
                <a:gd name="T23" fmla="*/ 2147483647 h 1092"/>
                <a:gd name="T24" fmla="*/ 2147483647 w 594"/>
                <a:gd name="T25" fmla="*/ 2147483647 h 1092"/>
                <a:gd name="T26" fmla="*/ 2147483647 w 594"/>
                <a:gd name="T27" fmla="*/ 2147483647 h 1092"/>
                <a:gd name="T28" fmla="*/ 2147483647 w 594"/>
                <a:gd name="T29" fmla="*/ 2147483647 h 1092"/>
                <a:gd name="T30" fmla="*/ 2147483647 w 594"/>
                <a:gd name="T31" fmla="*/ 2147483647 h 1092"/>
                <a:gd name="T32" fmla="*/ 2147483647 w 594"/>
                <a:gd name="T33" fmla="*/ 0 h 1092"/>
                <a:gd name="T34" fmla="*/ 2147483647 w 594"/>
                <a:gd name="T35" fmla="*/ 2147483647 h 1092"/>
                <a:gd name="T36" fmla="*/ 2147483647 w 594"/>
                <a:gd name="T37" fmla="*/ 2147483647 h 1092"/>
                <a:gd name="T38" fmla="*/ 2147483647 w 594"/>
                <a:gd name="T39" fmla="*/ 2147483647 h 1092"/>
                <a:gd name="T40" fmla="*/ 2147483647 w 594"/>
                <a:gd name="T41" fmla="*/ 2147483647 h 1092"/>
                <a:gd name="T42" fmla="*/ 2147483647 w 594"/>
                <a:gd name="T43" fmla="*/ 2147483647 h 1092"/>
                <a:gd name="T44" fmla="*/ 2147483647 w 594"/>
                <a:gd name="T45" fmla="*/ 2147483647 h 1092"/>
                <a:gd name="T46" fmla="*/ 2147483647 w 594"/>
                <a:gd name="T47" fmla="*/ 2147483647 h 1092"/>
                <a:gd name="T48" fmla="*/ 2147483647 w 594"/>
                <a:gd name="T49" fmla="*/ 2147483647 h 1092"/>
                <a:gd name="T50" fmla="*/ 2147483647 w 594"/>
                <a:gd name="T51" fmla="*/ 2147483647 h 1092"/>
                <a:gd name="T52" fmla="*/ 2147483647 w 594"/>
                <a:gd name="T53" fmla="*/ 2147483647 h 1092"/>
                <a:gd name="T54" fmla="*/ 2147483647 w 594"/>
                <a:gd name="T55" fmla="*/ 2147483647 h 1092"/>
                <a:gd name="T56" fmla="*/ 2147483647 w 594"/>
                <a:gd name="T57" fmla="*/ 2147483647 h 1092"/>
                <a:gd name="T58" fmla="*/ 2147483647 w 594"/>
                <a:gd name="T59" fmla="*/ 2147483647 h 1092"/>
                <a:gd name="T60" fmla="*/ 2147483647 w 594"/>
                <a:gd name="T61" fmla="*/ 2147483647 h 1092"/>
                <a:gd name="T62" fmla="*/ 2147483647 w 594"/>
                <a:gd name="T63" fmla="*/ 2147483647 h 1092"/>
                <a:gd name="T64" fmla="*/ 2147483647 w 594"/>
                <a:gd name="T65" fmla="*/ 2147483647 h 1092"/>
                <a:gd name="T66" fmla="*/ 2147483647 w 594"/>
                <a:gd name="T67" fmla="*/ 2147483647 h 1092"/>
                <a:gd name="T68" fmla="*/ 2147483647 w 594"/>
                <a:gd name="T69" fmla="*/ 2147483647 h 1092"/>
                <a:gd name="T70" fmla="*/ 2147483647 w 594"/>
                <a:gd name="T71" fmla="*/ 2147483647 h 1092"/>
                <a:gd name="T72" fmla="*/ 2147483647 w 594"/>
                <a:gd name="T73" fmla="*/ 2147483647 h 1092"/>
                <a:gd name="T74" fmla="*/ 2147483647 w 594"/>
                <a:gd name="T75" fmla="*/ 2147483647 h 1092"/>
                <a:gd name="T76" fmla="*/ 2147483647 w 594"/>
                <a:gd name="T77" fmla="*/ 2147483647 h 1092"/>
                <a:gd name="T78" fmla="*/ 2147483647 w 594"/>
                <a:gd name="T79" fmla="*/ 2147483647 h 1092"/>
                <a:gd name="T80" fmla="*/ 2147483647 w 594"/>
                <a:gd name="T81" fmla="*/ 2147483647 h 1092"/>
                <a:gd name="T82" fmla="*/ 2147483647 w 594"/>
                <a:gd name="T83" fmla="*/ 2147483647 h 1092"/>
                <a:gd name="T84" fmla="*/ 2147483647 w 594"/>
                <a:gd name="T85" fmla="*/ 2147483647 h 1092"/>
                <a:gd name="T86" fmla="*/ 0 w 594"/>
                <a:gd name="T87" fmla="*/ 2147483647 h 1092"/>
                <a:gd name="T88" fmla="*/ 2147483647 w 594"/>
                <a:gd name="T89" fmla="*/ 2147483647 h 1092"/>
                <a:gd name="T90" fmla="*/ 2147483647 w 594"/>
                <a:gd name="T91" fmla="*/ 2147483647 h 1092"/>
                <a:gd name="T92" fmla="*/ 2147483647 w 594"/>
                <a:gd name="T93" fmla="*/ 2147483647 h 1092"/>
                <a:gd name="T94" fmla="*/ 2147483647 w 594"/>
                <a:gd name="T95" fmla="*/ 2147483647 h 1092"/>
                <a:gd name="T96" fmla="*/ 2147483647 w 594"/>
                <a:gd name="T97" fmla="*/ 2147483647 h 1092"/>
                <a:gd name="T98" fmla="*/ 2147483647 w 594"/>
                <a:gd name="T99" fmla="*/ 2147483647 h 1092"/>
                <a:gd name="T100" fmla="*/ 2147483647 w 594"/>
                <a:gd name="T101" fmla="*/ 2147483647 h 1092"/>
                <a:gd name="T102" fmla="*/ 2147483647 w 594"/>
                <a:gd name="T103" fmla="*/ 2147483647 h 109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4"/>
                <a:gd name="T157" fmla="*/ 0 h 1092"/>
                <a:gd name="T158" fmla="*/ 594 w 594"/>
                <a:gd name="T159" fmla="*/ 1092 h 109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4" h="1092">
                  <a:moveTo>
                    <a:pt x="120" y="330"/>
                  </a:moveTo>
                  <a:lnTo>
                    <a:pt x="144" y="324"/>
                  </a:lnTo>
                  <a:lnTo>
                    <a:pt x="192" y="324"/>
                  </a:lnTo>
                  <a:lnTo>
                    <a:pt x="192" y="300"/>
                  </a:lnTo>
                  <a:lnTo>
                    <a:pt x="252" y="312"/>
                  </a:lnTo>
                  <a:lnTo>
                    <a:pt x="270" y="282"/>
                  </a:lnTo>
                  <a:lnTo>
                    <a:pt x="312" y="288"/>
                  </a:lnTo>
                  <a:lnTo>
                    <a:pt x="312" y="258"/>
                  </a:lnTo>
                  <a:lnTo>
                    <a:pt x="324" y="228"/>
                  </a:lnTo>
                  <a:lnTo>
                    <a:pt x="324" y="258"/>
                  </a:lnTo>
                  <a:lnTo>
                    <a:pt x="336" y="276"/>
                  </a:lnTo>
                  <a:lnTo>
                    <a:pt x="348" y="240"/>
                  </a:lnTo>
                  <a:lnTo>
                    <a:pt x="348" y="210"/>
                  </a:lnTo>
                  <a:lnTo>
                    <a:pt x="354" y="192"/>
                  </a:lnTo>
                  <a:lnTo>
                    <a:pt x="354" y="186"/>
                  </a:lnTo>
                  <a:lnTo>
                    <a:pt x="360" y="186"/>
                  </a:lnTo>
                  <a:lnTo>
                    <a:pt x="372" y="198"/>
                  </a:lnTo>
                  <a:lnTo>
                    <a:pt x="372" y="204"/>
                  </a:lnTo>
                  <a:lnTo>
                    <a:pt x="378" y="204"/>
                  </a:lnTo>
                  <a:lnTo>
                    <a:pt x="402" y="180"/>
                  </a:lnTo>
                  <a:lnTo>
                    <a:pt x="396" y="168"/>
                  </a:lnTo>
                  <a:lnTo>
                    <a:pt x="396" y="150"/>
                  </a:lnTo>
                  <a:lnTo>
                    <a:pt x="390" y="138"/>
                  </a:lnTo>
                  <a:lnTo>
                    <a:pt x="402" y="126"/>
                  </a:lnTo>
                  <a:lnTo>
                    <a:pt x="414" y="126"/>
                  </a:lnTo>
                  <a:lnTo>
                    <a:pt x="420" y="132"/>
                  </a:lnTo>
                  <a:lnTo>
                    <a:pt x="426" y="132"/>
                  </a:lnTo>
                  <a:lnTo>
                    <a:pt x="432" y="126"/>
                  </a:lnTo>
                  <a:lnTo>
                    <a:pt x="438" y="114"/>
                  </a:lnTo>
                  <a:lnTo>
                    <a:pt x="450" y="102"/>
                  </a:lnTo>
                  <a:lnTo>
                    <a:pt x="456" y="90"/>
                  </a:lnTo>
                  <a:lnTo>
                    <a:pt x="462" y="72"/>
                  </a:lnTo>
                  <a:lnTo>
                    <a:pt x="462" y="42"/>
                  </a:lnTo>
                  <a:lnTo>
                    <a:pt x="492" y="0"/>
                  </a:lnTo>
                  <a:lnTo>
                    <a:pt x="546" y="60"/>
                  </a:lnTo>
                  <a:lnTo>
                    <a:pt x="546" y="90"/>
                  </a:lnTo>
                  <a:lnTo>
                    <a:pt x="552" y="96"/>
                  </a:lnTo>
                  <a:lnTo>
                    <a:pt x="558" y="114"/>
                  </a:lnTo>
                  <a:lnTo>
                    <a:pt x="576" y="150"/>
                  </a:lnTo>
                  <a:lnTo>
                    <a:pt x="582" y="156"/>
                  </a:lnTo>
                  <a:lnTo>
                    <a:pt x="582" y="162"/>
                  </a:lnTo>
                  <a:lnTo>
                    <a:pt x="564" y="216"/>
                  </a:lnTo>
                  <a:lnTo>
                    <a:pt x="594" y="276"/>
                  </a:lnTo>
                  <a:lnTo>
                    <a:pt x="594" y="288"/>
                  </a:lnTo>
                  <a:lnTo>
                    <a:pt x="588" y="294"/>
                  </a:lnTo>
                  <a:lnTo>
                    <a:pt x="576" y="294"/>
                  </a:lnTo>
                  <a:lnTo>
                    <a:pt x="564" y="288"/>
                  </a:lnTo>
                  <a:lnTo>
                    <a:pt x="558" y="282"/>
                  </a:lnTo>
                  <a:lnTo>
                    <a:pt x="552" y="282"/>
                  </a:lnTo>
                  <a:lnTo>
                    <a:pt x="522" y="288"/>
                  </a:lnTo>
                  <a:lnTo>
                    <a:pt x="528" y="330"/>
                  </a:lnTo>
                  <a:lnTo>
                    <a:pt x="522" y="336"/>
                  </a:lnTo>
                  <a:lnTo>
                    <a:pt x="516" y="348"/>
                  </a:lnTo>
                  <a:lnTo>
                    <a:pt x="504" y="354"/>
                  </a:lnTo>
                  <a:lnTo>
                    <a:pt x="486" y="390"/>
                  </a:lnTo>
                  <a:lnTo>
                    <a:pt x="486" y="402"/>
                  </a:lnTo>
                  <a:lnTo>
                    <a:pt x="492" y="414"/>
                  </a:lnTo>
                  <a:lnTo>
                    <a:pt x="504" y="450"/>
                  </a:lnTo>
                  <a:lnTo>
                    <a:pt x="498" y="468"/>
                  </a:lnTo>
                  <a:lnTo>
                    <a:pt x="486" y="510"/>
                  </a:lnTo>
                  <a:lnTo>
                    <a:pt x="462" y="570"/>
                  </a:lnTo>
                  <a:lnTo>
                    <a:pt x="432" y="642"/>
                  </a:lnTo>
                  <a:lnTo>
                    <a:pt x="390" y="720"/>
                  </a:lnTo>
                  <a:lnTo>
                    <a:pt x="324" y="852"/>
                  </a:lnTo>
                  <a:lnTo>
                    <a:pt x="312" y="894"/>
                  </a:lnTo>
                  <a:lnTo>
                    <a:pt x="306" y="912"/>
                  </a:lnTo>
                  <a:lnTo>
                    <a:pt x="306" y="948"/>
                  </a:lnTo>
                  <a:lnTo>
                    <a:pt x="294" y="984"/>
                  </a:lnTo>
                  <a:lnTo>
                    <a:pt x="276" y="1014"/>
                  </a:lnTo>
                  <a:lnTo>
                    <a:pt x="258" y="1032"/>
                  </a:lnTo>
                  <a:lnTo>
                    <a:pt x="240" y="1044"/>
                  </a:lnTo>
                  <a:lnTo>
                    <a:pt x="222" y="1062"/>
                  </a:lnTo>
                  <a:lnTo>
                    <a:pt x="216" y="1062"/>
                  </a:lnTo>
                  <a:lnTo>
                    <a:pt x="210" y="1068"/>
                  </a:lnTo>
                  <a:lnTo>
                    <a:pt x="186" y="1068"/>
                  </a:lnTo>
                  <a:lnTo>
                    <a:pt x="150" y="1086"/>
                  </a:lnTo>
                  <a:lnTo>
                    <a:pt x="114" y="1092"/>
                  </a:lnTo>
                  <a:lnTo>
                    <a:pt x="78" y="1074"/>
                  </a:lnTo>
                  <a:lnTo>
                    <a:pt x="60" y="1056"/>
                  </a:lnTo>
                  <a:lnTo>
                    <a:pt x="48" y="1038"/>
                  </a:lnTo>
                  <a:lnTo>
                    <a:pt x="36" y="1026"/>
                  </a:lnTo>
                  <a:lnTo>
                    <a:pt x="36" y="1020"/>
                  </a:lnTo>
                  <a:lnTo>
                    <a:pt x="30" y="1014"/>
                  </a:lnTo>
                  <a:lnTo>
                    <a:pt x="48" y="990"/>
                  </a:lnTo>
                  <a:lnTo>
                    <a:pt x="42" y="978"/>
                  </a:lnTo>
                  <a:lnTo>
                    <a:pt x="24" y="948"/>
                  </a:lnTo>
                  <a:lnTo>
                    <a:pt x="12" y="900"/>
                  </a:lnTo>
                  <a:lnTo>
                    <a:pt x="0" y="834"/>
                  </a:lnTo>
                  <a:lnTo>
                    <a:pt x="0" y="786"/>
                  </a:lnTo>
                  <a:lnTo>
                    <a:pt x="6" y="756"/>
                  </a:lnTo>
                  <a:lnTo>
                    <a:pt x="18" y="738"/>
                  </a:lnTo>
                  <a:lnTo>
                    <a:pt x="60" y="696"/>
                  </a:lnTo>
                  <a:lnTo>
                    <a:pt x="72" y="678"/>
                  </a:lnTo>
                  <a:lnTo>
                    <a:pt x="90" y="672"/>
                  </a:lnTo>
                  <a:lnTo>
                    <a:pt x="96" y="660"/>
                  </a:lnTo>
                  <a:lnTo>
                    <a:pt x="108" y="654"/>
                  </a:lnTo>
                  <a:lnTo>
                    <a:pt x="108" y="636"/>
                  </a:lnTo>
                  <a:lnTo>
                    <a:pt x="102" y="600"/>
                  </a:lnTo>
                  <a:lnTo>
                    <a:pt x="96" y="558"/>
                  </a:lnTo>
                  <a:lnTo>
                    <a:pt x="96" y="522"/>
                  </a:lnTo>
                  <a:lnTo>
                    <a:pt x="78" y="432"/>
                  </a:lnTo>
                  <a:lnTo>
                    <a:pt x="90" y="408"/>
                  </a:lnTo>
                  <a:lnTo>
                    <a:pt x="132" y="366"/>
                  </a:lnTo>
                  <a:lnTo>
                    <a:pt x="132" y="360"/>
                  </a:lnTo>
                  <a:lnTo>
                    <a:pt x="120" y="330"/>
                  </a:lnTo>
                  <a:close/>
                </a:path>
              </a:pathLst>
            </a:custGeom>
            <a:solidFill>
              <a:srgbClr val="692864"/>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19" name="Macedonia" descr="© INSCALE GmbH, 05.05.2010&#10;http://www.presentationload.com/"/>
            <p:cNvSpPr>
              <a:spLocks/>
            </p:cNvSpPr>
            <p:nvPr/>
          </p:nvSpPr>
          <p:spPr bwMode="gray">
            <a:xfrm>
              <a:off x="4775203" y="2703513"/>
              <a:ext cx="66676" cy="50801"/>
            </a:xfrm>
            <a:custGeom>
              <a:avLst/>
              <a:gdLst>
                <a:gd name="T0" fmla="*/ 2147483647 w 162"/>
                <a:gd name="T1" fmla="*/ 2147483647 h 126"/>
                <a:gd name="T2" fmla="*/ 2147483647 w 162"/>
                <a:gd name="T3" fmla="*/ 2147483647 h 126"/>
                <a:gd name="T4" fmla="*/ 2147483647 w 162"/>
                <a:gd name="T5" fmla="*/ 2147483647 h 126"/>
                <a:gd name="T6" fmla="*/ 2147483647 w 162"/>
                <a:gd name="T7" fmla="*/ 2147483647 h 126"/>
                <a:gd name="T8" fmla="*/ 2147483647 w 162"/>
                <a:gd name="T9" fmla="*/ 0 h 126"/>
                <a:gd name="T10" fmla="*/ 2147483647 w 162"/>
                <a:gd name="T11" fmla="*/ 2147483647 h 126"/>
                <a:gd name="T12" fmla="*/ 2147483647 w 162"/>
                <a:gd name="T13" fmla="*/ 2147483647 h 126"/>
                <a:gd name="T14" fmla="*/ 2147483647 w 162"/>
                <a:gd name="T15" fmla="*/ 2147483647 h 126"/>
                <a:gd name="T16" fmla="*/ 2147483647 w 162"/>
                <a:gd name="T17" fmla="*/ 2147483647 h 126"/>
                <a:gd name="T18" fmla="*/ 2147483647 w 162"/>
                <a:gd name="T19" fmla="*/ 2147483647 h 126"/>
                <a:gd name="T20" fmla="*/ 2147483647 w 162"/>
                <a:gd name="T21" fmla="*/ 2147483647 h 126"/>
                <a:gd name="T22" fmla="*/ 0 w 162"/>
                <a:gd name="T23" fmla="*/ 2147483647 h 126"/>
                <a:gd name="T24" fmla="*/ 0 w 162"/>
                <a:gd name="T25" fmla="*/ 2147483647 h 126"/>
                <a:gd name="T26" fmla="*/ 2147483647 w 162"/>
                <a:gd name="T27" fmla="*/ 2147483647 h 126"/>
                <a:gd name="T28" fmla="*/ 2147483647 w 162"/>
                <a:gd name="T29" fmla="*/ 2147483647 h 126"/>
                <a:gd name="T30" fmla="*/ 2147483647 w 162"/>
                <a:gd name="T31" fmla="*/ 2147483647 h 126"/>
                <a:gd name="T32" fmla="*/ 2147483647 w 162"/>
                <a:gd name="T33" fmla="*/ 2147483647 h 126"/>
                <a:gd name="T34" fmla="*/ 2147483647 w 162"/>
                <a:gd name="T35" fmla="*/ 2147483647 h 126"/>
                <a:gd name="T36" fmla="*/ 2147483647 w 162"/>
                <a:gd name="T37" fmla="*/ 2147483647 h 126"/>
                <a:gd name="T38" fmla="*/ 2147483647 w 162"/>
                <a:gd name="T39" fmla="*/ 2147483647 h 126"/>
                <a:gd name="T40" fmla="*/ 2147483647 w 162"/>
                <a:gd name="T41" fmla="*/ 2147483647 h 126"/>
                <a:gd name="T42" fmla="*/ 2147483647 w 162"/>
                <a:gd name="T43" fmla="*/ 2147483647 h 126"/>
                <a:gd name="T44" fmla="*/ 2147483647 w 162"/>
                <a:gd name="T45" fmla="*/ 2147483647 h 126"/>
                <a:gd name="T46" fmla="*/ 2147483647 w 162"/>
                <a:gd name="T47" fmla="*/ 2147483647 h 126"/>
                <a:gd name="T48" fmla="*/ 2147483647 w 162"/>
                <a:gd name="T49" fmla="*/ 2147483647 h 126"/>
                <a:gd name="T50" fmla="*/ 2147483647 w 162"/>
                <a:gd name="T51" fmla="*/ 2147483647 h 126"/>
                <a:gd name="T52" fmla="*/ 2147483647 w 162"/>
                <a:gd name="T53" fmla="*/ 2147483647 h 126"/>
                <a:gd name="T54" fmla="*/ 2147483647 w 162"/>
                <a:gd name="T55" fmla="*/ 2147483647 h 126"/>
                <a:gd name="T56" fmla="*/ 2147483647 w 162"/>
                <a:gd name="T57" fmla="*/ 2147483647 h 126"/>
                <a:gd name="T58" fmla="*/ 2147483647 w 162"/>
                <a:gd name="T59" fmla="*/ 2147483647 h 126"/>
                <a:gd name="T60" fmla="*/ 2147483647 w 162"/>
                <a:gd name="T61" fmla="*/ 2147483647 h 126"/>
                <a:gd name="T62" fmla="*/ 2147483647 w 162"/>
                <a:gd name="T63" fmla="*/ 2147483647 h 126"/>
                <a:gd name="T64" fmla="*/ 2147483647 w 162"/>
                <a:gd name="T65" fmla="*/ 2147483647 h 12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2"/>
                <a:gd name="T100" fmla="*/ 0 h 126"/>
                <a:gd name="T101" fmla="*/ 162 w 162"/>
                <a:gd name="T102" fmla="*/ 126 h 12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2" h="126">
                  <a:moveTo>
                    <a:pt x="150" y="42"/>
                  </a:moveTo>
                  <a:lnTo>
                    <a:pt x="132" y="30"/>
                  </a:lnTo>
                  <a:lnTo>
                    <a:pt x="132" y="18"/>
                  </a:lnTo>
                  <a:lnTo>
                    <a:pt x="126" y="18"/>
                  </a:lnTo>
                  <a:lnTo>
                    <a:pt x="114" y="0"/>
                  </a:lnTo>
                  <a:lnTo>
                    <a:pt x="72" y="6"/>
                  </a:lnTo>
                  <a:lnTo>
                    <a:pt x="66" y="12"/>
                  </a:lnTo>
                  <a:lnTo>
                    <a:pt x="48" y="12"/>
                  </a:lnTo>
                  <a:lnTo>
                    <a:pt x="48" y="24"/>
                  </a:lnTo>
                  <a:lnTo>
                    <a:pt x="24" y="24"/>
                  </a:lnTo>
                  <a:lnTo>
                    <a:pt x="18" y="36"/>
                  </a:lnTo>
                  <a:lnTo>
                    <a:pt x="0" y="42"/>
                  </a:lnTo>
                  <a:lnTo>
                    <a:pt x="0" y="66"/>
                  </a:lnTo>
                  <a:lnTo>
                    <a:pt x="6" y="78"/>
                  </a:lnTo>
                  <a:lnTo>
                    <a:pt x="6" y="102"/>
                  </a:lnTo>
                  <a:lnTo>
                    <a:pt x="12" y="108"/>
                  </a:lnTo>
                  <a:lnTo>
                    <a:pt x="18" y="108"/>
                  </a:lnTo>
                  <a:lnTo>
                    <a:pt x="18" y="126"/>
                  </a:lnTo>
                  <a:lnTo>
                    <a:pt x="42" y="120"/>
                  </a:lnTo>
                  <a:lnTo>
                    <a:pt x="42" y="126"/>
                  </a:lnTo>
                  <a:lnTo>
                    <a:pt x="54" y="120"/>
                  </a:lnTo>
                  <a:lnTo>
                    <a:pt x="60" y="120"/>
                  </a:lnTo>
                  <a:lnTo>
                    <a:pt x="66" y="126"/>
                  </a:lnTo>
                  <a:lnTo>
                    <a:pt x="90" y="126"/>
                  </a:lnTo>
                  <a:lnTo>
                    <a:pt x="96" y="114"/>
                  </a:lnTo>
                  <a:lnTo>
                    <a:pt x="96" y="108"/>
                  </a:lnTo>
                  <a:lnTo>
                    <a:pt x="120" y="108"/>
                  </a:lnTo>
                  <a:lnTo>
                    <a:pt x="132" y="102"/>
                  </a:lnTo>
                  <a:lnTo>
                    <a:pt x="156" y="78"/>
                  </a:lnTo>
                  <a:lnTo>
                    <a:pt x="162" y="66"/>
                  </a:lnTo>
                  <a:lnTo>
                    <a:pt x="162" y="60"/>
                  </a:lnTo>
                  <a:lnTo>
                    <a:pt x="156" y="48"/>
                  </a:lnTo>
                  <a:lnTo>
                    <a:pt x="150" y="42"/>
                  </a:lnTo>
                  <a:close/>
                </a:path>
              </a:pathLst>
            </a:custGeom>
            <a:solidFill>
              <a:srgbClr val="00508C"/>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20" name="Luxembourg" descr="© INSCALE GmbH, 05.05.2010&#10;http://www.presentationload.com/"/>
            <p:cNvSpPr>
              <a:spLocks/>
            </p:cNvSpPr>
            <p:nvPr/>
          </p:nvSpPr>
          <p:spPr bwMode="gray">
            <a:xfrm>
              <a:off x="4392617" y="2459037"/>
              <a:ext cx="20637" cy="17463"/>
            </a:xfrm>
            <a:custGeom>
              <a:avLst/>
              <a:gdLst>
                <a:gd name="T0" fmla="*/ 2147483647 w 54"/>
                <a:gd name="T1" fmla="*/ 2147483647 h 42"/>
                <a:gd name="T2" fmla="*/ 2147483647 w 54"/>
                <a:gd name="T3" fmla="*/ 2147483647 h 42"/>
                <a:gd name="T4" fmla="*/ 2147483647 w 54"/>
                <a:gd name="T5" fmla="*/ 2147483647 h 42"/>
                <a:gd name="T6" fmla="*/ 2147483647 w 54"/>
                <a:gd name="T7" fmla="*/ 2147483647 h 42"/>
                <a:gd name="T8" fmla="*/ 2147483647 w 54"/>
                <a:gd name="T9" fmla="*/ 2147483647 h 42"/>
                <a:gd name="T10" fmla="*/ 2147483647 w 54"/>
                <a:gd name="T11" fmla="*/ 2147483647 h 42"/>
                <a:gd name="T12" fmla="*/ 2147483647 w 54"/>
                <a:gd name="T13" fmla="*/ 2147483647 h 42"/>
                <a:gd name="T14" fmla="*/ 2147483647 w 54"/>
                <a:gd name="T15" fmla="*/ 2147483647 h 42"/>
                <a:gd name="T16" fmla="*/ 2147483647 w 54"/>
                <a:gd name="T17" fmla="*/ 0 h 42"/>
                <a:gd name="T18" fmla="*/ 2147483647 w 54"/>
                <a:gd name="T19" fmla="*/ 0 h 42"/>
                <a:gd name="T20" fmla="*/ 2147483647 w 54"/>
                <a:gd name="T21" fmla="*/ 2147483647 h 42"/>
                <a:gd name="T22" fmla="*/ 2147483647 w 54"/>
                <a:gd name="T23" fmla="*/ 2147483647 h 42"/>
                <a:gd name="T24" fmla="*/ 0 w 54"/>
                <a:gd name="T25" fmla="*/ 2147483647 h 42"/>
                <a:gd name="T26" fmla="*/ 0 w 54"/>
                <a:gd name="T27" fmla="*/ 2147483647 h 42"/>
                <a:gd name="T28" fmla="*/ 2147483647 w 54"/>
                <a:gd name="T29" fmla="*/ 2147483647 h 42"/>
                <a:gd name="T30" fmla="*/ 2147483647 w 54"/>
                <a:gd name="T31" fmla="*/ 2147483647 h 4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4"/>
                <a:gd name="T49" fmla="*/ 0 h 42"/>
                <a:gd name="T50" fmla="*/ 54 w 54"/>
                <a:gd name="T51" fmla="*/ 42 h 4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4" h="42">
                  <a:moveTo>
                    <a:pt x="18" y="42"/>
                  </a:moveTo>
                  <a:lnTo>
                    <a:pt x="30" y="36"/>
                  </a:lnTo>
                  <a:lnTo>
                    <a:pt x="48" y="42"/>
                  </a:lnTo>
                  <a:lnTo>
                    <a:pt x="54" y="36"/>
                  </a:lnTo>
                  <a:lnTo>
                    <a:pt x="54" y="24"/>
                  </a:lnTo>
                  <a:lnTo>
                    <a:pt x="42" y="18"/>
                  </a:lnTo>
                  <a:lnTo>
                    <a:pt x="36" y="18"/>
                  </a:lnTo>
                  <a:lnTo>
                    <a:pt x="30" y="12"/>
                  </a:lnTo>
                  <a:lnTo>
                    <a:pt x="30" y="0"/>
                  </a:lnTo>
                  <a:lnTo>
                    <a:pt x="24" y="0"/>
                  </a:lnTo>
                  <a:lnTo>
                    <a:pt x="18" y="6"/>
                  </a:lnTo>
                  <a:lnTo>
                    <a:pt x="6" y="12"/>
                  </a:lnTo>
                  <a:lnTo>
                    <a:pt x="0" y="12"/>
                  </a:lnTo>
                  <a:lnTo>
                    <a:pt x="0" y="18"/>
                  </a:lnTo>
                  <a:lnTo>
                    <a:pt x="12" y="30"/>
                  </a:lnTo>
                  <a:lnTo>
                    <a:pt x="18" y="42"/>
                  </a:lnTo>
                  <a:close/>
                </a:path>
              </a:pathLst>
            </a:custGeom>
            <a:grp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21" name="Lithuania" descr="© INSCALE GmbH, 05.05.2010&#10;http://www.presentationload.com/"/>
            <p:cNvSpPr>
              <a:spLocks/>
            </p:cNvSpPr>
            <p:nvPr/>
          </p:nvSpPr>
          <p:spPr bwMode="gray">
            <a:xfrm>
              <a:off x="4764092" y="2262188"/>
              <a:ext cx="136526" cy="79375"/>
            </a:xfrm>
            <a:custGeom>
              <a:avLst/>
              <a:gdLst>
                <a:gd name="T0" fmla="*/ 2147483647 w 342"/>
                <a:gd name="T1" fmla="*/ 2147483647 h 198"/>
                <a:gd name="T2" fmla="*/ 2147483647 w 342"/>
                <a:gd name="T3" fmla="*/ 2147483647 h 198"/>
                <a:gd name="T4" fmla="*/ 2147483647 w 342"/>
                <a:gd name="T5" fmla="*/ 2147483647 h 198"/>
                <a:gd name="T6" fmla="*/ 2147483647 w 342"/>
                <a:gd name="T7" fmla="*/ 2147483647 h 198"/>
                <a:gd name="T8" fmla="*/ 2147483647 w 342"/>
                <a:gd name="T9" fmla="*/ 2147483647 h 198"/>
                <a:gd name="T10" fmla="*/ 2147483647 w 342"/>
                <a:gd name="T11" fmla="*/ 2147483647 h 198"/>
                <a:gd name="T12" fmla="*/ 2147483647 w 342"/>
                <a:gd name="T13" fmla="*/ 2147483647 h 198"/>
                <a:gd name="T14" fmla="*/ 2147483647 w 342"/>
                <a:gd name="T15" fmla="*/ 2147483647 h 198"/>
                <a:gd name="T16" fmla="*/ 2147483647 w 342"/>
                <a:gd name="T17" fmla="*/ 2147483647 h 198"/>
                <a:gd name="T18" fmla="*/ 2147483647 w 342"/>
                <a:gd name="T19" fmla="*/ 2147483647 h 198"/>
                <a:gd name="T20" fmla="*/ 2147483647 w 342"/>
                <a:gd name="T21" fmla="*/ 2147483647 h 198"/>
                <a:gd name="T22" fmla="*/ 2147483647 w 342"/>
                <a:gd name="T23" fmla="*/ 2147483647 h 198"/>
                <a:gd name="T24" fmla="*/ 2147483647 w 342"/>
                <a:gd name="T25" fmla="*/ 0 h 198"/>
                <a:gd name="T26" fmla="*/ 2147483647 w 342"/>
                <a:gd name="T27" fmla="*/ 2147483647 h 198"/>
                <a:gd name="T28" fmla="*/ 0 w 342"/>
                <a:gd name="T29" fmla="*/ 2147483647 h 198"/>
                <a:gd name="T30" fmla="*/ 2147483647 w 342"/>
                <a:gd name="T31" fmla="*/ 2147483647 h 198"/>
                <a:gd name="T32" fmla="*/ 2147483647 w 342"/>
                <a:gd name="T33" fmla="*/ 2147483647 h 198"/>
                <a:gd name="T34" fmla="*/ 2147483647 w 342"/>
                <a:gd name="T35" fmla="*/ 2147483647 h 198"/>
                <a:gd name="T36" fmla="*/ 2147483647 w 342"/>
                <a:gd name="T37" fmla="*/ 2147483647 h 198"/>
                <a:gd name="T38" fmla="*/ 2147483647 w 342"/>
                <a:gd name="T39" fmla="*/ 2147483647 h 198"/>
                <a:gd name="T40" fmla="*/ 2147483647 w 342"/>
                <a:gd name="T41" fmla="*/ 2147483647 h 198"/>
                <a:gd name="T42" fmla="*/ 2147483647 w 342"/>
                <a:gd name="T43" fmla="*/ 2147483647 h 198"/>
                <a:gd name="T44" fmla="*/ 2147483647 w 342"/>
                <a:gd name="T45" fmla="*/ 2147483647 h 198"/>
                <a:gd name="T46" fmla="*/ 2147483647 w 342"/>
                <a:gd name="T47" fmla="*/ 2147483647 h 198"/>
                <a:gd name="T48" fmla="*/ 2147483647 w 342"/>
                <a:gd name="T49" fmla="*/ 2147483647 h 198"/>
                <a:gd name="T50" fmla="*/ 2147483647 w 342"/>
                <a:gd name="T51" fmla="*/ 2147483647 h 198"/>
                <a:gd name="T52" fmla="*/ 2147483647 w 342"/>
                <a:gd name="T53" fmla="*/ 2147483647 h 198"/>
                <a:gd name="T54" fmla="*/ 2147483647 w 342"/>
                <a:gd name="T55" fmla="*/ 2147483647 h 198"/>
                <a:gd name="T56" fmla="*/ 2147483647 w 342"/>
                <a:gd name="T57" fmla="*/ 2147483647 h 198"/>
                <a:gd name="T58" fmla="*/ 2147483647 w 342"/>
                <a:gd name="T59" fmla="*/ 2147483647 h 198"/>
                <a:gd name="T60" fmla="*/ 2147483647 w 342"/>
                <a:gd name="T61" fmla="*/ 2147483647 h 198"/>
                <a:gd name="T62" fmla="*/ 2147483647 w 342"/>
                <a:gd name="T63" fmla="*/ 2147483647 h 198"/>
                <a:gd name="T64" fmla="*/ 2147483647 w 342"/>
                <a:gd name="T65" fmla="*/ 2147483647 h 198"/>
                <a:gd name="T66" fmla="*/ 2147483647 w 342"/>
                <a:gd name="T67" fmla="*/ 2147483647 h 198"/>
                <a:gd name="T68" fmla="*/ 2147483647 w 342"/>
                <a:gd name="T69" fmla="*/ 2147483647 h 198"/>
                <a:gd name="T70" fmla="*/ 2147483647 w 342"/>
                <a:gd name="T71" fmla="*/ 2147483647 h 198"/>
                <a:gd name="T72" fmla="*/ 2147483647 w 342"/>
                <a:gd name="T73" fmla="*/ 2147483647 h 198"/>
                <a:gd name="T74" fmla="*/ 2147483647 w 342"/>
                <a:gd name="T75" fmla="*/ 2147483647 h 198"/>
                <a:gd name="T76" fmla="*/ 2147483647 w 342"/>
                <a:gd name="T77" fmla="*/ 2147483647 h 198"/>
                <a:gd name="T78" fmla="*/ 2147483647 w 342"/>
                <a:gd name="T79" fmla="*/ 2147483647 h 198"/>
                <a:gd name="T80" fmla="*/ 2147483647 w 342"/>
                <a:gd name="T81" fmla="*/ 2147483647 h 198"/>
                <a:gd name="T82" fmla="*/ 2147483647 w 342"/>
                <a:gd name="T83" fmla="*/ 2147483647 h 198"/>
                <a:gd name="T84" fmla="*/ 2147483647 w 342"/>
                <a:gd name="T85" fmla="*/ 2147483647 h 19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42"/>
                <a:gd name="T130" fmla="*/ 0 h 198"/>
                <a:gd name="T131" fmla="*/ 342 w 342"/>
                <a:gd name="T132" fmla="*/ 198 h 19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42" h="198">
                  <a:moveTo>
                    <a:pt x="330" y="60"/>
                  </a:moveTo>
                  <a:lnTo>
                    <a:pt x="312" y="54"/>
                  </a:lnTo>
                  <a:lnTo>
                    <a:pt x="294" y="42"/>
                  </a:lnTo>
                  <a:lnTo>
                    <a:pt x="282" y="30"/>
                  </a:lnTo>
                  <a:lnTo>
                    <a:pt x="276" y="30"/>
                  </a:lnTo>
                  <a:lnTo>
                    <a:pt x="264" y="24"/>
                  </a:lnTo>
                  <a:lnTo>
                    <a:pt x="234" y="24"/>
                  </a:lnTo>
                  <a:lnTo>
                    <a:pt x="228" y="12"/>
                  </a:lnTo>
                  <a:lnTo>
                    <a:pt x="222" y="6"/>
                  </a:lnTo>
                  <a:lnTo>
                    <a:pt x="210" y="6"/>
                  </a:lnTo>
                  <a:lnTo>
                    <a:pt x="198" y="18"/>
                  </a:lnTo>
                  <a:lnTo>
                    <a:pt x="180" y="18"/>
                  </a:lnTo>
                  <a:lnTo>
                    <a:pt x="174" y="12"/>
                  </a:lnTo>
                  <a:lnTo>
                    <a:pt x="162" y="12"/>
                  </a:lnTo>
                  <a:lnTo>
                    <a:pt x="156" y="18"/>
                  </a:lnTo>
                  <a:lnTo>
                    <a:pt x="150" y="18"/>
                  </a:lnTo>
                  <a:lnTo>
                    <a:pt x="144" y="12"/>
                  </a:lnTo>
                  <a:lnTo>
                    <a:pt x="138" y="12"/>
                  </a:lnTo>
                  <a:lnTo>
                    <a:pt x="126" y="6"/>
                  </a:lnTo>
                  <a:lnTo>
                    <a:pt x="120" y="6"/>
                  </a:lnTo>
                  <a:lnTo>
                    <a:pt x="114" y="12"/>
                  </a:lnTo>
                  <a:lnTo>
                    <a:pt x="108" y="12"/>
                  </a:lnTo>
                  <a:lnTo>
                    <a:pt x="102" y="6"/>
                  </a:lnTo>
                  <a:lnTo>
                    <a:pt x="96" y="6"/>
                  </a:lnTo>
                  <a:lnTo>
                    <a:pt x="90" y="0"/>
                  </a:lnTo>
                  <a:lnTo>
                    <a:pt x="72" y="0"/>
                  </a:lnTo>
                  <a:lnTo>
                    <a:pt x="60" y="12"/>
                  </a:lnTo>
                  <a:lnTo>
                    <a:pt x="18" y="12"/>
                  </a:lnTo>
                  <a:lnTo>
                    <a:pt x="6" y="18"/>
                  </a:lnTo>
                  <a:lnTo>
                    <a:pt x="0" y="18"/>
                  </a:lnTo>
                  <a:lnTo>
                    <a:pt x="0" y="60"/>
                  </a:lnTo>
                  <a:lnTo>
                    <a:pt x="12" y="84"/>
                  </a:lnTo>
                  <a:lnTo>
                    <a:pt x="18" y="90"/>
                  </a:lnTo>
                  <a:lnTo>
                    <a:pt x="18" y="96"/>
                  </a:lnTo>
                  <a:lnTo>
                    <a:pt x="30" y="96"/>
                  </a:lnTo>
                  <a:lnTo>
                    <a:pt x="30" y="102"/>
                  </a:lnTo>
                  <a:lnTo>
                    <a:pt x="42" y="102"/>
                  </a:lnTo>
                  <a:lnTo>
                    <a:pt x="48" y="108"/>
                  </a:lnTo>
                  <a:lnTo>
                    <a:pt x="72" y="108"/>
                  </a:lnTo>
                  <a:lnTo>
                    <a:pt x="84" y="102"/>
                  </a:lnTo>
                  <a:lnTo>
                    <a:pt x="102" y="102"/>
                  </a:lnTo>
                  <a:lnTo>
                    <a:pt x="108" y="114"/>
                  </a:lnTo>
                  <a:lnTo>
                    <a:pt x="108" y="132"/>
                  </a:lnTo>
                  <a:lnTo>
                    <a:pt x="96" y="144"/>
                  </a:lnTo>
                  <a:lnTo>
                    <a:pt x="102" y="162"/>
                  </a:lnTo>
                  <a:lnTo>
                    <a:pt x="120" y="162"/>
                  </a:lnTo>
                  <a:lnTo>
                    <a:pt x="138" y="168"/>
                  </a:lnTo>
                  <a:lnTo>
                    <a:pt x="144" y="168"/>
                  </a:lnTo>
                  <a:lnTo>
                    <a:pt x="156" y="174"/>
                  </a:lnTo>
                  <a:lnTo>
                    <a:pt x="156" y="198"/>
                  </a:lnTo>
                  <a:lnTo>
                    <a:pt x="162" y="198"/>
                  </a:lnTo>
                  <a:lnTo>
                    <a:pt x="168" y="192"/>
                  </a:lnTo>
                  <a:lnTo>
                    <a:pt x="180" y="192"/>
                  </a:lnTo>
                  <a:lnTo>
                    <a:pt x="192" y="186"/>
                  </a:lnTo>
                  <a:lnTo>
                    <a:pt x="198" y="186"/>
                  </a:lnTo>
                  <a:lnTo>
                    <a:pt x="204" y="192"/>
                  </a:lnTo>
                  <a:lnTo>
                    <a:pt x="204" y="198"/>
                  </a:lnTo>
                  <a:lnTo>
                    <a:pt x="234" y="198"/>
                  </a:lnTo>
                  <a:lnTo>
                    <a:pt x="234" y="180"/>
                  </a:lnTo>
                  <a:lnTo>
                    <a:pt x="246" y="192"/>
                  </a:lnTo>
                  <a:lnTo>
                    <a:pt x="252" y="180"/>
                  </a:lnTo>
                  <a:lnTo>
                    <a:pt x="258" y="174"/>
                  </a:lnTo>
                  <a:lnTo>
                    <a:pt x="270" y="168"/>
                  </a:lnTo>
                  <a:lnTo>
                    <a:pt x="288" y="168"/>
                  </a:lnTo>
                  <a:lnTo>
                    <a:pt x="288" y="174"/>
                  </a:lnTo>
                  <a:lnTo>
                    <a:pt x="282" y="180"/>
                  </a:lnTo>
                  <a:lnTo>
                    <a:pt x="294" y="180"/>
                  </a:lnTo>
                  <a:lnTo>
                    <a:pt x="294" y="174"/>
                  </a:lnTo>
                  <a:lnTo>
                    <a:pt x="288" y="168"/>
                  </a:lnTo>
                  <a:lnTo>
                    <a:pt x="288" y="156"/>
                  </a:lnTo>
                  <a:lnTo>
                    <a:pt x="282" y="150"/>
                  </a:lnTo>
                  <a:lnTo>
                    <a:pt x="282" y="144"/>
                  </a:lnTo>
                  <a:lnTo>
                    <a:pt x="294" y="144"/>
                  </a:lnTo>
                  <a:lnTo>
                    <a:pt x="294" y="138"/>
                  </a:lnTo>
                  <a:lnTo>
                    <a:pt x="288" y="126"/>
                  </a:lnTo>
                  <a:lnTo>
                    <a:pt x="288" y="120"/>
                  </a:lnTo>
                  <a:lnTo>
                    <a:pt x="294" y="114"/>
                  </a:lnTo>
                  <a:lnTo>
                    <a:pt x="312" y="114"/>
                  </a:lnTo>
                  <a:lnTo>
                    <a:pt x="306" y="96"/>
                  </a:lnTo>
                  <a:lnTo>
                    <a:pt x="312" y="96"/>
                  </a:lnTo>
                  <a:lnTo>
                    <a:pt x="318" y="102"/>
                  </a:lnTo>
                  <a:lnTo>
                    <a:pt x="336" y="102"/>
                  </a:lnTo>
                  <a:lnTo>
                    <a:pt x="342" y="96"/>
                  </a:lnTo>
                  <a:lnTo>
                    <a:pt x="324" y="78"/>
                  </a:lnTo>
                  <a:lnTo>
                    <a:pt x="324" y="72"/>
                  </a:lnTo>
                  <a:lnTo>
                    <a:pt x="330" y="66"/>
                  </a:lnTo>
                  <a:lnTo>
                    <a:pt x="330" y="60"/>
                  </a:lnTo>
                  <a:close/>
                </a:path>
              </a:pathLst>
            </a:custGeom>
            <a:solidFill>
              <a:srgbClr val="00508C"/>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22" name="Liechtenstein" descr="© INSCALE GmbH, 05.05.2010&#10;http://www.presentationload.com/"/>
            <p:cNvSpPr>
              <a:spLocks/>
            </p:cNvSpPr>
            <p:nvPr/>
          </p:nvSpPr>
          <p:spPr bwMode="gray">
            <a:xfrm>
              <a:off x="4483103" y="2546350"/>
              <a:ext cx="6350" cy="9525"/>
            </a:xfrm>
            <a:custGeom>
              <a:avLst/>
              <a:gdLst>
                <a:gd name="T0" fmla="*/ 2147483647 w 18"/>
                <a:gd name="T1" fmla="*/ 0 h 24"/>
                <a:gd name="T2" fmla="*/ 2147483647 w 18"/>
                <a:gd name="T3" fmla="*/ 2147483647 h 24"/>
                <a:gd name="T4" fmla="*/ 0 w 18"/>
                <a:gd name="T5" fmla="*/ 2147483647 h 24"/>
                <a:gd name="T6" fmla="*/ 0 w 18"/>
                <a:gd name="T7" fmla="*/ 2147483647 h 24"/>
                <a:gd name="T8" fmla="*/ 2147483647 w 18"/>
                <a:gd name="T9" fmla="*/ 2147483647 h 24"/>
                <a:gd name="T10" fmla="*/ 2147483647 w 18"/>
                <a:gd name="T11" fmla="*/ 0 h 24"/>
                <a:gd name="T12" fmla="*/ 2147483647 w 18"/>
                <a:gd name="T13" fmla="*/ 0 h 24"/>
                <a:gd name="T14" fmla="*/ 0 60000 65536"/>
                <a:gd name="T15" fmla="*/ 0 60000 65536"/>
                <a:gd name="T16" fmla="*/ 0 60000 65536"/>
                <a:gd name="T17" fmla="*/ 0 60000 65536"/>
                <a:gd name="T18" fmla="*/ 0 60000 65536"/>
                <a:gd name="T19" fmla="*/ 0 60000 65536"/>
                <a:gd name="T20" fmla="*/ 0 60000 65536"/>
                <a:gd name="T21" fmla="*/ 0 w 18"/>
                <a:gd name="T22" fmla="*/ 0 h 24"/>
                <a:gd name="T23" fmla="*/ 18 w 18"/>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24">
                  <a:moveTo>
                    <a:pt x="12" y="0"/>
                  </a:moveTo>
                  <a:lnTo>
                    <a:pt x="6" y="6"/>
                  </a:lnTo>
                  <a:lnTo>
                    <a:pt x="0" y="18"/>
                  </a:lnTo>
                  <a:lnTo>
                    <a:pt x="0" y="24"/>
                  </a:lnTo>
                  <a:lnTo>
                    <a:pt x="18" y="24"/>
                  </a:lnTo>
                  <a:lnTo>
                    <a:pt x="18" y="0"/>
                  </a:lnTo>
                  <a:lnTo>
                    <a:pt x="12" y="0"/>
                  </a:lnTo>
                  <a:close/>
                </a:path>
              </a:pathLst>
            </a:custGeom>
            <a:grp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23" name="Libya" descr="© INSCALE GmbH, 05.05.2010&#10;http://www.presentationload.com/"/>
            <p:cNvSpPr>
              <a:spLocks/>
            </p:cNvSpPr>
            <p:nvPr/>
          </p:nvSpPr>
          <p:spPr bwMode="gray">
            <a:xfrm>
              <a:off x="4479929" y="3000375"/>
              <a:ext cx="442912" cy="446088"/>
            </a:xfrm>
            <a:custGeom>
              <a:avLst/>
              <a:gdLst>
                <a:gd name="T0" fmla="*/ 2147483647 w 1098"/>
                <a:gd name="T1" fmla="*/ 2147483647 h 1110"/>
                <a:gd name="T2" fmla="*/ 2147483647 w 1098"/>
                <a:gd name="T3" fmla="*/ 2147483647 h 1110"/>
                <a:gd name="T4" fmla="*/ 2147483647 w 1098"/>
                <a:gd name="T5" fmla="*/ 2147483647 h 1110"/>
                <a:gd name="T6" fmla="*/ 2147483647 w 1098"/>
                <a:gd name="T7" fmla="*/ 2147483647 h 1110"/>
                <a:gd name="T8" fmla="*/ 2147483647 w 1098"/>
                <a:gd name="T9" fmla="*/ 2147483647 h 1110"/>
                <a:gd name="T10" fmla="*/ 2147483647 w 1098"/>
                <a:gd name="T11" fmla="*/ 2147483647 h 1110"/>
                <a:gd name="T12" fmla="*/ 2147483647 w 1098"/>
                <a:gd name="T13" fmla="*/ 2147483647 h 1110"/>
                <a:gd name="T14" fmla="*/ 2147483647 w 1098"/>
                <a:gd name="T15" fmla="*/ 2147483647 h 1110"/>
                <a:gd name="T16" fmla="*/ 2147483647 w 1098"/>
                <a:gd name="T17" fmla="*/ 2147483647 h 1110"/>
                <a:gd name="T18" fmla="*/ 2147483647 w 1098"/>
                <a:gd name="T19" fmla="*/ 2147483647 h 1110"/>
                <a:gd name="T20" fmla="*/ 2147483647 w 1098"/>
                <a:gd name="T21" fmla="*/ 2147483647 h 1110"/>
                <a:gd name="T22" fmla="*/ 2147483647 w 1098"/>
                <a:gd name="T23" fmla="*/ 2147483647 h 1110"/>
                <a:gd name="T24" fmla="*/ 0 w 1098"/>
                <a:gd name="T25" fmla="*/ 2147483647 h 1110"/>
                <a:gd name="T26" fmla="*/ 2147483647 w 1098"/>
                <a:gd name="T27" fmla="*/ 2147483647 h 1110"/>
                <a:gd name="T28" fmla="*/ 2147483647 w 1098"/>
                <a:gd name="T29" fmla="*/ 2147483647 h 1110"/>
                <a:gd name="T30" fmla="*/ 2147483647 w 1098"/>
                <a:gd name="T31" fmla="*/ 2147483647 h 1110"/>
                <a:gd name="T32" fmla="*/ 2147483647 w 1098"/>
                <a:gd name="T33" fmla="*/ 2147483647 h 1110"/>
                <a:gd name="T34" fmla="*/ 2147483647 w 1098"/>
                <a:gd name="T35" fmla="*/ 2147483647 h 1110"/>
                <a:gd name="T36" fmla="*/ 2147483647 w 1098"/>
                <a:gd name="T37" fmla="*/ 2147483647 h 1110"/>
                <a:gd name="T38" fmla="*/ 2147483647 w 1098"/>
                <a:gd name="T39" fmla="*/ 2147483647 h 1110"/>
                <a:gd name="T40" fmla="*/ 2147483647 w 1098"/>
                <a:gd name="T41" fmla="*/ 2147483647 h 1110"/>
                <a:gd name="T42" fmla="*/ 2147483647 w 1098"/>
                <a:gd name="T43" fmla="*/ 2147483647 h 1110"/>
                <a:gd name="T44" fmla="*/ 2147483647 w 1098"/>
                <a:gd name="T45" fmla="*/ 2147483647 h 1110"/>
                <a:gd name="T46" fmla="*/ 2147483647 w 1098"/>
                <a:gd name="T47" fmla="*/ 2147483647 h 1110"/>
                <a:gd name="T48" fmla="*/ 2147483647 w 1098"/>
                <a:gd name="T49" fmla="*/ 2147483647 h 1110"/>
                <a:gd name="T50" fmla="*/ 2147483647 w 1098"/>
                <a:gd name="T51" fmla="*/ 2147483647 h 1110"/>
                <a:gd name="T52" fmla="*/ 2147483647 w 1098"/>
                <a:gd name="T53" fmla="*/ 2147483647 h 1110"/>
                <a:gd name="T54" fmla="*/ 2147483647 w 1098"/>
                <a:gd name="T55" fmla="*/ 2147483647 h 1110"/>
                <a:gd name="T56" fmla="*/ 2147483647 w 1098"/>
                <a:gd name="T57" fmla="*/ 2147483647 h 1110"/>
                <a:gd name="T58" fmla="*/ 2147483647 w 1098"/>
                <a:gd name="T59" fmla="*/ 2147483647 h 1110"/>
                <a:gd name="T60" fmla="*/ 2147483647 w 1098"/>
                <a:gd name="T61" fmla="*/ 2147483647 h 1110"/>
                <a:gd name="T62" fmla="*/ 2147483647 w 1098"/>
                <a:gd name="T63" fmla="*/ 2147483647 h 1110"/>
                <a:gd name="T64" fmla="*/ 2147483647 w 1098"/>
                <a:gd name="T65" fmla="*/ 2147483647 h 1110"/>
                <a:gd name="T66" fmla="*/ 2147483647 w 1098"/>
                <a:gd name="T67" fmla="*/ 2147483647 h 1110"/>
                <a:gd name="T68" fmla="*/ 2147483647 w 1098"/>
                <a:gd name="T69" fmla="*/ 2147483647 h 1110"/>
                <a:gd name="T70" fmla="*/ 2147483647 w 1098"/>
                <a:gd name="T71" fmla="*/ 2147483647 h 1110"/>
                <a:gd name="T72" fmla="*/ 2147483647 w 1098"/>
                <a:gd name="T73" fmla="*/ 2147483647 h 1110"/>
                <a:gd name="T74" fmla="*/ 2147483647 w 1098"/>
                <a:gd name="T75" fmla="*/ 2147483647 h 1110"/>
                <a:gd name="T76" fmla="*/ 2147483647 w 1098"/>
                <a:gd name="T77" fmla="*/ 2147483647 h 1110"/>
                <a:gd name="T78" fmla="*/ 2147483647 w 1098"/>
                <a:gd name="T79" fmla="*/ 2147483647 h 1110"/>
                <a:gd name="T80" fmla="*/ 2147483647 w 1098"/>
                <a:gd name="T81" fmla="*/ 2147483647 h 1110"/>
                <a:gd name="T82" fmla="*/ 2147483647 w 1098"/>
                <a:gd name="T83" fmla="*/ 2147483647 h 1110"/>
                <a:gd name="T84" fmla="*/ 2147483647 w 1098"/>
                <a:gd name="T85" fmla="*/ 2147483647 h 1110"/>
                <a:gd name="T86" fmla="*/ 2147483647 w 1098"/>
                <a:gd name="T87" fmla="*/ 2147483647 h 1110"/>
                <a:gd name="T88" fmla="*/ 2147483647 w 1098"/>
                <a:gd name="T89" fmla="*/ 2147483647 h 1110"/>
                <a:gd name="T90" fmla="*/ 2147483647 w 1098"/>
                <a:gd name="T91" fmla="*/ 2147483647 h 1110"/>
                <a:gd name="T92" fmla="*/ 2147483647 w 1098"/>
                <a:gd name="T93" fmla="*/ 2147483647 h 1110"/>
                <a:gd name="T94" fmla="*/ 2147483647 w 1098"/>
                <a:gd name="T95" fmla="*/ 2147483647 h 1110"/>
                <a:gd name="T96" fmla="*/ 2147483647 w 1098"/>
                <a:gd name="T97" fmla="*/ 2147483647 h 1110"/>
                <a:gd name="T98" fmla="*/ 2147483647 w 1098"/>
                <a:gd name="T99" fmla="*/ 2147483647 h 1110"/>
                <a:gd name="T100" fmla="*/ 2147483647 w 1098"/>
                <a:gd name="T101" fmla="*/ 2147483647 h 1110"/>
                <a:gd name="T102" fmla="*/ 2147483647 w 1098"/>
                <a:gd name="T103" fmla="*/ 2147483647 h 1110"/>
                <a:gd name="T104" fmla="*/ 2147483647 w 1098"/>
                <a:gd name="T105" fmla="*/ 2147483647 h 1110"/>
                <a:gd name="T106" fmla="*/ 2147483647 w 1098"/>
                <a:gd name="T107" fmla="*/ 2147483647 h 1110"/>
                <a:gd name="T108" fmla="*/ 2147483647 w 1098"/>
                <a:gd name="T109" fmla="*/ 2147483647 h 1110"/>
                <a:gd name="T110" fmla="*/ 2147483647 w 1098"/>
                <a:gd name="T111" fmla="*/ 2147483647 h 1110"/>
                <a:gd name="T112" fmla="*/ 2147483647 w 1098"/>
                <a:gd name="T113" fmla="*/ 2147483647 h 111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98"/>
                <a:gd name="T172" fmla="*/ 0 h 1110"/>
                <a:gd name="T173" fmla="*/ 1098 w 1098"/>
                <a:gd name="T174" fmla="*/ 1110 h 111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98" h="1110">
                  <a:moveTo>
                    <a:pt x="156" y="60"/>
                  </a:moveTo>
                  <a:lnTo>
                    <a:pt x="150" y="66"/>
                  </a:lnTo>
                  <a:lnTo>
                    <a:pt x="126" y="78"/>
                  </a:lnTo>
                  <a:lnTo>
                    <a:pt x="114" y="78"/>
                  </a:lnTo>
                  <a:lnTo>
                    <a:pt x="102" y="84"/>
                  </a:lnTo>
                  <a:lnTo>
                    <a:pt x="96" y="90"/>
                  </a:lnTo>
                  <a:lnTo>
                    <a:pt x="90" y="102"/>
                  </a:lnTo>
                  <a:lnTo>
                    <a:pt x="84" y="108"/>
                  </a:lnTo>
                  <a:lnTo>
                    <a:pt x="78" y="120"/>
                  </a:lnTo>
                  <a:lnTo>
                    <a:pt x="72" y="120"/>
                  </a:lnTo>
                  <a:lnTo>
                    <a:pt x="54" y="138"/>
                  </a:lnTo>
                  <a:lnTo>
                    <a:pt x="54" y="156"/>
                  </a:lnTo>
                  <a:lnTo>
                    <a:pt x="66" y="180"/>
                  </a:lnTo>
                  <a:lnTo>
                    <a:pt x="66" y="204"/>
                  </a:lnTo>
                  <a:lnTo>
                    <a:pt x="36" y="234"/>
                  </a:lnTo>
                  <a:lnTo>
                    <a:pt x="30" y="234"/>
                  </a:lnTo>
                  <a:lnTo>
                    <a:pt x="24" y="240"/>
                  </a:lnTo>
                  <a:lnTo>
                    <a:pt x="12" y="246"/>
                  </a:lnTo>
                  <a:lnTo>
                    <a:pt x="6" y="246"/>
                  </a:lnTo>
                  <a:lnTo>
                    <a:pt x="0" y="252"/>
                  </a:lnTo>
                  <a:lnTo>
                    <a:pt x="12" y="270"/>
                  </a:lnTo>
                  <a:lnTo>
                    <a:pt x="36" y="330"/>
                  </a:lnTo>
                  <a:lnTo>
                    <a:pt x="48" y="354"/>
                  </a:lnTo>
                  <a:lnTo>
                    <a:pt x="48" y="360"/>
                  </a:lnTo>
                  <a:lnTo>
                    <a:pt x="42" y="372"/>
                  </a:lnTo>
                  <a:lnTo>
                    <a:pt x="42" y="402"/>
                  </a:lnTo>
                  <a:lnTo>
                    <a:pt x="36" y="408"/>
                  </a:lnTo>
                  <a:lnTo>
                    <a:pt x="36" y="414"/>
                  </a:lnTo>
                  <a:lnTo>
                    <a:pt x="42" y="432"/>
                  </a:lnTo>
                  <a:lnTo>
                    <a:pt x="30" y="456"/>
                  </a:lnTo>
                  <a:lnTo>
                    <a:pt x="36" y="510"/>
                  </a:lnTo>
                  <a:lnTo>
                    <a:pt x="36" y="516"/>
                  </a:lnTo>
                  <a:lnTo>
                    <a:pt x="42" y="522"/>
                  </a:lnTo>
                  <a:lnTo>
                    <a:pt x="42" y="534"/>
                  </a:lnTo>
                  <a:lnTo>
                    <a:pt x="36" y="546"/>
                  </a:lnTo>
                  <a:lnTo>
                    <a:pt x="30" y="552"/>
                  </a:lnTo>
                  <a:lnTo>
                    <a:pt x="18" y="558"/>
                  </a:lnTo>
                  <a:lnTo>
                    <a:pt x="6" y="558"/>
                  </a:lnTo>
                  <a:lnTo>
                    <a:pt x="0" y="564"/>
                  </a:lnTo>
                  <a:lnTo>
                    <a:pt x="0" y="570"/>
                  </a:lnTo>
                  <a:lnTo>
                    <a:pt x="6" y="582"/>
                  </a:lnTo>
                  <a:lnTo>
                    <a:pt x="18" y="594"/>
                  </a:lnTo>
                  <a:lnTo>
                    <a:pt x="24" y="612"/>
                  </a:lnTo>
                  <a:lnTo>
                    <a:pt x="36" y="624"/>
                  </a:lnTo>
                  <a:lnTo>
                    <a:pt x="42" y="636"/>
                  </a:lnTo>
                  <a:lnTo>
                    <a:pt x="48" y="642"/>
                  </a:lnTo>
                  <a:lnTo>
                    <a:pt x="48" y="684"/>
                  </a:lnTo>
                  <a:lnTo>
                    <a:pt x="72" y="708"/>
                  </a:lnTo>
                  <a:lnTo>
                    <a:pt x="96" y="696"/>
                  </a:lnTo>
                  <a:lnTo>
                    <a:pt x="102" y="696"/>
                  </a:lnTo>
                  <a:lnTo>
                    <a:pt x="138" y="714"/>
                  </a:lnTo>
                  <a:lnTo>
                    <a:pt x="150" y="714"/>
                  </a:lnTo>
                  <a:lnTo>
                    <a:pt x="162" y="726"/>
                  </a:lnTo>
                  <a:lnTo>
                    <a:pt x="162" y="732"/>
                  </a:lnTo>
                  <a:lnTo>
                    <a:pt x="168" y="744"/>
                  </a:lnTo>
                  <a:lnTo>
                    <a:pt x="174" y="762"/>
                  </a:lnTo>
                  <a:lnTo>
                    <a:pt x="180" y="774"/>
                  </a:lnTo>
                  <a:lnTo>
                    <a:pt x="186" y="780"/>
                  </a:lnTo>
                  <a:lnTo>
                    <a:pt x="186" y="786"/>
                  </a:lnTo>
                  <a:lnTo>
                    <a:pt x="222" y="792"/>
                  </a:lnTo>
                  <a:lnTo>
                    <a:pt x="234" y="792"/>
                  </a:lnTo>
                  <a:lnTo>
                    <a:pt x="246" y="798"/>
                  </a:lnTo>
                  <a:lnTo>
                    <a:pt x="258" y="798"/>
                  </a:lnTo>
                  <a:lnTo>
                    <a:pt x="276" y="804"/>
                  </a:lnTo>
                  <a:lnTo>
                    <a:pt x="288" y="810"/>
                  </a:lnTo>
                  <a:lnTo>
                    <a:pt x="294" y="810"/>
                  </a:lnTo>
                  <a:lnTo>
                    <a:pt x="300" y="816"/>
                  </a:lnTo>
                  <a:lnTo>
                    <a:pt x="312" y="822"/>
                  </a:lnTo>
                  <a:lnTo>
                    <a:pt x="318" y="828"/>
                  </a:lnTo>
                  <a:lnTo>
                    <a:pt x="324" y="840"/>
                  </a:lnTo>
                  <a:lnTo>
                    <a:pt x="336" y="846"/>
                  </a:lnTo>
                  <a:lnTo>
                    <a:pt x="342" y="852"/>
                  </a:lnTo>
                  <a:lnTo>
                    <a:pt x="360" y="846"/>
                  </a:lnTo>
                  <a:lnTo>
                    <a:pt x="396" y="828"/>
                  </a:lnTo>
                  <a:lnTo>
                    <a:pt x="456" y="792"/>
                  </a:lnTo>
                  <a:lnTo>
                    <a:pt x="468" y="786"/>
                  </a:lnTo>
                  <a:lnTo>
                    <a:pt x="1026" y="1110"/>
                  </a:lnTo>
                  <a:lnTo>
                    <a:pt x="1026" y="1062"/>
                  </a:lnTo>
                  <a:lnTo>
                    <a:pt x="1098" y="1062"/>
                  </a:lnTo>
                  <a:lnTo>
                    <a:pt x="1098" y="828"/>
                  </a:lnTo>
                  <a:lnTo>
                    <a:pt x="1092" y="750"/>
                  </a:lnTo>
                  <a:lnTo>
                    <a:pt x="1092" y="660"/>
                  </a:lnTo>
                  <a:lnTo>
                    <a:pt x="1086" y="564"/>
                  </a:lnTo>
                  <a:lnTo>
                    <a:pt x="1086" y="468"/>
                  </a:lnTo>
                  <a:lnTo>
                    <a:pt x="1080" y="390"/>
                  </a:lnTo>
                  <a:lnTo>
                    <a:pt x="1080" y="306"/>
                  </a:lnTo>
                  <a:lnTo>
                    <a:pt x="1068" y="270"/>
                  </a:lnTo>
                  <a:lnTo>
                    <a:pt x="1056" y="258"/>
                  </a:lnTo>
                  <a:lnTo>
                    <a:pt x="1050" y="246"/>
                  </a:lnTo>
                  <a:lnTo>
                    <a:pt x="1050" y="240"/>
                  </a:lnTo>
                  <a:lnTo>
                    <a:pt x="1056" y="228"/>
                  </a:lnTo>
                  <a:lnTo>
                    <a:pt x="1062" y="222"/>
                  </a:lnTo>
                  <a:lnTo>
                    <a:pt x="1068" y="210"/>
                  </a:lnTo>
                  <a:lnTo>
                    <a:pt x="1074" y="204"/>
                  </a:lnTo>
                  <a:lnTo>
                    <a:pt x="1074" y="198"/>
                  </a:lnTo>
                  <a:lnTo>
                    <a:pt x="1068" y="186"/>
                  </a:lnTo>
                  <a:lnTo>
                    <a:pt x="1056" y="180"/>
                  </a:lnTo>
                  <a:lnTo>
                    <a:pt x="1056" y="150"/>
                  </a:lnTo>
                  <a:lnTo>
                    <a:pt x="1080" y="126"/>
                  </a:lnTo>
                  <a:lnTo>
                    <a:pt x="1074" y="114"/>
                  </a:lnTo>
                  <a:lnTo>
                    <a:pt x="1074" y="96"/>
                  </a:lnTo>
                  <a:lnTo>
                    <a:pt x="1056" y="102"/>
                  </a:lnTo>
                  <a:lnTo>
                    <a:pt x="1044" y="90"/>
                  </a:lnTo>
                  <a:lnTo>
                    <a:pt x="1032" y="102"/>
                  </a:lnTo>
                  <a:lnTo>
                    <a:pt x="1026" y="102"/>
                  </a:lnTo>
                  <a:lnTo>
                    <a:pt x="1020" y="96"/>
                  </a:lnTo>
                  <a:lnTo>
                    <a:pt x="1008" y="90"/>
                  </a:lnTo>
                  <a:lnTo>
                    <a:pt x="1002" y="84"/>
                  </a:lnTo>
                  <a:lnTo>
                    <a:pt x="990" y="78"/>
                  </a:lnTo>
                  <a:lnTo>
                    <a:pt x="978" y="78"/>
                  </a:lnTo>
                  <a:lnTo>
                    <a:pt x="966" y="84"/>
                  </a:lnTo>
                  <a:lnTo>
                    <a:pt x="954" y="84"/>
                  </a:lnTo>
                  <a:lnTo>
                    <a:pt x="942" y="78"/>
                  </a:lnTo>
                  <a:lnTo>
                    <a:pt x="936" y="72"/>
                  </a:lnTo>
                  <a:lnTo>
                    <a:pt x="936" y="48"/>
                  </a:lnTo>
                  <a:lnTo>
                    <a:pt x="930" y="42"/>
                  </a:lnTo>
                  <a:lnTo>
                    <a:pt x="918" y="36"/>
                  </a:lnTo>
                  <a:lnTo>
                    <a:pt x="882" y="36"/>
                  </a:lnTo>
                  <a:lnTo>
                    <a:pt x="876" y="30"/>
                  </a:lnTo>
                  <a:lnTo>
                    <a:pt x="864" y="30"/>
                  </a:lnTo>
                  <a:lnTo>
                    <a:pt x="852" y="24"/>
                  </a:lnTo>
                  <a:lnTo>
                    <a:pt x="840" y="24"/>
                  </a:lnTo>
                  <a:lnTo>
                    <a:pt x="834" y="30"/>
                  </a:lnTo>
                  <a:lnTo>
                    <a:pt x="834" y="36"/>
                  </a:lnTo>
                  <a:lnTo>
                    <a:pt x="798" y="36"/>
                  </a:lnTo>
                  <a:lnTo>
                    <a:pt x="780" y="42"/>
                  </a:lnTo>
                  <a:lnTo>
                    <a:pt x="768" y="48"/>
                  </a:lnTo>
                  <a:lnTo>
                    <a:pt x="732" y="84"/>
                  </a:lnTo>
                  <a:lnTo>
                    <a:pt x="720" y="108"/>
                  </a:lnTo>
                  <a:lnTo>
                    <a:pt x="720" y="120"/>
                  </a:lnTo>
                  <a:lnTo>
                    <a:pt x="726" y="138"/>
                  </a:lnTo>
                  <a:lnTo>
                    <a:pt x="738" y="150"/>
                  </a:lnTo>
                  <a:lnTo>
                    <a:pt x="744" y="162"/>
                  </a:lnTo>
                  <a:lnTo>
                    <a:pt x="744" y="180"/>
                  </a:lnTo>
                  <a:lnTo>
                    <a:pt x="738" y="192"/>
                  </a:lnTo>
                  <a:lnTo>
                    <a:pt x="714" y="216"/>
                  </a:lnTo>
                  <a:lnTo>
                    <a:pt x="708" y="228"/>
                  </a:lnTo>
                  <a:lnTo>
                    <a:pt x="696" y="234"/>
                  </a:lnTo>
                  <a:lnTo>
                    <a:pt x="666" y="234"/>
                  </a:lnTo>
                  <a:lnTo>
                    <a:pt x="648" y="228"/>
                  </a:lnTo>
                  <a:lnTo>
                    <a:pt x="630" y="216"/>
                  </a:lnTo>
                  <a:lnTo>
                    <a:pt x="612" y="198"/>
                  </a:lnTo>
                  <a:lnTo>
                    <a:pt x="582" y="180"/>
                  </a:lnTo>
                  <a:lnTo>
                    <a:pt x="552" y="168"/>
                  </a:lnTo>
                  <a:lnTo>
                    <a:pt x="528" y="162"/>
                  </a:lnTo>
                  <a:lnTo>
                    <a:pt x="462" y="162"/>
                  </a:lnTo>
                  <a:lnTo>
                    <a:pt x="438" y="150"/>
                  </a:lnTo>
                  <a:lnTo>
                    <a:pt x="426" y="138"/>
                  </a:lnTo>
                  <a:lnTo>
                    <a:pt x="420" y="126"/>
                  </a:lnTo>
                  <a:lnTo>
                    <a:pt x="414" y="108"/>
                  </a:lnTo>
                  <a:lnTo>
                    <a:pt x="414" y="96"/>
                  </a:lnTo>
                  <a:lnTo>
                    <a:pt x="402" y="72"/>
                  </a:lnTo>
                  <a:lnTo>
                    <a:pt x="378" y="60"/>
                  </a:lnTo>
                  <a:lnTo>
                    <a:pt x="366" y="60"/>
                  </a:lnTo>
                  <a:lnTo>
                    <a:pt x="354" y="54"/>
                  </a:lnTo>
                  <a:lnTo>
                    <a:pt x="348" y="48"/>
                  </a:lnTo>
                  <a:lnTo>
                    <a:pt x="324" y="36"/>
                  </a:lnTo>
                  <a:lnTo>
                    <a:pt x="318" y="36"/>
                  </a:lnTo>
                  <a:lnTo>
                    <a:pt x="306" y="30"/>
                  </a:lnTo>
                  <a:lnTo>
                    <a:pt x="264" y="30"/>
                  </a:lnTo>
                  <a:lnTo>
                    <a:pt x="252" y="36"/>
                  </a:lnTo>
                  <a:lnTo>
                    <a:pt x="216" y="36"/>
                  </a:lnTo>
                  <a:lnTo>
                    <a:pt x="192" y="24"/>
                  </a:lnTo>
                  <a:lnTo>
                    <a:pt x="180" y="12"/>
                  </a:lnTo>
                  <a:lnTo>
                    <a:pt x="168" y="6"/>
                  </a:lnTo>
                  <a:lnTo>
                    <a:pt x="150" y="6"/>
                  </a:lnTo>
                  <a:lnTo>
                    <a:pt x="144" y="0"/>
                  </a:lnTo>
                  <a:lnTo>
                    <a:pt x="138" y="42"/>
                  </a:lnTo>
                  <a:lnTo>
                    <a:pt x="144" y="42"/>
                  </a:lnTo>
                  <a:lnTo>
                    <a:pt x="156" y="54"/>
                  </a:lnTo>
                  <a:lnTo>
                    <a:pt x="156" y="60"/>
                  </a:lnTo>
                  <a:close/>
                </a:path>
              </a:pathLst>
            </a:custGeom>
            <a:solidFill>
              <a:srgbClr val="692864"/>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24" name="Liberia" descr="© INSCALE GmbH, 05.05.2010&#10;http://www.presentationload.com/"/>
            <p:cNvSpPr>
              <a:spLocks/>
            </p:cNvSpPr>
            <p:nvPr/>
          </p:nvSpPr>
          <p:spPr bwMode="gray">
            <a:xfrm>
              <a:off x="3878267" y="3798887"/>
              <a:ext cx="123825" cy="139700"/>
            </a:xfrm>
            <a:custGeom>
              <a:avLst/>
              <a:gdLst>
                <a:gd name="T0" fmla="*/ 2147483647 w 312"/>
                <a:gd name="T1" fmla="*/ 2147483647 h 342"/>
                <a:gd name="T2" fmla="*/ 2147483647 w 312"/>
                <a:gd name="T3" fmla="*/ 2147483647 h 342"/>
                <a:gd name="T4" fmla="*/ 2147483647 w 312"/>
                <a:gd name="T5" fmla="*/ 2147483647 h 342"/>
                <a:gd name="T6" fmla="*/ 2147483647 w 312"/>
                <a:gd name="T7" fmla="*/ 2147483647 h 342"/>
                <a:gd name="T8" fmla="*/ 2147483647 w 312"/>
                <a:gd name="T9" fmla="*/ 2147483647 h 342"/>
                <a:gd name="T10" fmla="*/ 2147483647 w 312"/>
                <a:gd name="T11" fmla="*/ 2147483647 h 342"/>
                <a:gd name="T12" fmla="*/ 2147483647 w 312"/>
                <a:gd name="T13" fmla="*/ 2147483647 h 342"/>
                <a:gd name="T14" fmla="*/ 2147483647 w 312"/>
                <a:gd name="T15" fmla="*/ 2147483647 h 342"/>
                <a:gd name="T16" fmla="*/ 2147483647 w 312"/>
                <a:gd name="T17" fmla="*/ 2147483647 h 342"/>
                <a:gd name="T18" fmla="*/ 2147483647 w 312"/>
                <a:gd name="T19" fmla="*/ 2147483647 h 342"/>
                <a:gd name="T20" fmla="*/ 2147483647 w 312"/>
                <a:gd name="T21" fmla="*/ 2147483647 h 342"/>
                <a:gd name="T22" fmla="*/ 2147483647 w 312"/>
                <a:gd name="T23" fmla="*/ 2147483647 h 342"/>
                <a:gd name="T24" fmla="*/ 2147483647 w 312"/>
                <a:gd name="T25" fmla="*/ 2147483647 h 342"/>
                <a:gd name="T26" fmla="*/ 2147483647 w 312"/>
                <a:gd name="T27" fmla="*/ 2147483647 h 342"/>
                <a:gd name="T28" fmla="*/ 2147483647 w 312"/>
                <a:gd name="T29" fmla="*/ 2147483647 h 342"/>
                <a:gd name="T30" fmla="*/ 2147483647 w 312"/>
                <a:gd name="T31" fmla="*/ 2147483647 h 342"/>
                <a:gd name="T32" fmla="*/ 2147483647 w 312"/>
                <a:gd name="T33" fmla="*/ 2147483647 h 342"/>
                <a:gd name="T34" fmla="*/ 2147483647 w 312"/>
                <a:gd name="T35" fmla="*/ 2147483647 h 342"/>
                <a:gd name="T36" fmla="*/ 2147483647 w 312"/>
                <a:gd name="T37" fmla="*/ 2147483647 h 342"/>
                <a:gd name="T38" fmla="*/ 2147483647 w 312"/>
                <a:gd name="T39" fmla="*/ 2147483647 h 342"/>
                <a:gd name="T40" fmla="*/ 2147483647 w 312"/>
                <a:gd name="T41" fmla="*/ 2147483647 h 342"/>
                <a:gd name="T42" fmla="*/ 2147483647 w 312"/>
                <a:gd name="T43" fmla="*/ 2147483647 h 342"/>
                <a:gd name="T44" fmla="*/ 2147483647 w 312"/>
                <a:gd name="T45" fmla="*/ 2147483647 h 342"/>
                <a:gd name="T46" fmla="*/ 2147483647 w 312"/>
                <a:gd name="T47" fmla="*/ 2147483647 h 342"/>
                <a:gd name="T48" fmla="*/ 2147483647 w 312"/>
                <a:gd name="T49" fmla="*/ 2147483647 h 342"/>
                <a:gd name="T50" fmla="*/ 2147483647 w 312"/>
                <a:gd name="T51" fmla="*/ 0 h 342"/>
                <a:gd name="T52" fmla="*/ 2147483647 w 312"/>
                <a:gd name="T53" fmla="*/ 0 h 342"/>
                <a:gd name="T54" fmla="*/ 2147483647 w 312"/>
                <a:gd name="T55" fmla="*/ 2147483647 h 342"/>
                <a:gd name="T56" fmla="*/ 2147483647 w 312"/>
                <a:gd name="T57" fmla="*/ 2147483647 h 342"/>
                <a:gd name="T58" fmla="*/ 2147483647 w 312"/>
                <a:gd name="T59" fmla="*/ 2147483647 h 342"/>
                <a:gd name="T60" fmla="*/ 2147483647 w 312"/>
                <a:gd name="T61" fmla="*/ 2147483647 h 342"/>
                <a:gd name="T62" fmla="*/ 2147483647 w 312"/>
                <a:gd name="T63" fmla="*/ 2147483647 h 342"/>
                <a:gd name="T64" fmla="*/ 2147483647 w 312"/>
                <a:gd name="T65" fmla="*/ 2147483647 h 342"/>
                <a:gd name="T66" fmla="*/ 2147483647 w 312"/>
                <a:gd name="T67" fmla="*/ 2147483647 h 342"/>
                <a:gd name="T68" fmla="*/ 2147483647 w 312"/>
                <a:gd name="T69" fmla="*/ 2147483647 h 342"/>
                <a:gd name="T70" fmla="*/ 2147483647 w 312"/>
                <a:gd name="T71" fmla="*/ 2147483647 h 342"/>
                <a:gd name="T72" fmla="*/ 2147483647 w 312"/>
                <a:gd name="T73" fmla="*/ 2147483647 h 342"/>
                <a:gd name="T74" fmla="*/ 2147483647 w 312"/>
                <a:gd name="T75" fmla="*/ 2147483647 h 342"/>
                <a:gd name="T76" fmla="*/ 2147483647 w 312"/>
                <a:gd name="T77" fmla="*/ 2147483647 h 342"/>
                <a:gd name="T78" fmla="*/ 0 w 312"/>
                <a:gd name="T79" fmla="*/ 2147483647 h 342"/>
                <a:gd name="T80" fmla="*/ 2147483647 w 312"/>
                <a:gd name="T81" fmla="*/ 2147483647 h 342"/>
                <a:gd name="T82" fmla="*/ 2147483647 w 312"/>
                <a:gd name="T83" fmla="*/ 2147483647 h 342"/>
                <a:gd name="T84" fmla="*/ 2147483647 w 312"/>
                <a:gd name="T85" fmla="*/ 2147483647 h 342"/>
                <a:gd name="T86" fmla="*/ 2147483647 w 312"/>
                <a:gd name="T87" fmla="*/ 2147483647 h 342"/>
                <a:gd name="T88" fmla="*/ 2147483647 w 312"/>
                <a:gd name="T89" fmla="*/ 2147483647 h 342"/>
                <a:gd name="T90" fmla="*/ 2147483647 w 312"/>
                <a:gd name="T91" fmla="*/ 2147483647 h 342"/>
                <a:gd name="T92" fmla="*/ 2147483647 w 312"/>
                <a:gd name="T93" fmla="*/ 2147483647 h 342"/>
                <a:gd name="T94" fmla="*/ 2147483647 w 312"/>
                <a:gd name="T95" fmla="*/ 2147483647 h 342"/>
                <a:gd name="T96" fmla="*/ 2147483647 w 312"/>
                <a:gd name="T97" fmla="*/ 2147483647 h 342"/>
                <a:gd name="T98" fmla="*/ 2147483647 w 312"/>
                <a:gd name="T99" fmla="*/ 2147483647 h 342"/>
                <a:gd name="T100" fmla="*/ 2147483647 w 312"/>
                <a:gd name="T101" fmla="*/ 2147483647 h 342"/>
                <a:gd name="T102" fmla="*/ 2147483647 w 312"/>
                <a:gd name="T103" fmla="*/ 2147483647 h 342"/>
                <a:gd name="T104" fmla="*/ 2147483647 w 312"/>
                <a:gd name="T105" fmla="*/ 2147483647 h 342"/>
                <a:gd name="T106" fmla="*/ 2147483647 w 312"/>
                <a:gd name="T107" fmla="*/ 2147483647 h 342"/>
                <a:gd name="T108" fmla="*/ 2147483647 w 312"/>
                <a:gd name="T109" fmla="*/ 2147483647 h 342"/>
                <a:gd name="T110" fmla="*/ 2147483647 w 312"/>
                <a:gd name="T111" fmla="*/ 2147483647 h 342"/>
                <a:gd name="T112" fmla="*/ 2147483647 w 312"/>
                <a:gd name="T113" fmla="*/ 2147483647 h 342"/>
                <a:gd name="T114" fmla="*/ 2147483647 w 312"/>
                <a:gd name="T115" fmla="*/ 2147483647 h 342"/>
                <a:gd name="T116" fmla="*/ 2147483647 w 312"/>
                <a:gd name="T117" fmla="*/ 2147483647 h 342"/>
                <a:gd name="T118" fmla="*/ 2147483647 w 312"/>
                <a:gd name="T119" fmla="*/ 2147483647 h 342"/>
                <a:gd name="T120" fmla="*/ 2147483647 w 312"/>
                <a:gd name="T121" fmla="*/ 2147483647 h 34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12"/>
                <a:gd name="T184" fmla="*/ 0 h 342"/>
                <a:gd name="T185" fmla="*/ 312 w 312"/>
                <a:gd name="T186" fmla="*/ 342 h 34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12" h="342">
                  <a:moveTo>
                    <a:pt x="312" y="252"/>
                  </a:moveTo>
                  <a:lnTo>
                    <a:pt x="312" y="240"/>
                  </a:lnTo>
                  <a:lnTo>
                    <a:pt x="282" y="210"/>
                  </a:lnTo>
                  <a:lnTo>
                    <a:pt x="282" y="180"/>
                  </a:lnTo>
                  <a:lnTo>
                    <a:pt x="246" y="186"/>
                  </a:lnTo>
                  <a:lnTo>
                    <a:pt x="246" y="174"/>
                  </a:lnTo>
                  <a:lnTo>
                    <a:pt x="228" y="174"/>
                  </a:lnTo>
                  <a:lnTo>
                    <a:pt x="222" y="168"/>
                  </a:lnTo>
                  <a:lnTo>
                    <a:pt x="228" y="156"/>
                  </a:lnTo>
                  <a:lnTo>
                    <a:pt x="240" y="150"/>
                  </a:lnTo>
                  <a:lnTo>
                    <a:pt x="246" y="132"/>
                  </a:lnTo>
                  <a:lnTo>
                    <a:pt x="246" y="108"/>
                  </a:lnTo>
                  <a:lnTo>
                    <a:pt x="228" y="72"/>
                  </a:lnTo>
                  <a:lnTo>
                    <a:pt x="222" y="72"/>
                  </a:lnTo>
                  <a:lnTo>
                    <a:pt x="216" y="78"/>
                  </a:lnTo>
                  <a:lnTo>
                    <a:pt x="210" y="90"/>
                  </a:lnTo>
                  <a:lnTo>
                    <a:pt x="210" y="102"/>
                  </a:lnTo>
                  <a:lnTo>
                    <a:pt x="198" y="114"/>
                  </a:lnTo>
                  <a:lnTo>
                    <a:pt x="192" y="114"/>
                  </a:lnTo>
                  <a:lnTo>
                    <a:pt x="180" y="102"/>
                  </a:lnTo>
                  <a:lnTo>
                    <a:pt x="180" y="96"/>
                  </a:lnTo>
                  <a:lnTo>
                    <a:pt x="168" y="96"/>
                  </a:lnTo>
                  <a:lnTo>
                    <a:pt x="168" y="36"/>
                  </a:lnTo>
                  <a:lnTo>
                    <a:pt x="162" y="18"/>
                  </a:lnTo>
                  <a:lnTo>
                    <a:pt x="150" y="6"/>
                  </a:lnTo>
                  <a:lnTo>
                    <a:pt x="138" y="0"/>
                  </a:lnTo>
                  <a:lnTo>
                    <a:pt x="132" y="0"/>
                  </a:lnTo>
                  <a:lnTo>
                    <a:pt x="126" y="6"/>
                  </a:lnTo>
                  <a:lnTo>
                    <a:pt x="126" y="18"/>
                  </a:lnTo>
                  <a:lnTo>
                    <a:pt x="102" y="12"/>
                  </a:lnTo>
                  <a:lnTo>
                    <a:pt x="108" y="36"/>
                  </a:lnTo>
                  <a:lnTo>
                    <a:pt x="84" y="42"/>
                  </a:lnTo>
                  <a:lnTo>
                    <a:pt x="84" y="60"/>
                  </a:lnTo>
                  <a:lnTo>
                    <a:pt x="78" y="72"/>
                  </a:lnTo>
                  <a:lnTo>
                    <a:pt x="66" y="78"/>
                  </a:lnTo>
                  <a:lnTo>
                    <a:pt x="54" y="90"/>
                  </a:lnTo>
                  <a:lnTo>
                    <a:pt x="42" y="96"/>
                  </a:lnTo>
                  <a:lnTo>
                    <a:pt x="24" y="114"/>
                  </a:lnTo>
                  <a:lnTo>
                    <a:pt x="24" y="150"/>
                  </a:lnTo>
                  <a:lnTo>
                    <a:pt x="0" y="126"/>
                  </a:lnTo>
                  <a:lnTo>
                    <a:pt x="36" y="162"/>
                  </a:lnTo>
                  <a:lnTo>
                    <a:pt x="60" y="162"/>
                  </a:lnTo>
                  <a:lnTo>
                    <a:pt x="72" y="192"/>
                  </a:lnTo>
                  <a:lnTo>
                    <a:pt x="102" y="192"/>
                  </a:lnTo>
                  <a:lnTo>
                    <a:pt x="108" y="198"/>
                  </a:lnTo>
                  <a:lnTo>
                    <a:pt x="120" y="222"/>
                  </a:lnTo>
                  <a:lnTo>
                    <a:pt x="132" y="240"/>
                  </a:lnTo>
                  <a:lnTo>
                    <a:pt x="150" y="252"/>
                  </a:lnTo>
                  <a:lnTo>
                    <a:pt x="162" y="270"/>
                  </a:lnTo>
                  <a:lnTo>
                    <a:pt x="180" y="282"/>
                  </a:lnTo>
                  <a:lnTo>
                    <a:pt x="198" y="288"/>
                  </a:lnTo>
                  <a:lnTo>
                    <a:pt x="210" y="294"/>
                  </a:lnTo>
                  <a:lnTo>
                    <a:pt x="228" y="300"/>
                  </a:lnTo>
                  <a:lnTo>
                    <a:pt x="258" y="330"/>
                  </a:lnTo>
                  <a:lnTo>
                    <a:pt x="294" y="342"/>
                  </a:lnTo>
                  <a:lnTo>
                    <a:pt x="300" y="342"/>
                  </a:lnTo>
                  <a:lnTo>
                    <a:pt x="300" y="294"/>
                  </a:lnTo>
                  <a:lnTo>
                    <a:pt x="306" y="288"/>
                  </a:lnTo>
                  <a:lnTo>
                    <a:pt x="306" y="276"/>
                  </a:lnTo>
                  <a:lnTo>
                    <a:pt x="312" y="264"/>
                  </a:lnTo>
                  <a:lnTo>
                    <a:pt x="312" y="252"/>
                  </a:lnTo>
                  <a:close/>
                </a:path>
              </a:pathLst>
            </a:custGeom>
            <a:solidFill>
              <a:srgbClr val="692864"/>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25" name="Lesotho" descr="© INSCALE GmbH, 05.05.2010&#10;http://www.presentationload.com/"/>
            <p:cNvSpPr>
              <a:spLocks/>
            </p:cNvSpPr>
            <p:nvPr/>
          </p:nvSpPr>
          <p:spPr bwMode="gray">
            <a:xfrm>
              <a:off x="4968879" y="5006975"/>
              <a:ext cx="66676" cy="65088"/>
            </a:xfrm>
            <a:custGeom>
              <a:avLst/>
              <a:gdLst>
                <a:gd name="T0" fmla="*/ 0 w 168"/>
                <a:gd name="T1" fmla="*/ 2147483647 h 162"/>
                <a:gd name="T2" fmla="*/ 2147483647 w 168"/>
                <a:gd name="T3" fmla="*/ 2147483647 h 162"/>
                <a:gd name="T4" fmla="*/ 2147483647 w 168"/>
                <a:gd name="T5" fmla="*/ 2147483647 h 162"/>
                <a:gd name="T6" fmla="*/ 2147483647 w 168"/>
                <a:gd name="T7" fmla="*/ 2147483647 h 162"/>
                <a:gd name="T8" fmla="*/ 2147483647 w 168"/>
                <a:gd name="T9" fmla="*/ 2147483647 h 162"/>
                <a:gd name="T10" fmla="*/ 2147483647 w 168"/>
                <a:gd name="T11" fmla="*/ 2147483647 h 162"/>
                <a:gd name="T12" fmla="*/ 2147483647 w 168"/>
                <a:gd name="T13" fmla="*/ 2147483647 h 162"/>
                <a:gd name="T14" fmla="*/ 2147483647 w 168"/>
                <a:gd name="T15" fmla="*/ 2147483647 h 162"/>
                <a:gd name="T16" fmla="*/ 2147483647 w 168"/>
                <a:gd name="T17" fmla="*/ 2147483647 h 162"/>
                <a:gd name="T18" fmla="*/ 2147483647 w 168"/>
                <a:gd name="T19" fmla="*/ 2147483647 h 162"/>
                <a:gd name="T20" fmla="*/ 2147483647 w 168"/>
                <a:gd name="T21" fmla="*/ 2147483647 h 162"/>
                <a:gd name="T22" fmla="*/ 2147483647 w 168"/>
                <a:gd name="T23" fmla="*/ 2147483647 h 162"/>
                <a:gd name="T24" fmla="*/ 2147483647 w 168"/>
                <a:gd name="T25" fmla="*/ 2147483647 h 162"/>
                <a:gd name="T26" fmla="*/ 2147483647 w 168"/>
                <a:gd name="T27" fmla="*/ 2147483647 h 162"/>
                <a:gd name="T28" fmla="*/ 2147483647 w 168"/>
                <a:gd name="T29" fmla="*/ 2147483647 h 162"/>
                <a:gd name="T30" fmla="*/ 2147483647 w 168"/>
                <a:gd name="T31" fmla="*/ 2147483647 h 162"/>
                <a:gd name="T32" fmla="*/ 2147483647 w 168"/>
                <a:gd name="T33" fmla="*/ 2147483647 h 162"/>
                <a:gd name="T34" fmla="*/ 2147483647 w 168"/>
                <a:gd name="T35" fmla="*/ 2147483647 h 162"/>
                <a:gd name="T36" fmla="*/ 2147483647 w 168"/>
                <a:gd name="T37" fmla="*/ 2147483647 h 162"/>
                <a:gd name="T38" fmla="*/ 2147483647 w 168"/>
                <a:gd name="T39" fmla="*/ 2147483647 h 162"/>
                <a:gd name="T40" fmla="*/ 2147483647 w 168"/>
                <a:gd name="T41" fmla="*/ 2147483647 h 162"/>
                <a:gd name="T42" fmla="*/ 2147483647 w 168"/>
                <a:gd name="T43" fmla="*/ 0 h 162"/>
                <a:gd name="T44" fmla="*/ 2147483647 w 168"/>
                <a:gd name="T45" fmla="*/ 0 h 162"/>
                <a:gd name="T46" fmla="*/ 2147483647 w 168"/>
                <a:gd name="T47" fmla="*/ 2147483647 h 162"/>
                <a:gd name="T48" fmla="*/ 2147483647 w 168"/>
                <a:gd name="T49" fmla="*/ 2147483647 h 162"/>
                <a:gd name="T50" fmla="*/ 2147483647 w 168"/>
                <a:gd name="T51" fmla="*/ 2147483647 h 162"/>
                <a:gd name="T52" fmla="*/ 2147483647 w 168"/>
                <a:gd name="T53" fmla="*/ 2147483647 h 162"/>
                <a:gd name="T54" fmla="*/ 2147483647 w 168"/>
                <a:gd name="T55" fmla="*/ 2147483647 h 162"/>
                <a:gd name="T56" fmla="*/ 2147483647 w 168"/>
                <a:gd name="T57" fmla="*/ 2147483647 h 162"/>
                <a:gd name="T58" fmla="*/ 2147483647 w 168"/>
                <a:gd name="T59" fmla="*/ 2147483647 h 162"/>
                <a:gd name="T60" fmla="*/ 0 w 168"/>
                <a:gd name="T61" fmla="*/ 2147483647 h 1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68"/>
                <a:gd name="T94" fmla="*/ 0 h 162"/>
                <a:gd name="T95" fmla="*/ 168 w 168"/>
                <a:gd name="T96" fmla="*/ 162 h 1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68" h="162">
                  <a:moveTo>
                    <a:pt x="0" y="78"/>
                  </a:moveTo>
                  <a:lnTo>
                    <a:pt x="24" y="114"/>
                  </a:lnTo>
                  <a:lnTo>
                    <a:pt x="24" y="132"/>
                  </a:lnTo>
                  <a:lnTo>
                    <a:pt x="54" y="162"/>
                  </a:lnTo>
                  <a:lnTo>
                    <a:pt x="72" y="162"/>
                  </a:lnTo>
                  <a:lnTo>
                    <a:pt x="72" y="150"/>
                  </a:lnTo>
                  <a:lnTo>
                    <a:pt x="78" y="144"/>
                  </a:lnTo>
                  <a:lnTo>
                    <a:pt x="84" y="132"/>
                  </a:lnTo>
                  <a:lnTo>
                    <a:pt x="90" y="126"/>
                  </a:lnTo>
                  <a:lnTo>
                    <a:pt x="102" y="120"/>
                  </a:lnTo>
                  <a:lnTo>
                    <a:pt x="120" y="120"/>
                  </a:lnTo>
                  <a:lnTo>
                    <a:pt x="132" y="114"/>
                  </a:lnTo>
                  <a:lnTo>
                    <a:pt x="138" y="108"/>
                  </a:lnTo>
                  <a:lnTo>
                    <a:pt x="150" y="102"/>
                  </a:lnTo>
                  <a:lnTo>
                    <a:pt x="144" y="84"/>
                  </a:lnTo>
                  <a:lnTo>
                    <a:pt x="168" y="66"/>
                  </a:lnTo>
                  <a:lnTo>
                    <a:pt x="162" y="42"/>
                  </a:lnTo>
                  <a:lnTo>
                    <a:pt x="150" y="36"/>
                  </a:lnTo>
                  <a:lnTo>
                    <a:pt x="144" y="24"/>
                  </a:lnTo>
                  <a:lnTo>
                    <a:pt x="138" y="18"/>
                  </a:lnTo>
                  <a:lnTo>
                    <a:pt x="132" y="6"/>
                  </a:lnTo>
                  <a:lnTo>
                    <a:pt x="126" y="0"/>
                  </a:lnTo>
                  <a:lnTo>
                    <a:pt x="90" y="0"/>
                  </a:lnTo>
                  <a:lnTo>
                    <a:pt x="78" y="6"/>
                  </a:lnTo>
                  <a:lnTo>
                    <a:pt x="78" y="18"/>
                  </a:lnTo>
                  <a:lnTo>
                    <a:pt x="54" y="18"/>
                  </a:lnTo>
                  <a:lnTo>
                    <a:pt x="48" y="24"/>
                  </a:lnTo>
                  <a:lnTo>
                    <a:pt x="48" y="42"/>
                  </a:lnTo>
                  <a:lnTo>
                    <a:pt x="30" y="60"/>
                  </a:lnTo>
                  <a:lnTo>
                    <a:pt x="24" y="78"/>
                  </a:lnTo>
                  <a:lnTo>
                    <a:pt x="0" y="78"/>
                  </a:lnTo>
                  <a:close/>
                </a:path>
              </a:pathLst>
            </a:custGeom>
            <a:solidFill>
              <a:srgbClr val="692864"/>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26" name="Lebanon" descr="© INSCALE GmbH, 05.05.2010&#10;http://www.presentationload.com/"/>
            <p:cNvSpPr>
              <a:spLocks/>
            </p:cNvSpPr>
            <p:nvPr/>
          </p:nvSpPr>
          <p:spPr bwMode="gray">
            <a:xfrm>
              <a:off x="5176843" y="2954338"/>
              <a:ext cx="42862" cy="63499"/>
            </a:xfrm>
            <a:custGeom>
              <a:avLst/>
              <a:gdLst>
                <a:gd name="T0" fmla="*/ 2147483647 w 108"/>
                <a:gd name="T1" fmla="*/ 2147483647 h 156"/>
                <a:gd name="T2" fmla="*/ 2147483647 w 108"/>
                <a:gd name="T3" fmla="*/ 2147483647 h 156"/>
                <a:gd name="T4" fmla="*/ 2147483647 w 108"/>
                <a:gd name="T5" fmla="*/ 2147483647 h 156"/>
                <a:gd name="T6" fmla="*/ 2147483647 w 108"/>
                <a:gd name="T7" fmla="*/ 2147483647 h 156"/>
                <a:gd name="T8" fmla="*/ 2147483647 w 108"/>
                <a:gd name="T9" fmla="*/ 2147483647 h 156"/>
                <a:gd name="T10" fmla="*/ 2147483647 w 108"/>
                <a:gd name="T11" fmla="*/ 2147483647 h 156"/>
                <a:gd name="T12" fmla="*/ 2147483647 w 108"/>
                <a:gd name="T13" fmla="*/ 2147483647 h 156"/>
                <a:gd name="T14" fmla="*/ 2147483647 w 108"/>
                <a:gd name="T15" fmla="*/ 2147483647 h 156"/>
                <a:gd name="T16" fmla="*/ 2147483647 w 108"/>
                <a:gd name="T17" fmla="*/ 2147483647 h 156"/>
                <a:gd name="T18" fmla="*/ 2147483647 w 108"/>
                <a:gd name="T19" fmla="*/ 2147483647 h 156"/>
                <a:gd name="T20" fmla="*/ 2147483647 w 108"/>
                <a:gd name="T21" fmla="*/ 0 h 156"/>
                <a:gd name="T22" fmla="*/ 2147483647 w 108"/>
                <a:gd name="T23" fmla="*/ 0 h 156"/>
                <a:gd name="T24" fmla="*/ 2147483647 w 108"/>
                <a:gd name="T25" fmla="*/ 0 h 156"/>
                <a:gd name="T26" fmla="*/ 2147483647 w 108"/>
                <a:gd name="T27" fmla="*/ 2147483647 h 156"/>
                <a:gd name="T28" fmla="*/ 2147483647 w 108"/>
                <a:gd name="T29" fmla="*/ 2147483647 h 156"/>
                <a:gd name="T30" fmla="*/ 2147483647 w 108"/>
                <a:gd name="T31" fmla="*/ 2147483647 h 156"/>
                <a:gd name="T32" fmla="*/ 2147483647 w 108"/>
                <a:gd name="T33" fmla="*/ 2147483647 h 156"/>
                <a:gd name="T34" fmla="*/ 2147483647 w 108"/>
                <a:gd name="T35" fmla="*/ 2147483647 h 156"/>
                <a:gd name="T36" fmla="*/ 2147483647 w 108"/>
                <a:gd name="T37" fmla="*/ 2147483647 h 156"/>
                <a:gd name="T38" fmla="*/ 2147483647 w 108"/>
                <a:gd name="T39" fmla="*/ 2147483647 h 156"/>
                <a:gd name="T40" fmla="*/ 2147483647 w 108"/>
                <a:gd name="T41" fmla="*/ 2147483647 h 156"/>
                <a:gd name="T42" fmla="*/ 0 w 108"/>
                <a:gd name="T43" fmla="*/ 2147483647 h 156"/>
                <a:gd name="T44" fmla="*/ 0 w 108"/>
                <a:gd name="T45" fmla="*/ 2147483647 h 156"/>
                <a:gd name="T46" fmla="*/ 2147483647 w 108"/>
                <a:gd name="T47" fmla="*/ 2147483647 h 156"/>
                <a:gd name="T48" fmla="*/ 2147483647 w 108"/>
                <a:gd name="T49" fmla="*/ 2147483647 h 156"/>
                <a:gd name="T50" fmla="*/ 2147483647 w 108"/>
                <a:gd name="T51" fmla="*/ 2147483647 h 156"/>
                <a:gd name="T52" fmla="*/ 2147483647 w 108"/>
                <a:gd name="T53" fmla="*/ 2147483647 h 156"/>
                <a:gd name="T54" fmla="*/ 2147483647 w 108"/>
                <a:gd name="T55" fmla="*/ 2147483647 h 156"/>
                <a:gd name="T56" fmla="*/ 2147483647 w 108"/>
                <a:gd name="T57" fmla="*/ 2147483647 h 156"/>
                <a:gd name="T58" fmla="*/ 2147483647 w 108"/>
                <a:gd name="T59" fmla="*/ 2147483647 h 156"/>
                <a:gd name="T60" fmla="*/ 2147483647 w 108"/>
                <a:gd name="T61" fmla="*/ 2147483647 h 15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8"/>
                <a:gd name="T94" fmla="*/ 0 h 156"/>
                <a:gd name="T95" fmla="*/ 108 w 108"/>
                <a:gd name="T96" fmla="*/ 156 h 15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8" h="156">
                  <a:moveTo>
                    <a:pt x="72" y="96"/>
                  </a:moveTo>
                  <a:lnTo>
                    <a:pt x="72" y="72"/>
                  </a:lnTo>
                  <a:lnTo>
                    <a:pt x="78" y="66"/>
                  </a:lnTo>
                  <a:lnTo>
                    <a:pt x="84" y="66"/>
                  </a:lnTo>
                  <a:lnTo>
                    <a:pt x="96" y="60"/>
                  </a:lnTo>
                  <a:lnTo>
                    <a:pt x="102" y="60"/>
                  </a:lnTo>
                  <a:lnTo>
                    <a:pt x="108" y="48"/>
                  </a:lnTo>
                  <a:lnTo>
                    <a:pt x="108" y="30"/>
                  </a:lnTo>
                  <a:lnTo>
                    <a:pt x="102" y="18"/>
                  </a:lnTo>
                  <a:lnTo>
                    <a:pt x="96" y="12"/>
                  </a:lnTo>
                  <a:lnTo>
                    <a:pt x="102" y="0"/>
                  </a:lnTo>
                  <a:lnTo>
                    <a:pt x="54" y="0"/>
                  </a:lnTo>
                  <a:lnTo>
                    <a:pt x="60" y="0"/>
                  </a:lnTo>
                  <a:lnTo>
                    <a:pt x="60" y="6"/>
                  </a:lnTo>
                  <a:lnTo>
                    <a:pt x="54" y="6"/>
                  </a:lnTo>
                  <a:lnTo>
                    <a:pt x="48" y="18"/>
                  </a:lnTo>
                  <a:lnTo>
                    <a:pt x="36" y="24"/>
                  </a:lnTo>
                  <a:lnTo>
                    <a:pt x="30" y="30"/>
                  </a:lnTo>
                  <a:lnTo>
                    <a:pt x="18" y="66"/>
                  </a:lnTo>
                  <a:lnTo>
                    <a:pt x="12" y="78"/>
                  </a:lnTo>
                  <a:lnTo>
                    <a:pt x="12" y="90"/>
                  </a:lnTo>
                  <a:lnTo>
                    <a:pt x="0" y="114"/>
                  </a:lnTo>
                  <a:lnTo>
                    <a:pt x="0" y="156"/>
                  </a:lnTo>
                  <a:lnTo>
                    <a:pt x="12" y="150"/>
                  </a:lnTo>
                  <a:lnTo>
                    <a:pt x="24" y="126"/>
                  </a:lnTo>
                  <a:lnTo>
                    <a:pt x="30" y="132"/>
                  </a:lnTo>
                  <a:lnTo>
                    <a:pt x="36" y="132"/>
                  </a:lnTo>
                  <a:lnTo>
                    <a:pt x="42" y="126"/>
                  </a:lnTo>
                  <a:lnTo>
                    <a:pt x="48" y="114"/>
                  </a:lnTo>
                  <a:lnTo>
                    <a:pt x="48" y="102"/>
                  </a:lnTo>
                  <a:lnTo>
                    <a:pt x="72" y="96"/>
                  </a:lnTo>
                  <a:close/>
                </a:path>
              </a:pathLst>
            </a:custGeom>
            <a:solidFill>
              <a:srgbClr val="FFC000"/>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27" name="Latvia" descr="© INSCALE GmbH, 05.05.2010&#10;http://www.presentationload.com/"/>
            <p:cNvSpPr>
              <a:spLocks/>
            </p:cNvSpPr>
            <p:nvPr/>
          </p:nvSpPr>
          <p:spPr bwMode="gray">
            <a:xfrm>
              <a:off x="4760917" y="2212976"/>
              <a:ext cx="171451" cy="73025"/>
            </a:xfrm>
            <a:custGeom>
              <a:avLst/>
              <a:gdLst>
                <a:gd name="T0" fmla="*/ 2147483647 w 426"/>
                <a:gd name="T1" fmla="*/ 2147483647 h 180"/>
                <a:gd name="T2" fmla="*/ 2147483647 w 426"/>
                <a:gd name="T3" fmla="*/ 2147483647 h 180"/>
                <a:gd name="T4" fmla="*/ 2147483647 w 426"/>
                <a:gd name="T5" fmla="*/ 2147483647 h 180"/>
                <a:gd name="T6" fmla="*/ 2147483647 w 426"/>
                <a:gd name="T7" fmla="*/ 2147483647 h 180"/>
                <a:gd name="T8" fmla="*/ 2147483647 w 426"/>
                <a:gd name="T9" fmla="*/ 2147483647 h 180"/>
                <a:gd name="T10" fmla="*/ 2147483647 w 426"/>
                <a:gd name="T11" fmla="*/ 2147483647 h 180"/>
                <a:gd name="T12" fmla="*/ 2147483647 w 426"/>
                <a:gd name="T13" fmla="*/ 2147483647 h 180"/>
                <a:gd name="T14" fmla="*/ 2147483647 w 426"/>
                <a:gd name="T15" fmla="*/ 2147483647 h 180"/>
                <a:gd name="T16" fmla="*/ 2147483647 w 426"/>
                <a:gd name="T17" fmla="*/ 2147483647 h 180"/>
                <a:gd name="T18" fmla="*/ 2147483647 w 426"/>
                <a:gd name="T19" fmla="*/ 2147483647 h 180"/>
                <a:gd name="T20" fmla="*/ 2147483647 w 426"/>
                <a:gd name="T21" fmla="*/ 2147483647 h 180"/>
                <a:gd name="T22" fmla="*/ 2147483647 w 426"/>
                <a:gd name="T23" fmla="*/ 2147483647 h 180"/>
                <a:gd name="T24" fmla="*/ 2147483647 w 426"/>
                <a:gd name="T25" fmla="*/ 2147483647 h 180"/>
                <a:gd name="T26" fmla="*/ 2147483647 w 426"/>
                <a:gd name="T27" fmla="*/ 2147483647 h 180"/>
                <a:gd name="T28" fmla="*/ 2147483647 w 426"/>
                <a:gd name="T29" fmla="*/ 2147483647 h 180"/>
                <a:gd name="T30" fmla="*/ 2147483647 w 426"/>
                <a:gd name="T31" fmla="*/ 2147483647 h 180"/>
                <a:gd name="T32" fmla="*/ 2147483647 w 426"/>
                <a:gd name="T33" fmla="*/ 2147483647 h 180"/>
                <a:gd name="T34" fmla="*/ 2147483647 w 426"/>
                <a:gd name="T35" fmla="*/ 2147483647 h 180"/>
                <a:gd name="T36" fmla="*/ 2147483647 w 426"/>
                <a:gd name="T37" fmla="*/ 2147483647 h 180"/>
                <a:gd name="T38" fmla="*/ 2147483647 w 426"/>
                <a:gd name="T39" fmla="*/ 2147483647 h 180"/>
                <a:gd name="T40" fmla="*/ 2147483647 w 426"/>
                <a:gd name="T41" fmla="*/ 2147483647 h 180"/>
                <a:gd name="T42" fmla="*/ 2147483647 w 426"/>
                <a:gd name="T43" fmla="*/ 2147483647 h 180"/>
                <a:gd name="T44" fmla="*/ 2147483647 w 426"/>
                <a:gd name="T45" fmla="*/ 2147483647 h 180"/>
                <a:gd name="T46" fmla="*/ 2147483647 w 426"/>
                <a:gd name="T47" fmla="*/ 2147483647 h 180"/>
                <a:gd name="T48" fmla="*/ 2147483647 w 426"/>
                <a:gd name="T49" fmla="*/ 2147483647 h 180"/>
                <a:gd name="T50" fmla="*/ 2147483647 w 426"/>
                <a:gd name="T51" fmla="*/ 2147483647 h 180"/>
                <a:gd name="T52" fmla="*/ 2147483647 w 426"/>
                <a:gd name="T53" fmla="*/ 2147483647 h 180"/>
                <a:gd name="T54" fmla="*/ 2147483647 w 426"/>
                <a:gd name="T55" fmla="*/ 2147483647 h 180"/>
                <a:gd name="T56" fmla="*/ 2147483647 w 426"/>
                <a:gd name="T57" fmla="*/ 2147483647 h 180"/>
                <a:gd name="T58" fmla="*/ 2147483647 w 426"/>
                <a:gd name="T59" fmla="*/ 2147483647 h 180"/>
                <a:gd name="T60" fmla="*/ 2147483647 w 426"/>
                <a:gd name="T61" fmla="*/ 0 h 180"/>
                <a:gd name="T62" fmla="*/ 2147483647 w 426"/>
                <a:gd name="T63" fmla="*/ 2147483647 h 180"/>
                <a:gd name="T64" fmla="*/ 2147483647 w 426"/>
                <a:gd name="T65" fmla="*/ 2147483647 h 180"/>
                <a:gd name="T66" fmla="*/ 2147483647 w 426"/>
                <a:gd name="T67" fmla="*/ 2147483647 h 180"/>
                <a:gd name="T68" fmla="*/ 2147483647 w 426"/>
                <a:gd name="T69" fmla="*/ 2147483647 h 180"/>
                <a:gd name="T70" fmla="*/ 2147483647 w 426"/>
                <a:gd name="T71" fmla="*/ 2147483647 h 180"/>
                <a:gd name="T72" fmla="*/ 2147483647 w 426"/>
                <a:gd name="T73" fmla="*/ 2147483647 h 180"/>
                <a:gd name="T74" fmla="*/ 2147483647 w 426"/>
                <a:gd name="T75" fmla="*/ 2147483647 h 180"/>
                <a:gd name="T76" fmla="*/ 2147483647 w 426"/>
                <a:gd name="T77" fmla="*/ 2147483647 h 180"/>
                <a:gd name="T78" fmla="*/ 2147483647 w 426"/>
                <a:gd name="T79" fmla="*/ 2147483647 h 180"/>
                <a:gd name="T80" fmla="*/ 2147483647 w 426"/>
                <a:gd name="T81" fmla="*/ 2147483647 h 180"/>
                <a:gd name="T82" fmla="*/ 2147483647 w 426"/>
                <a:gd name="T83" fmla="*/ 2147483647 h 180"/>
                <a:gd name="T84" fmla="*/ 0 w 426"/>
                <a:gd name="T85" fmla="*/ 2147483647 h 180"/>
                <a:gd name="T86" fmla="*/ 2147483647 w 426"/>
                <a:gd name="T87" fmla="*/ 2147483647 h 18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26"/>
                <a:gd name="T133" fmla="*/ 0 h 180"/>
                <a:gd name="T134" fmla="*/ 426 w 426"/>
                <a:gd name="T135" fmla="*/ 180 h 18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26" h="180">
                  <a:moveTo>
                    <a:pt x="6" y="144"/>
                  </a:moveTo>
                  <a:lnTo>
                    <a:pt x="6" y="138"/>
                  </a:lnTo>
                  <a:lnTo>
                    <a:pt x="12" y="138"/>
                  </a:lnTo>
                  <a:lnTo>
                    <a:pt x="24" y="132"/>
                  </a:lnTo>
                  <a:lnTo>
                    <a:pt x="66" y="132"/>
                  </a:lnTo>
                  <a:lnTo>
                    <a:pt x="78" y="120"/>
                  </a:lnTo>
                  <a:lnTo>
                    <a:pt x="96" y="120"/>
                  </a:lnTo>
                  <a:lnTo>
                    <a:pt x="102" y="126"/>
                  </a:lnTo>
                  <a:lnTo>
                    <a:pt x="108" y="126"/>
                  </a:lnTo>
                  <a:lnTo>
                    <a:pt x="114" y="132"/>
                  </a:lnTo>
                  <a:lnTo>
                    <a:pt x="120" y="132"/>
                  </a:lnTo>
                  <a:lnTo>
                    <a:pt x="126" y="126"/>
                  </a:lnTo>
                  <a:lnTo>
                    <a:pt x="132" y="126"/>
                  </a:lnTo>
                  <a:lnTo>
                    <a:pt x="144" y="132"/>
                  </a:lnTo>
                  <a:lnTo>
                    <a:pt x="150" y="132"/>
                  </a:lnTo>
                  <a:lnTo>
                    <a:pt x="156" y="138"/>
                  </a:lnTo>
                  <a:lnTo>
                    <a:pt x="162" y="138"/>
                  </a:lnTo>
                  <a:lnTo>
                    <a:pt x="168" y="132"/>
                  </a:lnTo>
                  <a:lnTo>
                    <a:pt x="180" y="132"/>
                  </a:lnTo>
                  <a:lnTo>
                    <a:pt x="186" y="138"/>
                  </a:lnTo>
                  <a:lnTo>
                    <a:pt x="204" y="138"/>
                  </a:lnTo>
                  <a:lnTo>
                    <a:pt x="216" y="126"/>
                  </a:lnTo>
                  <a:lnTo>
                    <a:pt x="228" y="126"/>
                  </a:lnTo>
                  <a:lnTo>
                    <a:pt x="234" y="132"/>
                  </a:lnTo>
                  <a:lnTo>
                    <a:pt x="240" y="144"/>
                  </a:lnTo>
                  <a:lnTo>
                    <a:pt x="270" y="144"/>
                  </a:lnTo>
                  <a:lnTo>
                    <a:pt x="282" y="150"/>
                  </a:lnTo>
                  <a:lnTo>
                    <a:pt x="288" y="150"/>
                  </a:lnTo>
                  <a:lnTo>
                    <a:pt x="300" y="162"/>
                  </a:lnTo>
                  <a:lnTo>
                    <a:pt x="318" y="174"/>
                  </a:lnTo>
                  <a:lnTo>
                    <a:pt x="336" y="180"/>
                  </a:lnTo>
                  <a:lnTo>
                    <a:pt x="360" y="168"/>
                  </a:lnTo>
                  <a:lnTo>
                    <a:pt x="378" y="168"/>
                  </a:lnTo>
                  <a:lnTo>
                    <a:pt x="384" y="174"/>
                  </a:lnTo>
                  <a:lnTo>
                    <a:pt x="390" y="168"/>
                  </a:lnTo>
                  <a:lnTo>
                    <a:pt x="396" y="168"/>
                  </a:lnTo>
                  <a:lnTo>
                    <a:pt x="402" y="162"/>
                  </a:lnTo>
                  <a:lnTo>
                    <a:pt x="408" y="150"/>
                  </a:lnTo>
                  <a:lnTo>
                    <a:pt x="414" y="144"/>
                  </a:lnTo>
                  <a:lnTo>
                    <a:pt x="420" y="150"/>
                  </a:lnTo>
                  <a:lnTo>
                    <a:pt x="426" y="150"/>
                  </a:lnTo>
                  <a:lnTo>
                    <a:pt x="426" y="126"/>
                  </a:lnTo>
                  <a:lnTo>
                    <a:pt x="414" y="114"/>
                  </a:lnTo>
                  <a:lnTo>
                    <a:pt x="408" y="102"/>
                  </a:lnTo>
                  <a:lnTo>
                    <a:pt x="402" y="96"/>
                  </a:lnTo>
                  <a:lnTo>
                    <a:pt x="378" y="90"/>
                  </a:lnTo>
                  <a:lnTo>
                    <a:pt x="384" y="72"/>
                  </a:lnTo>
                  <a:lnTo>
                    <a:pt x="402" y="72"/>
                  </a:lnTo>
                  <a:lnTo>
                    <a:pt x="402" y="66"/>
                  </a:lnTo>
                  <a:lnTo>
                    <a:pt x="396" y="60"/>
                  </a:lnTo>
                  <a:lnTo>
                    <a:pt x="384" y="54"/>
                  </a:lnTo>
                  <a:lnTo>
                    <a:pt x="372" y="42"/>
                  </a:lnTo>
                  <a:lnTo>
                    <a:pt x="354" y="42"/>
                  </a:lnTo>
                  <a:lnTo>
                    <a:pt x="348" y="36"/>
                  </a:lnTo>
                  <a:lnTo>
                    <a:pt x="330" y="36"/>
                  </a:lnTo>
                  <a:lnTo>
                    <a:pt x="324" y="42"/>
                  </a:lnTo>
                  <a:lnTo>
                    <a:pt x="306" y="42"/>
                  </a:lnTo>
                  <a:lnTo>
                    <a:pt x="288" y="24"/>
                  </a:lnTo>
                  <a:lnTo>
                    <a:pt x="276" y="18"/>
                  </a:lnTo>
                  <a:lnTo>
                    <a:pt x="270" y="12"/>
                  </a:lnTo>
                  <a:lnTo>
                    <a:pt x="246" y="0"/>
                  </a:lnTo>
                  <a:lnTo>
                    <a:pt x="216" y="0"/>
                  </a:lnTo>
                  <a:lnTo>
                    <a:pt x="186" y="12"/>
                  </a:lnTo>
                  <a:lnTo>
                    <a:pt x="174" y="12"/>
                  </a:lnTo>
                  <a:lnTo>
                    <a:pt x="180" y="24"/>
                  </a:lnTo>
                  <a:lnTo>
                    <a:pt x="180" y="30"/>
                  </a:lnTo>
                  <a:lnTo>
                    <a:pt x="186" y="42"/>
                  </a:lnTo>
                  <a:lnTo>
                    <a:pt x="186" y="60"/>
                  </a:lnTo>
                  <a:lnTo>
                    <a:pt x="192" y="66"/>
                  </a:lnTo>
                  <a:lnTo>
                    <a:pt x="186" y="78"/>
                  </a:lnTo>
                  <a:lnTo>
                    <a:pt x="156" y="78"/>
                  </a:lnTo>
                  <a:lnTo>
                    <a:pt x="138" y="72"/>
                  </a:lnTo>
                  <a:lnTo>
                    <a:pt x="126" y="72"/>
                  </a:lnTo>
                  <a:lnTo>
                    <a:pt x="114" y="54"/>
                  </a:lnTo>
                  <a:lnTo>
                    <a:pt x="84" y="24"/>
                  </a:lnTo>
                  <a:lnTo>
                    <a:pt x="72" y="24"/>
                  </a:lnTo>
                  <a:lnTo>
                    <a:pt x="60" y="30"/>
                  </a:lnTo>
                  <a:lnTo>
                    <a:pt x="48" y="30"/>
                  </a:lnTo>
                  <a:lnTo>
                    <a:pt x="36" y="36"/>
                  </a:lnTo>
                  <a:lnTo>
                    <a:pt x="30" y="42"/>
                  </a:lnTo>
                  <a:lnTo>
                    <a:pt x="24" y="54"/>
                  </a:lnTo>
                  <a:lnTo>
                    <a:pt x="24" y="66"/>
                  </a:lnTo>
                  <a:lnTo>
                    <a:pt x="18" y="78"/>
                  </a:lnTo>
                  <a:lnTo>
                    <a:pt x="6" y="84"/>
                  </a:lnTo>
                  <a:lnTo>
                    <a:pt x="0" y="96"/>
                  </a:lnTo>
                  <a:lnTo>
                    <a:pt x="0" y="120"/>
                  </a:lnTo>
                  <a:lnTo>
                    <a:pt x="6" y="132"/>
                  </a:lnTo>
                  <a:lnTo>
                    <a:pt x="6" y="150"/>
                  </a:lnTo>
                  <a:lnTo>
                    <a:pt x="6" y="144"/>
                  </a:lnTo>
                  <a:close/>
                </a:path>
              </a:pathLst>
            </a:custGeom>
            <a:solidFill>
              <a:srgbClr val="00508C"/>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28" name="Laos" descr="© INSCALE GmbH, 05.05.2010&#10;http://www.presentationload.com/"/>
            <p:cNvSpPr>
              <a:spLocks/>
            </p:cNvSpPr>
            <p:nvPr/>
          </p:nvSpPr>
          <p:spPr bwMode="gray">
            <a:xfrm>
              <a:off x="7034219" y="3348038"/>
              <a:ext cx="241301" cy="279399"/>
            </a:xfrm>
            <a:custGeom>
              <a:avLst/>
              <a:gdLst>
                <a:gd name="T0" fmla="*/ 2147483647 w 600"/>
                <a:gd name="T1" fmla="*/ 2147483647 h 696"/>
                <a:gd name="T2" fmla="*/ 2147483647 w 600"/>
                <a:gd name="T3" fmla="*/ 2147483647 h 696"/>
                <a:gd name="T4" fmla="*/ 2147483647 w 600"/>
                <a:gd name="T5" fmla="*/ 2147483647 h 696"/>
                <a:gd name="T6" fmla="*/ 2147483647 w 600"/>
                <a:gd name="T7" fmla="*/ 2147483647 h 696"/>
                <a:gd name="T8" fmla="*/ 2147483647 w 600"/>
                <a:gd name="T9" fmla="*/ 2147483647 h 696"/>
                <a:gd name="T10" fmla="*/ 2147483647 w 600"/>
                <a:gd name="T11" fmla="*/ 2147483647 h 696"/>
                <a:gd name="T12" fmla="*/ 2147483647 w 600"/>
                <a:gd name="T13" fmla="*/ 2147483647 h 696"/>
                <a:gd name="T14" fmla="*/ 2147483647 w 600"/>
                <a:gd name="T15" fmla="*/ 2147483647 h 696"/>
                <a:gd name="T16" fmla="*/ 2147483647 w 600"/>
                <a:gd name="T17" fmla="*/ 2147483647 h 696"/>
                <a:gd name="T18" fmla="*/ 2147483647 w 600"/>
                <a:gd name="T19" fmla="*/ 2147483647 h 696"/>
                <a:gd name="T20" fmla="*/ 2147483647 w 600"/>
                <a:gd name="T21" fmla="*/ 2147483647 h 696"/>
                <a:gd name="T22" fmla="*/ 2147483647 w 600"/>
                <a:gd name="T23" fmla="*/ 2147483647 h 696"/>
                <a:gd name="T24" fmla="*/ 2147483647 w 600"/>
                <a:gd name="T25" fmla="*/ 2147483647 h 696"/>
                <a:gd name="T26" fmla="*/ 2147483647 w 600"/>
                <a:gd name="T27" fmla="*/ 2147483647 h 696"/>
                <a:gd name="T28" fmla="*/ 2147483647 w 600"/>
                <a:gd name="T29" fmla="*/ 2147483647 h 696"/>
                <a:gd name="T30" fmla="*/ 2147483647 w 600"/>
                <a:gd name="T31" fmla="*/ 2147483647 h 696"/>
                <a:gd name="T32" fmla="*/ 2147483647 w 600"/>
                <a:gd name="T33" fmla="*/ 2147483647 h 696"/>
                <a:gd name="T34" fmla="*/ 2147483647 w 600"/>
                <a:gd name="T35" fmla="*/ 2147483647 h 696"/>
                <a:gd name="T36" fmla="*/ 2147483647 w 600"/>
                <a:gd name="T37" fmla="*/ 2147483647 h 696"/>
                <a:gd name="T38" fmla="*/ 2147483647 w 600"/>
                <a:gd name="T39" fmla="*/ 2147483647 h 696"/>
                <a:gd name="T40" fmla="*/ 2147483647 w 600"/>
                <a:gd name="T41" fmla="*/ 2147483647 h 696"/>
                <a:gd name="T42" fmla="*/ 2147483647 w 600"/>
                <a:gd name="T43" fmla="*/ 2147483647 h 696"/>
                <a:gd name="T44" fmla="*/ 2147483647 w 600"/>
                <a:gd name="T45" fmla="*/ 2147483647 h 696"/>
                <a:gd name="T46" fmla="*/ 2147483647 w 600"/>
                <a:gd name="T47" fmla="*/ 2147483647 h 696"/>
                <a:gd name="T48" fmla="*/ 2147483647 w 600"/>
                <a:gd name="T49" fmla="*/ 2147483647 h 696"/>
                <a:gd name="T50" fmla="*/ 2147483647 w 600"/>
                <a:gd name="T51" fmla="*/ 2147483647 h 696"/>
                <a:gd name="T52" fmla="*/ 2147483647 w 600"/>
                <a:gd name="T53" fmla="*/ 2147483647 h 696"/>
                <a:gd name="T54" fmla="*/ 2147483647 w 600"/>
                <a:gd name="T55" fmla="*/ 2147483647 h 696"/>
                <a:gd name="T56" fmla="*/ 2147483647 w 600"/>
                <a:gd name="T57" fmla="*/ 2147483647 h 696"/>
                <a:gd name="T58" fmla="*/ 2147483647 w 600"/>
                <a:gd name="T59" fmla="*/ 2147483647 h 696"/>
                <a:gd name="T60" fmla="*/ 2147483647 w 600"/>
                <a:gd name="T61" fmla="*/ 2147483647 h 696"/>
                <a:gd name="T62" fmla="*/ 2147483647 w 600"/>
                <a:gd name="T63" fmla="*/ 2147483647 h 696"/>
                <a:gd name="T64" fmla="*/ 2147483647 w 600"/>
                <a:gd name="T65" fmla="*/ 2147483647 h 696"/>
                <a:gd name="T66" fmla="*/ 2147483647 w 600"/>
                <a:gd name="T67" fmla="*/ 2147483647 h 696"/>
                <a:gd name="T68" fmla="*/ 2147483647 w 600"/>
                <a:gd name="T69" fmla="*/ 2147483647 h 696"/>
                <a:gd name="T70" fmla="*/ 2147483647 w 600"/>
                <a:gd name="T71" fmla="*/ 2147483647 h 696"/>
                <a:gd name="T72" fmla="*/ 2147483647 w 600"/>
                <a:gd name="T73" fmla="*/ 2147483647 h 696"/>
                <a:gd name="T74" fmla="*/ 2147483647 w 600"/>
                <a:gd name="T75" fmla="*/ 2147483647 h 696"/>
                <a:gd name="T76" fmla="*/ 2147483647 w 600"/>
                <a:gd name="T77" fmla="*/ 2147483647 h 696"/>
                <a:gd name="T78" fmla="*/ 2147483647 w 600"/>
                <a:gd name="T79" fmla="*/ 2147483647 h 696"/>
                <a:gd name="T80" fmla="*/ 2147483647 w 600"/>
                <a:gd name="T81" fmla="*/ 2147483647 h 696"/>
                <a:gd name="T82" fmla="*/ 2147483647 w 600"/>
                <a:gd name="T83" fmla="*/ 2147483647 h 696"/>
                <a:gd name="T84" fmla="*/ 2147483647 w 600"/>
                <a:gd name="T85" fmla="*/ 2147483647 h 696"/>
                <a:gd name="T86" fmla="*/ 2147483647 w 600"/>
                <a:gd name="T87" fmla="*/ 2147483647 h 696"/>
                <a:gd name="T88" fmla="*/ 2147483647 w 600"/>
                <a:gd name="T89" fmla="*/ 2147483647 h 696"/>
                <a:gd name="T90" fmla="*/ 2147483647 w 600"/>
                <a:gd name="T91" fmla="*/ 2147483647 h 696"/>
                <a:gd name="T92" fmla="*/ 2147483647 w 600"/>
                <a:gd name="T93" fmla="*/ 2147483647 h 696"/>
                <a:gd name="T94" fmla="*/ 2147483647 w 600"/>
                <a:gd name="T95" fmla="*/ 2147483647 h 696"/>
                <a:gd name="T96" fmla="*/ 2147483647 w 600"/>
                <a:gd name="T97" fmla="*/ 2147483647 h 696"/>
                <a:gd name="T98" fmla="*/ 2147483647 w 600"/>
                <a:gd name="T99" fmla="*/ 2147483647 h 696"/>
                <a:gd name="T100" fmla="*/ 2147483647 w 600"/>
                <a:gd name="T101" fmla="*/ 2147483647 h 696"/>
                <a:gd name="T102" fmla="*/ 2147483647 w 600"/>
                <a:gd name="T103" fmla="*/ 2147483647 h 696"/>
                <a:gd name="T104" fmla="*/ 2147483647 w 600"/>
                <a:gd name="T105" fmla="*/ 2147483647 h 696"/>
                <a:gd name="T106" fmla="*/ 2147483647 w 600"/>
                <a:gd name="T107" fmla="*/ 2147483647 h 696"/>
                <a:gd name="T108" fmla="*/ 2147483647 w 600"/>
                <a:gd name="T109" fmla="*/ 2147483647 h 696"/>
                <a:gd name="T110" fmla="*/ 2147483647 w 600"/>
                <a:gd name="T111" fmla="*/ 2147483647 h 696"/>
                <a:gd name="T112" fmla="*/ 2147483647 w 600"/>
                <a:gd name="T113" fmla="*/ 2147483647 h 696"/>
                <a:gd name="T114" fmla="*/ 2147483647 w 600"/>
                <a:gd name="T115" fmla="*/ 2147483647 h 696"/>
                <a:gd name="T116" fmla="*/ 2147483647 w 600"/>
                <a:gd name="T117" fmla="*/ 2147483647 h 696"/>
                <a:gd name="T118" fmla="*/ 0 w 600"/>
                <a:gd name="T119" fmla="*/ 2147483647 h 696"/>
                <a:gd name="T120" fmla="*/ 2147483647 w 600"/>
                <a:gd name="T121" fmla="*/ 2147483647 h 6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00"/>
                <a:gd name="T184" fmla="*/ 0 h 696"/>
                <a:gd name="T185" fmla="*/ 600 w 600"/>
                <a:gd name="T186" fmla="*/ 696 h 69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00" h="696">
                  <a:moveTo>
                    <a:pt x="24" y="180"/>
                  </a:moveTo>
                  <a:lnTo>
                    <a:pt x="36" y="180"/>
                  </a:lnTo>
                  <a:lnTo>
                    <a:pt x="42" y="186"/>
                  </a:lnTo>
                  <a:lnTo>
                    <a:pt x="42" y="198"/>
                  </a:lnTo>
                  <a:lnTo>
                    <a:pt x="36" y="204"/>
                  </a:lnTo>
                  <a:lnTo>
                    <a:pt x="36" y="228"/>
                  </a:lnTo>
                  <a:lnTo>
                    <a:pt x="42" y="240"/>
                  </a:lnTo>
                  <a:lnTo>
                    <a:pt x="48" y="246"/>
                  </a:lnTo>
                  <a:lnTo>
                    <a:pt x="66" y="246"/>
                  </a:lnTo>
                  <a:lnTo>
                    <a:pt x="66" y="234"/>
                  </a:lnTo>
                  <a:lnTo>
                    <a:pt x="78" y="234"/>
                  </a:lnTo>
                  <a:lnTo>
                    <a:pt x="84" y="228"/>
                  </a:lnTo>
                  <a:lnTo>
                    <a:pt x="90" y="228"/>
                  </a:lnTo>
                  <a:lnTo>
                    <a:pt x="102" y="234"/>
                  </a:lnTo>
                  <a:lnTo>
                    <a:pt x="102" y="264"/>
                  </a:lnTo>
                  <a:lnTo>
                    <a:pt x="96" y="270"/>
                  </a:lnTo>
                  <a:lnTo>
                    <a:pt x="102" y="276"/>
                  </a:lnTo>
                  <a:lnTo>
                    <a:pt x="108" y="288"/>
                  </a:lnTo>
                  <a:lnTo>
                    <a:pt x="108" y="300"/>
                  </a:lnTo>
                  <a:lnTo>
                    <a:pt x="102" y="312"/>
                  </a:lnTo>
                  <a:lnTo>
                    <a:pt x="90" y="324"/>
                  </a:lnTo>
                  <a:lnTo>
                    <a:pt x="102" y="324"/>
                  </a:lnTo>
                  <a:lnTo>
                    <a:pt x="108" y="330"/>
                  </a:lnTo>
                  <a:lnTo>
                    <a:pt x="108" y="342"/>
                  </a:lnTo>
                  <a:lnTo>
                    <a:pt x="84" y="390"/>
                  </a:lnTo>
                  <a:lnTo>
                    <a:pt x="84" y="402"/>
                  </a:lnTo>
                  <a:lnTo>
                    <a:pt x="102" y="402"/>
                  </a:lnTo>
                  <a:lnTo>
                    <a:pt x="126" y="390"/>
                  </a:lnTo>
                  <a:lnTo>
                    <a:pt x="132" y="384"/>
                  </a:lnTo>
                  <a:lnTo>
                    <a:pt x="132" y="378"/>
                  </a:lnTo>
                  <a:lnTo>
                    <a:pt x="144" y="366"/>
                  </a:lnTo>
                  <a:lnTo>
                    <a:pt x="150" y="354"/>
                  </a:lnTo>
                  <a:lnTo>
                    <a:pt x="156" y="348"/>
                  </a:lnTo>
                  <a:lnTo>
                    <a:pt x="168" y="348"/>
                  </a:lnTo>
                  <a:lnTo>
                    <a:pt x="174" y="354"/>
                  </a:lnTo>
                  <a:lnTo>
                    <a:pt x="198" y="366"/>
                  </a:lnTo>
                  <a:lnTo>
                    <a:pt x="216" y="366"/>
                  </a:lnTo>
                  <a:lnTo>
                    <a:pt x="234" y="348"/>
                  </a:lnTo>
                  <a:lnTo>
                    <a:pt x="234" y="336"/>
                  </a:lnTo>
                  <a:lnTo>
                    <a:pt x="240" y="330"/>
                  </a:lnTo>
                  <a:lnTo>
                    <a:pt x="258" y="330"/>
                  </a:lnTo>
                  <a:lnTo>
                    <a:pt x="264" y="336"/>
                  </a:lnTo>
                  <a:lnTo>
                    <a:pt x="276" y="342"/>
                  </a:lnTo>
                  <a:lnTo>
                    <a:pt x="300" y="342"/>
                  </a:lnTo>
                  <a:lnTo>
                    <a:pt x="306" y="348"/>
                  </a:lnTo>
                  <a:lnTo>
                    <a:pt x="306" y="360"/>
                  </a:lnTo>
                  <a:lnTo>
                    <a:pt x="318" y="372"/>
                  </a:lnTo>
                  <a:lnTo>
                    <a:pt x="336" y="384"/>
                  </a:lnTo>
                  <a:lnTo>
                    <a:pt x="348" y="390"/>
                  </a:lnTo>
                  <a:lnTo>
                    <a:pt x="366" y="408"/>
                  </a:lnTo>
                  <a:lnTo>
                    <a:pt x="372" y="450"/>
                  </a:lnTo>
                  <a:lnTo>
                    <a:pt x="372" y="462"/>
                  </a:lnTo>
                  <a:lnTo>
                    <a:pt x="384" y="486"/>
                  </a:lnTo>
                  <a:lnTo>
                    <a:pt x="420" y="522"/>
                  </a:lnTo>
                  <a:lnTo>
                    <a:pt x="420" y="528"/>
                  </a:lnTo>
                  <a:lnTo>
                    <a:pt x="426" y="534"/>
                  </a:lnTo>
                  <a:lnTo>
                    <a:pt x="426" y="546"/>
                  </a:lnTo>
                  <a:lnTo>
                    <a:pt x="432" y="540"/>
                  </a:lnTo>
                  <a:lnTo>
                    <a:pt x="432" y="546"/>
                  </a:lnTo>
                  <a:lnTo>
                    <a:pt x="444" y="558"/>
                  </a:lnTo>
                  <a:lnTo>
                    <a:pt x="432" y="582"/>
                  </a:lnTo>
                  <a:lnTo>
                    <a:pt x="426" y="588"/>
                  </a:lnTo>
                  <a:lnTo>
                    <a:pt x="426" y="594"/>
                  </a:lnTo>
                  <a:lnTo>
                    <a:pt x="438" y="606"/>
                  </a:lnTo>
                  <a:lnTo>
                    <a:pt x="450" y="612"/>
                  </a:lnTo>
                  <a:lnTo>
                    <a:pt x="456" y="618"/>
                  </a:lnTo>
                  <a:lnTo>
                    <a:pt x="456" y="630"/>
                  </a:lnTo>
                  <a:lnTo>
                    <a:pt x="450" y="636"/>
                  </a:lnTo>
                  <a:lnTo>
                    <a:pt x="444" y="648"/>
                  </a:lnTo>
                  <a:lnTo>
                    <a:pt x="432" y="654"/>
                  </a:lnTo>
                  <a:lnTo>
                    <a:pt x="426" y="660"/>
                  </a:lnTo>
                  <a:lnTo>
                    <a:pt x="426" y="672"/>
                  </a:lnTo>
                  <a:lnTo>
                    <a:pt x="450" y="672"/>
                  </a:lnTo>
                  <a:lnTo>
                    <a:pt x="456" y="678"/>
                  </a:lnTo>
                  <a:lnTo>
                    <a:pt x="462" y="678"/>
                  </a:lnTo>
                  <a:lnTo>
                    <a:pt x="462" y="684"/>
                  </a:lnTo>
                  <a:lnTo>
                    <a:pt x="474" y="696"/>
                  </a:lnTo>
                  <a:lnTo>
                    <a:pt x="486" y="696"/>
                  </a:lnTo>
                  <a:lnTo>
                    <a:pt x="492" y="690"/>
                  </a:lnTo>
                  <a:lnTo>
                    <a:pt x="492" y="678"/>
                  </a:lnTo>
                  <a:lnTo>
                    <a:pt x="480" y="666"/>
                  </a:lnTo>
                  <a:lnTo>
                    <a:pt x="498" y="654"/>
                  </a:lnTo>
                  <a:lnTo>
                    <a:pt x="510" y="642"/>
                  </a:lnTo>
                  <a:lnTo>
                    <a:pt x="546" y="654"/>
                  </a:lnTo>
                  <a:lnTo>
                    <a:pt x="558" y="642"/>
                  </a:lnTo>
                  <a:lnTo>
                    <a:pt x="582" y="648"/>
                  </a:lnTo>
                  <a:lnTo>
                    <a:pt x="588" y="648"/>
                  </a:lnTo>
                  <a:lnTo>
                    <a:pt x="600" y="636"/>
                  </a:lnTo>
                  <a:lnTo>
                    <a:pt x="600" y="630"/>
                  </a:lnTo>
                  <a:lnTo>
                    <a:pt x="588" y="618"/>
                  </a:lnTo>
                  <a:lnTo>
                    <a:pt x="582" y="618"/>
                  </a:lnTo>
                  <a:lnTo>
                    <a:pt x="600" y="582"/>
                  </a:lnTo>
                  <a:lnTo>
                    <a:pt x="594" y="582"/>
                  </a:lnTo>
                  <a:lnTo>
                    <a:pt x="588" y="576"/>
                  </a:lnTo>
                  <a:lnTo>
                    <a:pt x="564" y="564"/>
                  </a:lnTo>
                  <a:lnTo>
                    <a:pt x="540" y="540"/>
                  </a:lnTo>
                  <a:lnTo>
                    <a:pt x="546" y="540"/>
                  </a:lnTo>
                  <a:lnTo>
                    <a:pt x="552" y="534"/>
                  </a:lnTo>
                  <a:lnTo>
                    <a:pt x="558" y="534"/>
                  </a:lnTo>
                  <a:lnTo>
                    <a:pt x="564" y="528"/>
                  </a:lnTo>
                  <a:lnTo>
                    <a:pt x="564" y="516"/>
                  </a:lnTo>
                  <a:lnTo>
                    <a:pt x="558" y="510"/>
                  </a:lnTo>
                  <a:lnTo>
                    <a:pt x="546" y="504"/>
                  </a:lnTo>
                  <a:lnTo>
                    <a:pt x="540" y="498"/>
                  </a:lnTo>
                  <a:lnTo>
                    <a:pt x="528" y="498"/>
                  </a:lnTo>
                  <a:lnTo>
                    <a:pt x="516" y="486"/>
                  </a:lnTo>
                  <a:lnTo>
                    <a:pt x="504" y="462"/>
                  </a:lnTo>
                  <a:lnTo>
                    <a:pt x="498" y="456"/>
                  </a:lnTo>
                  <a:lnTo>
                    <a:pt x="498" y="450"/>
                  </a:lnTo>
                  <a:lnTo>
                    <a:pt x="480" y="450"/>
                  </a:lnTo>
                  <a:lnTo>
                    <a:pt x="474" y="432"/>
                  </a:lnTo>
                  <a:lnTo>
                    <a:pt x="456" y="414"/>
                  </a:lnTo>
                  <a:lnTo>
                    <a:pt x="438" y="402"/>
                  </a:lnTo>
                  <a:lnTo>
                    <a:pt x="426" y="378"/>
                  </a:lnTo>
                  <a:lnTo>
                    <a:pt x="426" y="354"/>
                  </a:lnTo>
                  <a:lnTo>
                    <a:pt x="420" y="354"/>
                  </a:lnTo>
                  <a:lnTo>
                    <a:pt x="414" y="348"/>
                  </a:lnTo>
                  <a:lnTo>
                    <a:pt x="402" y="342"/>
                  </a:lnTo>
                  <a:lnTo>
                    <a:pt x="390" y="342"/>
                  </a:lnTo>
                  <a:lnTo>
                    <a:pt x="384" y="336"/>
                  </a:lnTo>
                  <a:lnTo>
                    <a:pt x="384" y="306"/>
                  </a:lnTo>
                  <a:lnTo>
                    <a:pt x="372" y="306"/>
                  </a:lnTo>
                  <a:lnTo>
                    <a:pt x="366" y="300"/>
                  </a:lnTo>
                  <a:lnTo>
                    <a:pt x="354" y="294"/>
                  </a:lnTo>
                  <a:lnTo>
                    <a:pt x="342" y="282"/>
                  </a:lnTo>
                  <a:lnTo>
                    <a:pt x="306" y="264"/>
                  </a:lnTo>
                  <a:lnTo>
                    <a:pt x="300" y="258"/>
                  </a:lnTo>
                  <a:lnTo>
                    <a:pt x="288" y="252"/>
                  </a:lnTo>
                  <a:lnTo>
                    <a:pt x="288" y="234"/>
                  </a:lnTo>
                  <a:lnTo>
                    <a:pt x="282" y="228"/>
                  </a:lnTo>
                  <a:lnTo>
                    <a:pt x="306" y="228"/>
                  </a:lnTo>
                  <a:lnTo>
                    <a:pt x="312" y="234"/>
                  </a:lnTo>
                  <a:lnTo>
                    <a:pt x="330" y="234"/>
                  </a:lnTo>
                  <a:lnTo>
                    <a:pt x="336" y="228"/>
                  </a:lnTo>
                  <a:lnTo>
                    <a:pt x="342" y="216"/>
                  </a:lnTo>
                  <a:lnTo>
                    <a:pt x="354" y="210"/>
                  </a:lnTo>
                  <a:lnTo>
                    <a:pt x="360" y="198"/>
                  </a:lnTo>
                  <a:lnTo>
                    <a:pt x="360" y="186"/>
                  </a:lnTo>
                  <a:lnTo>
                    <a:pt x="348" y="180"/>
                  </a:lnTo>
                  <a:lnTo>
                    <a:pt x="330" y="174"/>
                  </a:lnTo>
                  <a:lnTo>
                    <a:pt x="306" y="162"/>
                  </a:lnTo>
                  <a:lnTo>
                    <a:pt x="306" y="156"/>
                  </a:lnTo>
                  <a:lnTo>
                    <a:pt x="312" y="150"/>
                  </a:lnTo>
                  <a:lnTo>
                    <a:pt x="318" y="150"/>
                  </a:lnTo>
                  <a:lnTo>
                    <a:pt x="294" y="126"/>
                  </a:lnTo>
                  <a:lnTo>
                    <a:pt x="282" y="120"/>
                  </a:lnTo>
                  <a:lnTo>
                    <a:pt x="270" y="120"/>
                  </a:lnTo>
                  <a:lnTo>
                    <a:pt x="264" y="132"/>
                  </a:lnTo>
                  <a:lnTo>
                    <a:pt x="264" y="138"/>
                  </a:lnTo>
                  <a:lnTo>
                    <a:pt x="258" y="150"/>
                  </a:lnTo>
                  <a:lnTo>
                    <a:pt x="252" y="156"/>
                  </a:lnTo>
                  <a:lnTo>
                    <a:pt x="240" y="144"/>
                  </a:lnTo>
                  <a:lnTo>
                    <a:pt x="240" y="138"/>
                  </a:lnTo>
                  <a:lnTo>
                    <a:pt x="222" y="138"/>
                  </a:lnTo>
                  <a:lnTo>
                    <a:pt x="216" y="126"/>
                  </a:lnTo>
                  <a:lnTo>
                    <a:pt x="198" y="108"/>
                  </a:lnTo>
                  <a:lnTo>
                    <a:pt x="186" y="84"/>
                  </a:lnTo>
                  <a:lnTo>
                    <a:pt x="186" y="54"/>
                  </a:lnTo>
                  <a:lnTo>
                    <a:pt x="180" y="54"/>
                  </a:lnTo>
                  <a:lnTo>
                    <a:pt x="174" y="60"/>
                  </a:lnTo>
                  <a:lnTo>
                    <a:pt x="168" y="48"/>
                  </a:lnTo>
                  <a:lnTo>
                    <a:pt x="156" y="42"/>
                  </a:lnTo>
                  <a:lnTo>
                    <a:pt x="150" y="30"/>
                  </a:lnTo>
                  <a:lnTo>
                    <a:pt x="144" y="24"/>
                  </a:lnTo>
                  <a:lnTo>
                    <a:pt x="138" y="12"/>
                  </a:lnTo>
                  <a:lnTo>
                    <a:pt x="132" y="6"/>
                  </a:lnTo>
                  <a:lnTo>
                    <a:pt x="96" y="0"/>
                  </a:lnTo>
                  <a:lnTo>
                    <a:pt x="90" y="6"/>
                  </a:lnTo>
                  <a:lnTo>
                    <a:pt x="90" y="48"/>
                  </a:lnTo>
                  <a:lnTo>
                    <a:pt x="114" y="72"/>
                  </a:lnTo>
                  <a:lnTo>
                    <a:pt x="114" y="108"/>
                  </a:lnTo>
                  <a:lnTo>
                    <a:pt x="72" y="108"/>
                  </a:lnTo>
                  <a:lnTo>
                    <a:pt x="72" y="84"/>
                  </a:lnTo>
                  <a:lnTo>
                    <a:pt x="36" y="102"/>
                  </a:lnTo>
                  <a:lnTo>
                    <a:pt x="36" y="114"/>
                  </a:lnTo>
                  <a:lnTo>
                    <a:pt x="30" y="126"/>
                  </a:lnTo>
                  <a:lnTo>
                    <a:pt x="36" y="132"/>
                  </a:lnTo>
                  <a:lnTo>
                    <a:pt x="30" y="138"/>
                  </a:lnTo>
                  <a:lnTo>
                    <a:pt x="18" y="138"/>
                  </a:lnTo>
                  <a:lnTo>
                    <a:pt x="0" y="156"/>
                  </a:lnTo>
                  <a:lnTo>
                    <a:pt x="0" y="168"/>
                  </a:lnTo>
                  <a:lnTo>
                    <a:pt x="6" y="168"/>
                  </a:lnTo>
                  <a:lnTo>
                    <a:pt x="12" y="174"/>
                  </a:lnTo>
                  <a:lnTo>
                    <a:pt x="24" y="180"/>
                  </a:lnTo>
                  <a:close/>
                </a:path>
              </a:pathLst>
            </a:custGeom>
            <a:solidFill>
              <a:srgbClr val="FFC000"/>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29" name="Kyrgyzstan" descr="© INSCALE GmbH, 05.05.2010&#10;http://www.presentationload.com/"/>
            <p:cNvSpPr>
              <a:spLocks/>
            </p:cNvSpPr>
            <p:nvPr/>
          </p:nvSpPr>
          <p:spPr bwMode="gray">
            <a:xfrm>
              <a:off x="6067430" y="2679701"/>
              <a:ext cx="269875" cy="125413"/>
            </a:xfrm>
            <a:custGeom>
              <a:avLst/>
              <a:gdLst>
                <a:gd name="T0" fmla="*/ 2147483647 w 672"/>
                <a:gd name="T1" fmla="*/ 2147483647 h 312"/>
                <a:gd name="T2" fmla="*/ 2147483647 w 672"/>
                <a:gd name="T3" fmla="*/ 2147483647 h 312"/>
                <a:gd name="T4" fmla="*/ 2147483647 w 672"/>
                <a:gd name="T5" fmla="*/ 2147483647 h 312"/>
                <a:gd name="T6" fmla="*/ 2147483647 w 672"/>
                <a:gd name="T7" fmla="*/ 2147483647 h 312"/>
                <a:gd name="T8" fmla="*/ 2147483647 w 672"/>
                <a:gd name="T9" fmla="*/ 2147483647 h 312"/>
                <a:gd name="T10" fmla="*/ 2147483647 w 672"/>
                <a:gd name="T11" fmla="*/ 2147483647 h 312"/>
                <a:gd name="T12" fmla="*/ 2147483647 w 672"/>
                <a:gd name="T13" fmla="*/ 2147483647 h 312"/>
                <a:gd name="T14" fmla="*/ 2147483647 w 672"/>
                <a:gd name="T15" fmla="*/ 2147483647 h 312"/>
                <a:gd name="T16" fmla="*/ 2147483647 w 672"/>
                <a:gd name="T17" fmla="*/ 2147483647 h 312"/>
                <a:gd name="T18" fmla="*/ 2147483647 w 672"/>
                <a:gd name="T19" fmla="*/ 2147483647 h 312"/>
                <a:gd name="T20" fmla="*/ 2147483647 w 672"/>
                <a:gd name="T21" fmla="*/ 2147483647 h 312"/>
                <a:gd name="T22" fmla="*/ 2147483647 w 672"/>
                <a:gd name="T23" fmla="*/ 2147483647 h 312"/>
                <a:gd name="T24" fmla="*/ 0 w 672"/>
                <a:gd name="T25" fmla="*/ 2147483647 h 312"/>
                <a:gd name="T26" fmla="*/ 2147483647 w 672"/>
                <a:gd name="T27" fmla="*/ 2147483647 h 312"/>
                <a:gd name="T28" fmla="*/ 2147483647 w 672"/>
                <a:gd name="T29" fmla="*/ 2147483647 h 312"/>
                <a:gd name="T30" fmla="*/ 2147483647 w 672"/>
                <a:gd name="T31" fmla="*/ 2147483647 h 312"/>
                <a:gd name="T32" fmla="*/ 2147483647 w 672"/>
                <a:gd name="T33" fmla="*/ 2147483647 h 312"/>
                <a:gd name="T34" fmla="*/ 2147483647 w 672"/>
                <a:gd name="T35" fmla="*/ 2147483647 h 312"/>
                <a:gd name="T36" fmla="*/ 2147483647 w 672"/>
                <a:gd name="T37" fmla="*/ 2147483647 h 312"/>
                <a:gd name="T38" fmla="*/ 2147483647 w 672"/>
                <a:gd name="T39" fmla="*/ 2147483647 h 312"/>
                <a:gd name="T40" fmla="*/ 2147483647 w 672"/>
                <a:gd name="T41" fmla="*/ 2147483647 h 312"/>
                <a:gd name="T42" fmla="*/ 2147483647 w 672"/>
                <a:gd name="T43" fmla="*/ 2147483647 h 312"/>
                <a:gd name="T44" fmla="*/ 2147483647 w 672"/>
                <a:gd name="T45" fmla="*/ 2147483647 h 312"/>
                <a:gd name="T46" fmla="*/ 2147483647 w 672"/>
                <a:gd name="T47" fmla="*/ 2147483647 h 312"/>
                <a:gd name="T48" fmla="*/ 2147483647 w 672"/>
                <a:gd name="T49" fmla="*/ 2147483647 h 312"/>
                <a:gd name="T50" fmla="*/ 2147483647 w 672"/>
                <a:gd name="T51" fmla="*/ 2147483647 h 312"/>
                <a:gd name="T52" fmla="*/ 2147483647 w 672"/>
                <a:gd name="T53" fmla="*/ 2147483647 h 312"/>
                <a:gd name="T54" fmla="*/ 2147483647 w 672"/>
                <a:gd name="T55" fmla="*/ 2147483647 h 312"/>
                <a:gd name="T56" fmla="*/ 2147483647 w 672"/>
                <a:gd name="T57" fmla="*/ 2147483647 h 312"/>
                <a:gd name="T58" fmla="*/ 2147483647 w 672"/>
                <a:gd name="T59" fmla="*/ 2147483647 h 312"/>
                <a:gd name="T60" fmla="*/ 2147483647 w 672"/>
                <a:gd name="T61" fmla="*/ 2147483647 h 312"/>
                <a:gd name="T62" fmla="*/ 2147483647 w 672"/>
                <a:gd name="T63" fmla="*/ 2147483647 h 312"/>
                <a:gd name="T64" fmla="*/ 2147483647 w 672"/>
                <a:gd name="T65" fmla="*/ 2147483647 h 312"/>
                <a:gd name="T66" fmla="*/ 2147483647 w 672"/>
                <a:gd name="T67" fmla="*/ 2147483647 h 312"/>
                <a:gd name="T68" fmla="*/ 2147483647 w 672"/>
                <a:gd name="T69" fmla="*/ 2147483647 h 312"/>
                <a:gd name="T70" fmla="*/ 2147483647 w 672"/>
                <a:gd name="T71" fmla="*/ 2147483647 h 312"/>
                <a:gd name="T72" fmla="*/ 2147483647 w 672"/>
                <a:gd name="T73" fmla="*/ 2147483647 h 312"/>
                <a:gd name="T74" fmla="*/ 2147483647 w 672"/>
                <a:gd name="T75" fmla="*/ 2147483647 h 312"/>
                <a:gd name="T76" fmla="*/ 2147483647 w 672"/>
                <a:gd name="T77" fmla="*/ 0 h 312"/>
                <a:gd name="T78" fmla="*/ 2147483647 w 672"/>
                <a:gd name="T79" fmla="*/ 2147483647 h 312"/>
                <a:gd name="T80" fmla="*/ 2147483647 w 672"/>
                <a:gd name="T81" fmla="*/ 2147483647 h 312"/>
                <a:gd name="T82" fmla="*/ 2147483647 w 672"/>
                <a:gd name="T83" fmla="*/ 2147483647 h 312"/>
                <a:gd name="T84" fmla="*/ 2147483647 w 672"/>
                <a:gd name="T85" fmla="*/ 2147483647 h 312"/>
                <a:gd name="T86" fmla="*/ 2147483647 w 672"/>
                <a:gd name="T87" fmla="*/ 2147483647 h 312"/>
                <a:gd name="T88" fmla="*/ 2147483647 w 672"/>
                <a:gd name="T89" fmla="*/ 2147483647 h 31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72"/>
                <a:gd name="T136" fmla="*/ 0 h 312"/>
                <a:gd name="T137" fmla="*/ 672 w 672"/>
                <a:gd name="T138" fmla="*/ 312 h 31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72" h="312">
                  <a:moveTo>
                    <a:pt x="36" y="132"/>
                  </a:moveTo>
                  <a:lnTo>
                    <a:pt x="66" y="144"/>
                  </a:lnTo>
                  <a:lnTo>
                    <a:pt x="78" y="156"/>
                  </a:lnTo>
                  <a:lnTo>
                    <a:pt x="114" y="156"/>
                  </a:lnTo>
                  <a:lnTo>
                    <a:pt x="114" y="144"/>
                  </a:lnTo>
                  <a:lnTo>
                    <a:pt x="126" y="144"/>
                  </a:lnTo>
                  <a:lnTo>
                    <a:pt x="126" y="132"/>
                  </a:lnTo>
                  <a:lnTo>
                    <a:pt x="144" y="156"/>
                  </a:lnTo>
                  <a:lnTo>
                    <a:pt x="162" y="156"/>
                  </a:lnTo>
                  <a:lnTo>
                    <a:pt x="168" y="174"/>
                  </a:lnTo>
                  <a:lnTo>
                    <a:pt x="192" y="174"/>
                  </a:lnTo>
                  <a:lnTo>
                    <a:pt x="198" y="186"/>
                  </a:lnTo>
                  <a:lnTo>
                    <a:pt x="204" y="186"/>
                  </a:lnTo>
                  <a:lnTo>
                    <a:pt x="216" y="180"/>
                  </a:lnTo>
                  <a:lnTo>
                    <a:pt x="228" y="180"/>
                  </a:lnTo>
                  <a:lnTo>
                    <a:pt x="228" y="192"/>
                  </a:lnTo>
                  <a:lnTo>
                    <a:pt x="216" y="204"/>
                  </a:lnTo>
                  <a:lnTo>
                    <a:pt x="204" y="210"/>
                  </a:lnTo>
                  <a:lnTo>
                    <a:pt x="192" y="210"/>
                  </a:lnTo>
                  <a:lnTo>
                    <a:pt x="192" y="216"/>
                  </a:lnTo>
                  <a:lnTo>
                    <a:pt x="174" y="222"/>
                  </a:lnTo>
                  <a:lnTo>
                    <a:pt x="156" y="240"/>
                  </a:lnTo>
                  <a:lnTo>
                    <a:pt x="150" y="240"/>
                  </a:lnTo>
                  <a:lnTo>
                    <a:pt x="144" y="234"/>
                  </a:lnTo>
                  <a:lnTo>
                    <a:pt x="138" y="234"/>
                  </a:lnTo>
                  <a:lnTo>
                    <a:pt x="132" y="228"/>
                  </a:lnTo>
                  <a:lnTo>
                    <a:pt x="114" y="228"/>
                  </a:lnTo>
                  <a:lnTo>
                    <a:pt x="102" y="234"/>
                  </a:lnTo>
                  <a:lnTo>
                    <a:pt x="96" y="234"/>
                  </a:lnTo>
                  <a:lnTo>
                    <a:pt x="96" y="246"/>
                  </a:lnTo>
                  <a:lnTo>
                    <a:pt x="90" y="252"/>
                  </a:lnTo>
                  <a:lnTo>
                    <a:pt x="84" y="252"/>
                  </a:lnTo>
                  <a:lnTo>
                    <a:pt x="72" y="246"/>
                  </a:lnTo>
                  <a:lnTo>
                    <a:pt x="36" y="234"/>
                  </a:lnTo>
                  <a:lnTo>
                    <a:pt x="24" y="234"/>
                  </a:lnTo>
                  <a:lnTo>
                    <a:pt x="18" y="240"/>
                  </a:lnTo>
                  <a:lnTo>
                    <a:pt x="18" y="252"/>
                  </a:lnTo>
                  <a:lnTo>
                    <a:pt x="12" y="258"/>
                  </a:lnTo>
                  <a:lnTo>
                    <a:pt x="0" y="264"/>
                  </a:lnTo>
                  <a:lnTo>
                    <a:pt x="0" y="276"/>
                  </a:lnTo>
                  <a:lnTo>
                    <a:pt x="6" y="282"/>
                  </a:lnTo>
                  <a:lnTo>
                    <a:pt x="6" y="288"/>
                  </a:lnTo>
                  <a:lnTo>
                    <a:pt x="12" y="294"/>
                  </a:lnTo>
                  <a:lnTo>
                    <a:pt x="24" y="288"/>
                  </a:lnTo>
                  <a:lnTo>
                    <a:pt x="36" y="288"/>
                  </a:lnTo>
                  <a:lnTo>
                    <a:pt x="42" y="282"/>
                  </a:lnTo>
                  <a:lnTo>
                    <a:pt x="60" y="282"/>
                  </a:lnTo>
                  <a:lnTo>
                    <a:pt x="72" y="288"/>
                  </a:lnTo>
                  <a:lnTo>
                    <a:pt x="96" y="288"/>
                  </a:lnTo>
                  <a:lnTo>
                    <a:pt x="108" y="300"/>
                  </a:lnTo>
                  <a:lnTo>
                    <a:pt x="126" y="300"/>
                  </a:lnTo>
                  <a:lnTo>
                    <a:pt x="132" y="294"/>
                  </a:lnTo>
                  <a:lnTo>
                    <a:pt x="144" y="288"/>
                  </a:lnTo>
                  <a:lnTo>
                    <a:pt x="150" y="282"/>
                  </a:lnTo>
                  <a:lnTo>
                    <a:pt x="180" y="312"/>
                  </a:lnTo>
                  <a:lnTo>
                    <a:pt x="192" y="306"/>
                  </a:lnTo>
                  <a:lnTo>
                    <a:pt x="198" y="306"/>
                  </a:lnTo>
                  <a:lnTo>
                    <a:pt x="198" y="312"/>
                  </a:lnTo>
                  <a:lnTo>
                    <a:pt x="210" y="312"/>
                  </a:lnTo>
                  <a:lnTo>
                    <a:pt x="222" y="306"/>
                  </a:lnTo>
                  <a:lnTo>
                    <a:pt x="228" y="300"/>
                  </a:lnTo>
                  <a:lnTo>
                    <a:pt x="270" y="300"/>
                  </a:lnTo>
                  <a:lnTo>
                    <a:pt x="282" y="288"/>
                  </a:lnTo>
                  <a:lnTo>
                    <a:pt x="300" y="294"/>
                  </a:lnTo>
                  <a:lnTo>
                    <a:pt x="318" y="294"/>
                  </a:lnTo>
                  <a:lnTo>
                    <a:pt x="318" y="282"/>
                  </a:lnTo>
                  <a:lnTo>
                    <a:pt x="312" y="270"/>
                  </a:lnTo>
                  <a:lnTo>
                    <a:pt x="300" y="264"/>
                  </a:lnTo>
                  <a:lnTo>
                    <a:pt x="300" y="258"/>
                  </a:lnTo>
                  <a:lnTo>
                    <a:pt x="306" y="252"/>
                  </a:lnTo>
                  <a:lnTo>
                    <a:pt x="318" y="246"/>
                  </a:lnTo>
                  <a:lnTo>
                    <a:pt x="330" y="246"/>
                  </a:lnTo>
                  <a:lnTo>
                    <a:pt x="336" y="240"/>
                  </a:lnTo>
                  <a:lnTo>
                    <a:pt x="348" y="234"/>
                  </a:lnTo>
                  <a:lnTo>
                    <a:pt x="348" y="216"/>
                  </a:lnTo>
                  <a:lnTo>
                    <a:pt x="372" y="216"/>
                  </a:lnTo>
                  <a:lnTo>
                    <a:pt x="384" y="204"/>
                  </a:lnTo>
                  <a:lnTo>
                    <a:pt x="396" y="204"/>
                  </a:lnTo>
                  <a:lnTo>
                    <a:pt x="402" y="210"/>
                  </a:lnTo>
                  <a:lnTo>
                    <a:pt x="408" y="222"/>
                  </a:lnTo>
                  <a:lnTo>
                    <a:pt x="414" y="228"/>
                  </a:lnTo>
                  <a:lnTo>
                    <a:pt x="426" y="222"/>
                  </a:lnTo>
                  <a:lnTo>
                    <a:pt x="456" y="228"/>
                  </a:lnTo>
                  <a:lnTo>
                    <a:pt x="462" y="222"/>
                  </a:lnTo>
                  <a:lnTo>
                    <a:pt x="462" y="198"/>
                  </a:lnTo>
                  <a:lnTo>
                    <a:pt x="468" y="186"/>
                  </a:lnTo>
                  <a:lnTo>
                    <a:pt x="486" y="168"/>
                  </a:lnTo>
                  <a:lnTo>
                    <a:pt x="516" y="168"/>
                  </a:lnTo>
                  <a:lnTo>
                    <a:pt x="534" y="174"/>
                  </a:lnTo>
                  <a:lnTo>
                    <a:pt x="552" y="174"/>
                  </a:lnTo>
                  <a:lnTo>
                    <a:pt x="558" y="168"/>
                  </a:lnTo>
                  <a:lnTo>
                    <a:pt x="564" y="156"/>
                  </a:lnTo>
                  <a:lnTo>
                    <a:pt x="564" y="138"/>
                  </a:lnTo>
                  <a:lnTo>
                    <a:pt x="570" y="132"/>
                  </a:lnTo>
                  <a:lnTo>
                    <a:pt x="582" y="126"/>
                  </a:lnTo>
                  <a:lnTo>
                    <a:pt x="594" y="114"/>
                  </a:lnTo>
                  <a:lnTo>
                    <a:pt x="642" y="96"/>
                  </a:lnTo>
                  <a:lnTo>
                    <a:pt x="666" y="96"/>
                  </a:lnTo>
                  <a:lnTo>
                    <a:pt x="672" y="90"/>
                  </a:lnTo>
                  <a:lnTo>
                    <a:pt x="672" y="78"/>
                  </a:lnTo>
                  <a:lnTo>
                    <a:pt x="660" y="66"/>
                  </a:lnTo>
                  <a:lnTo>
                    <a:pt x="642" y="60"/>
                  </a:lnTo>
                  <a:lnTo>
                    <a:pt x="600" y="60"/>
                  </a:lnTo>
                  <a:lnTo>
                    <a:pt x="576" y="30"/>
                  </a:lnTo>
                  <a:lnTo>
                    <a:pt x="558" y="30"/>
                  </a:lnTo>
                  <a:lnTo>
                    <a:pt x="546" y="18"/>
                  </a:lnTo>
                  <a:lnTo>
                    <a:pt x="498" y="24"/>
                  </a:lnTo>
                  <a:lnTo>
                    <a:pt x="486" y="24"/>
                  </a:lnTo>
                  <a:lnTo>
                    <a:pt x="474" y="18"/>
                  </a:lnTo>
                  <a:lnTo>
                    <a:pt x="354" y="18"/>
                  </a:lnTo>
                  <a:lnTo>
                    <a:pt x="336" y="24"/>
                  </a:lnTo>
                  <a:lnTo>
                    <a:pt x="318" y="24"/>
                  </a:lnTo>
                  <a:lnTo>
                    <a:pt x="306" y="18"/>
                  </a:lnTo>
                  <a:lnTo>
                    <a:pt x="282" y="18"/>
                  </a:lnTo>
                  <a:lnTo>
                    <a:pt x="276" y="6"/>
                  </a:lnTo>
                  <a:lnTo>
                    <a:pt x="264" y="0"/>
                  </a:lnTo>
                  <a:lnTo>
                    <a:pt x="222" y="0"/>
                  </a:lnTo>
                  <a:lnTo>
                    <a:pt x="216" y="6"/>
                  </a:lnTo>
                  <a:lnTo>
                    <a:pt x="216" y="36"/>
                  </a:lnTo>
                  <a:lnTo>
                    <a:pt x="222" y="48"/>
                  </a:lnTo>
                  <a:lnTo>
                    <a:pt x="222" y="60"/>
                  </a:lnTo>
                  <a:lnTo>
                    <a:pt x="204" y="54"/>
                  </a:lnTo>
                  <a:lnTo>
                    <a:pt x="174" y="54"/>
                  </a:lnTo>
                  <a:lnTo>
                    <a:pt x="138" y="36"/>
                  </a:lnTo>
                  <a:lnTo>
                    <a:pt x="120" y="30"/>
                  </a:lnTo>
                  <a:lnTo>
                    <a:pt x="108" y="24"/>
                  </a:lnTo>
                  <a:lnTo>
                    <a:pt x="78" y="24"/>
                  </a:lnTo>
                  <a:lnTo>
                    <a:pt x="60" y="42"/>
                  </a:lnTo>
                  <a:lnTo>
                    <a:pt x="54" y="54"/>
                  </a:lnTo>
                  <a:lnTo>
                    <a:pt x="54" y="72"/>
                  </a:lnTo>
                  <a:lnTo>
                    <a:pt x="72" y="72"/>
                  </a:lnTo>
                  <a:lnTo>
                    <a:pt x="78" y="78"/>
                  </a:lnTo>
                  <a:lnTo>
                    <a:pt x="84" y="78"/>
                  </a:lnTo>
                  <a:lnTo>
                    <a:pt x="84" y="84"/>
                  </a:lnTo>
                  <a:lnTo>
                    <a:pt x="36" y="132"/>
                  </a:lnTo>
                  <a:close/>
                </a:path>
              </a:pathLst>
            </a:cu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2700000" scaled="1"/>
              <a:tileRect/>
            </a:gra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30" name="Kuwait" descr="© INSCALE GmbH, 05.05.2010&#10;http://www.presentationload.com/"/>
            <p:cNvSpPr>
              <a:spLocks/>
            </p:cNvSpPr>
            <p:nvPr/>
          </p:nvSpPr>
          <p:spPr bwMode="gray">
            <a:xfrm>
              <a:off x="5510218" y="3103562"/>
              <a:ext cx="55562" cy="49213"/>
            </a:xfrm>
            <a:custGeom>
              <a:avLst/>
              <a:gdLst>
                <a:gd name="T0" fmla="*/ 2147483647 w 138"/>
                <a:gd name="T1" fmla="*/ 0 h 120"/>
                <a:gd name="T2" fmla="*/ 2147483647 w 138"/>
                <a:gd name="T3" fmla="*/ 0 h 120"/>
                <a:gd name="T4" fmla="*/ 2147483647 w 138"/>
                <a:gd name="T5" fmla="*/ 2147483647 h 120"/>
                <a:gd name="T6" fmla="*/ 2147483647 w 138"/>
                <a:gd name="T7" fmla="*/ 2147483647 h 120"/>
                <a:gd name="T8" fmla="*/ 2147483647 w 138"/>
                <a:gd name="T9" fmla="*/ 2147483647 h 120"/>
                <a:gd name="T10" fmla="*/ 2147483647 w 138"/>
                <a:gd name="T11" fmla="*/ 2147483647 h 120"/>
                <a:gd name="T12" fmla="*/ 0 w 138"/>
                <a:gd name="T13" fmla="*/ 2147483647 h 120"/>
                <a:gd name="T14" fmla="*/ 2147483647 w 138"/>
                <a:gd name="T15" fmla="*/ 2147483647 h 120"/>
                <a:gd name="T16" fmla="*/ 2147483647 w 138"/>
                <a:gd name="T17" fmla="*/ 2147483647 h 120"/>
                <a:gd name="T18" fmla="*/ 2147483647 w 138"/>
                <a:gd name="T19" fmla="*/ 2147483647 h 120"/>
                <a:gd name="T20" fmla="*/ 2147483647 w 138"/>
                <a:gd name="T21" fmla="*/ 2147483647 h 120"/>
                <a:gd name="T22" fmla="*/ 2147483647 w 138"/>
                <a:gd name="T23" fmla="*/ 2147483647 h 120"/>
                <a:gd name="T24" fmla="*/ 2147483647 w 138"/>
                <a:gd name="T25" fmla="*/ 2147483647 h 120"/>
                <a:gd name="T26" fmla="*/ 2147483647 w 138"/>
                <a:gd name="T27" fmla="*/ 2147483647 h 120"/>
                <a:gd name="T28" fmla="*/ 2147483647 w 138"/>
                <a:gd name="T29" fmla="*/ 2147483647 h 120"/>
                <a:gd name="T30" fmla="*/ 2147483647 w 138"/>
                <a:gd name="T31" fmla="*/ 2147483647 h 120"/>
                <a:gd name="T32" fmla="*/ 2147483647 w 138"/>
                <a:gd name="T33" fmla="*/ 2147483647 h 120"/>
                <a:gd name="T34" fmla="*/ 2147483647 w 138"/>
                <a:gd name="T35" fmla="*/ 2147483647 h 120"/>
                <a:gd name="T36" fmla="*/ 2147483647 w 138"/>
                <a:gd name="T37" fmla="*/ 2147483647 h 120"/>
                <a:gd name="T38" fmla="*/ 2147483647 w 138"/>
                <a:gd name="T39" fmla="*/ 2147483647 h 120"/>
                <a:gd name="T40" fmla="*/ 2147483647 w 138"/>
                <a:gd name="T41" fmla="*/ 2147483647 h 120"/>
                <a:gd name="T42" fmla="*/ 2147483647 w 138"/>
                <a:gd name="T43" fmla="*/ 2147483647 h 120"/>
                <a:gd name="T44" fmla="*/ 2147483647 w 138"/>
                <a:gd name="T45" fmla="*/ 2147483647 h 120"/>
                <a:gd name="T46" fmla="*/ 2147483647 w 138"/>
                <a:gd name="T47" fmla="*/ 2147483647 h 120"/>
                <a:gd name="T48" fmla="*/ 2147483647 w 138"/>
                <a:gd name="T49" fmla="*/ 0 h 120"/>
                <a:gd name="T50" fmla="*/ 2147483647 w 138"/>
                <a:gd name="T51" fmla="*/ 0 h 1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8"/>
                <a:gd name="T79" fmla="*/ 0 h 120"/>
                <a:gd name="T80" fmla="*/ 138 w 138"/>
                <a:gd name="T81" fmla="*/ 120 h 1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8" h="120">
                  <a:moveTo>
                    <a:pt x="54" y="0"/>
                  </a:moveTo>
                  <a:lnTo>
                    <a:pt x="36" y="0"/>
                  </a:lnTo>
                  <a:lnTo>
                    <a:pt x="30" y="12"/>
                  </a:lnTo>
                  <a:lnTo>
                    <a:pt x="24" y="18"/>
                  </a:lnTo>
                  <a:lnTo>
                    <a:pt x="24" y="30"/>
                  </a:lnTo>
                  <a:lnTo>
                    <a:pt x="6" y="66"/>
                  </a:lnTo>
                  <a:lnTo>
                    <a:pt x="0" y="72"/>
                  </a:lnTo>
                  <a:lnTo>
                    <a:pt x="42" y="72"/>
                  </a:lnTo>
                  <a:lnTo>
                    <a:pt x="60" y="78"/>
                  </a:lnTo>
                  <a:lnTo>
                    <a:pt x="66" y="78"/>
                  </a:lnTo>
                  <a:lnTo>
                    <a:pt x="66" y="114"/>
                  </a:lnTo>
                  <a:lnTo>
                    <a:pt x="72" y="120"/>
                  </a:lnTo>
                  <a:lnTo>
                    <a:pt x="138" y="120"/>
                  </a:lnTo>
                  <a:lnTo>
                    <a:pt x="126" y="114"/>
                  </a:lnTo>
                  <a:lnTo>
                    <a:pt x="114" y="102"/>
                  </a:lnTo>
                  <a:lnTo>
                    <a:pt x="102" y="78"/>
                  </a:lnTo>
                  <a:lnTo>
                    <a:pt x="102" y="66"/>
                  </a:lnTo>
                  <a:lnTo>
                    <a:pt x="90" y="60"/>
                  </a:lnTo>
                  <a:lnTo>
                    <a:pt x="84" y="36"/>
                  </a:lnTo>
                  <a:lnTo>
                    <a:pt x="120" y="36"/>
                  </a:lnTo>
                  <a:lnTo>
                    <a:pt x="120" y="18"/>
                  </a:lnTo>
                  <a:lnTo>
                    <a:pt x="114" y="12"/>
                  </a:lnTo>
                  <a:lnTo>
                    <a:pt x="90" y="12"/>
                  </a:lnTo>
                  <a:lnTo>
                    <a:pt x="90" y="18"/>
                  </a:lnTo>
                  <a:lnTo>
                    <a:pt x="84" y="0"/>
                  </a:lnTo>
                  <a:lnTo>
                    <a:pt x="54" y="0"/>
                  </a:lnTo>
                  <a:close/>
                </a:path>
              </a:pathLst>
            </a:custGeom>
            <a:solidFill>
              <a:srgbClr val="FFC000"/>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31" name="Korea, South" descr="© INSCALE GmbH, 05.05.2010&#10;http://www.presentationload.com/"/>
            <p:cNvSpPr>
              <a:spLocks noEditPoints="1"/>
            </p:cNvSpPr>
            <p:nvPr/>
          </p:nvSpPr>
          <p:spPr bwMode="gray">
            <a:xfrm>
              <a:off x="7612070" y="2828926"/>
              <a:ext cx="109537" cy="171450"/>
            </a:xfrm>
            <a:custGeom>
              <a:avLst/>
              <a:gdLst>
                <a:gd name="T0" fmla="*/ 2147483647 w 276"/>
                <a:gd name="T1" fmla="*/ 2147483647 h 426"/>
                <a:gd name="T2" fmla="*/ 2147483647 w 276"/>
                <a:gd name="T3" fmla="*/ 2147483647 h 426"/>
                <a:gd name="T4" fmla="*/ 2147483647 w 276"/>
                <a:gd name="T5" fmla="*/ 2147483647 h 426"/>
                <a:gd name="T6" fmla="*/ 2147483647 w 276"/>
                <a:gd name="T7" fmla="*/ 2147483647 h 426"/>
                <a:gd name="T8" fmla="*/ 2147483647 w 276"/>
                <a:gd name="T9" fmla="*/ 2147483647 h 426"/>
                <a:gd name="T10" fmla="*/ 2147483647 w 276"/>
                <a:gd name="T11" fmla="*/ 2147483647 h 426"/>
                <a:gd name="T12" fmla="*/ 2147483647 w 276"/>
                <a:gd name="T13" fmla="*/ 2147483647 h 426"/>
                <a:gd name="T14" fmla="*/ 2147483647 w 276"/>
                <a:gd name="T15" fmla="*/ 2147483647 h 426"/>
                <a:gd name="T16" fmla="*/ 2147483647 w 276"/>
                <a:gd name="T17" fmla="*/ 2147483647 h 426"/>
                <a:gd name="T18" fmla="*/ 2147483647 w 276"/>
                <a:gd name="T19" fmla="*/ 2147483647 h 426"/>
                <a:gd name="T20" fmla="*/ 2147483647 w 276"/>
                <a:gd name="T21" fmla="*/ 2147483647 h 426"/>
                <a:gd name="T22" fmla="*/ 2147483647 w 276"/>
                <a:gd name="T23" fmla="*/ 2147483647 h 426"/>
                <a:gd name="T24" fmla="*/ 2147483647 w 276"/>
                <a:gd name="T25" fmla="*/ 0 h 426"/>
                <a:gd name="T26" fmla="*/ 2147483647 w 276"/>
                <a:gd name="T27" fmla="*/ 2147483647 h 426"/>
                <a:gd name="T28" fmla="*/ 2147483647 w 276"/>
                <a:gd name="T29" fmla="*/ 2147483647 h 426"/>
                <a:gd name="T30" fmla="*/ 2147483647 w 276"/>
                <a:gd name="T31" fmla="*/ 2147483647 h 426"/>
                <a:gd name="T32" fmla="*/ 2147483647 w 276"/>
                <a:gd name="T33" fmla="*/ 2147483647 h 426"/>
                <a:gd name="T34" fmla="*/ 0 w 276"/>
                <a:gd name="T35" fmla="*/ 2147483647 h 426"/>
                <a:gd name="T36" fmla="*/ 2147483647 w 276"/>
                <a:gd name="T37" fmla="*/ 2147483647 h 426"/>
                <a:gd name="T38" fmla="*/ 2147483647 w 276"/>
                <a:gd name="T39" fmla="*/ 2147483647 h 426"/>
                <a:gd name="T40" fmla="*/ 2147483647 w 276"/>
                <a:gd name="T41" fmla="*/ 2147483647 h 426"/>
                <a:gd name="T42" fmla="*/ 2147483647 w 276"/>
                <a:gd name="T43" fmla="*/ 2147483647 h 426"/>
                <a:gd name="T44" fmla="*/ 2147483647 w 276"/>
                <a:gd name="T45" fmla="*/ 2147483647 h 426"/>
                <a:gd name="T46" fmla="*/ 2147483647 w 276"/>
                <a:gd name="T47" fmla="*/ 2147483647 h 426"/>
                <a:gd name="T48" fmla="*/ 2147483647 w 276"/>
                <a:gd name="T49" fmla="*/ 2147483647 h 426"/>
                <a:gd name="T50" fmla="*/ 2147483647 w 276"/>
                <a:gd name="T51" fmla="*/ 2147483647 h 426"/>
                <a:gd name="T52" fmla="*/ 2147483647 w 276"/>
                <a:gd name="T53" fmla="*/ 2147483647 h 426"/>
                <a:gd name="T54" fmla="*/ 2147483647 w 276"/>
                <a:gd name="T55" fmla="*/ 2147483647 h 426"/>
                <a:gd name="T56" fmla="*/ 2147483647 w 276"/>
                <a:gd name="T57" fmla="*/ 2147483647 h 426"/>
                <a:gd name="T58" fmla="*/ 2147483647 w 276"/>
                <a:gd name="T59" fmla="*/ 2147483647 h 426"/>
                <a:gd name="T60" fmla="*/ 2147483647 w 276"/>
                <a:gd name="T61" fmla="*/ 2147483647 h 426"/>
                <a:gd name="T62" fmla="*/ 2147483647 w 276"/>
                <a:gd name="T63" fmla="*/ 2147483647 h 426"/>
                <a:gd name="T64" fmla="*/ 2147483647 w 276"/>
                <a:gd name="T65" fmla="*/ 2147483647 h 426"/>
                <a:gd name="T66" fmla="*/ 2147483647 w 276"/>
                <a:gd name="T67" fmla="*/ 2147483647 h 426"/>
                <a:gd name="T68" fmla="*/ 2147483647 w 276"/>
                <a:gd name="T69" fmla="*/ 2147483647 h 426"/>
                <a:gd name="T70" fmla="*/ 2147483647 w 276"/>
                <a:gd name="T71" fmla="*/ 2147483647 h 426"/>
                <a:gd name="T72" fmla="*/ 2147483647 w 276"/>
                <a:gd name="T73" fmla="*/ 2147483647 h 426"/>
                <a:gd name="T74" fmla="*/ 2147483647 w 276"/>
                <a:gd name="T75" fmla="*/ 2147483647 h 4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76"/>
                <a:gd name="T115" fmla="*/ 0 h 426"/>
                <a:gd name="T116" fmla="*/ 276 w 276"/>
                <a:gd name="T117" fmla="*/ 426 h 42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76" h="426">
                  <a:moveTo>
                    <a:pt x="150" y="402"/>
                  </a:moveTo>
                  <a:lnTo>
                    <a:pt x="132" y="408"/>
                  </a:lnTo>
                  <a:lnTo>
                    <a:pt x="126" y="414"/>
                  </a:lnTo>
                  <a:lnTo>
                    <a:pt x="138" y="426"/>
                  </a:lnTo>
                  <a:lnTo>
                    <a:pt x="162" y="426"/>
                  </a:lnTo>
                  <a:lnTo>
                    <a:pt x="174" y="414"/>
                  </a:lnTo>
                  <a:lnTo>
                    <a:pt x="174" y="408"/>
                  </a:lnTo>
                  <a:lnTo>
                    <a:pt x="168" y="402"/>
                  </a:lnTo>
                  <a:lnTo>
                    <a:pt x="150" y="402"/>
                  </a:lnTo>
                  <a:close/>
                  <a:moveTo>
                    <a:pt x="276" y="246"/>
                  </a:moveTo>
                  <a:lnTo>
                    <a:pt x="270" y="228"/>
                  </a:lnTo>
                  <a:lnTo>
                    <a:pt x="264" y="216"/>
                  </a:lnTo>
                  <a:lnTo>
                    <a:pt x="246" y="198"/>
                  </a:lnTo>
                  <a:lnTo>
                    <a:pt x="252" y="186"/>
                  </a:lnTo>
                  <a:lnTo>
                    <a:pt x="252" y="180"/>
                  </a:lnTo>
                  <a:lnTo>
                    <a:pt x="246" y="162"/>
                  </a:lnTo>
                  <a:lnTo>
                    <a:pt x="240" y="150"/>
                  </a:lnTo>
                  <a:lnTo>
                    <a:pt x="210" y="120"/>
                  </a:lnTo>
                  <a:lnTo>
                    <a:pt x="198" y="102"/>
                  </a:lnTo>
                  <a:lnTo>
                    <a:pt x="168" y="72"/>
                  </a:lnTo>
                  <a:lnTo>
                    <a:pt x="144" y="66"/>
                  </a:lnTo>
                  <a:lnTo>
                    <a:pt x="144" y="60"/>
                  </a:lnTo>
                  <a:lnTo>
                    <a:pt x="138" y="54"/>
                  </a:lnTo>
                  <a:lnTo>
                    <a:pt x="132" y="42"/>
                  </a:lnTo>
                  <a:lnTo>
                    <a:pt x="102" y="12"/>
                  </a:lnTo>
                  <a:lnTo>
                    <a:pt x="96" y="0"/>
                  </a:lnTo>
                  <a:lnTo>
                    <a:pt x="78" y="12"/>
                  </a:lnTo>
                  <a:lnTo>
                    <a:pt x="48" y="12"/>
                  </a:lnTo>
                  <a:lnTo>
                    <a:pt x="24" y="24"/>
                  </a:lnTo>
                  <a:lnTo>
                    <a:pt x="18" y="30"/>
                  </a:lnTo>
                  <a:lnTo>
                    <a:pt x="12" y="30"/>
                  </a:lnTo>
                  <a:lnTo>
                    <a:pt x="12" y="36"/>
                  </a:lnTo>
                  <a:lnTo>
                    <a:pt x="18" y="42"/>
                  </a:lnTo>
                  <a:lnTo>
                    <a:pt x="18" y="48"/>
                  </a:lnTo>
                  <a:lnTo>
                    <a:pt x="12" y="54"/>
                  </a:lnTo>
                  <a:lnTo>
                    <a:pt x="0" y="60"/>
                  </a:lnTo>
                  <a:lnTo>
                    <a:pt x="0" y="66"/>
                  </a:lnTo>
                  <a:lnTo>
                    <a:pt x="6" y="72"/>
                  </a:lnTo>
                  <a:lnTo>
                    <a:pt x="12" y="84"/>
                  </a:lnTo>
                  <a:lnTo>
                    <a:pt x="24" y="90"/>
                  </a:lnTo>
                  <a:lnTo>
                    <a:pt x="30" y="90"/>
                  </a:lnTo>
                  <a:lnTo>
                    <a:pt x="42" y="96"/>
                  </a:lnTo>
                  <a:lnTo>
                    <a:pt x="60" y="132"/>
                  </a:lnTo>
                  <a:lnTo>
                    <a:pt x="54" y="132"/>
                  </a:lnTo>
                  <a:lnTo>
                    <a:pt x="48" y="126"/>
                  </a:lnTo>
                  <a:lnTo>
                    <a:pt x="36" y="126"/>
                  </a:lnTo>
                  <a:lnTo>
                    <a:pt x="24" y="120"/>
                  </a:lnTo>
                  <a:lnTo>
                    <a:pt x="6" y="120"/>
                  </a:lnTo>
                  <a:lnTo>
                    <a:pt x="6" y="126"/>
                  </a:lnTo>
                  <a:lnTo>
                    <a:pt x="18" y="132"/>
                  </a:lnTo>
                  <a:lnTo>
                    <a:pt x="30" y="144"/>
                  </a:lnTo>
                  <a:lnTo>
                    <a:pt x="42" y="150"/>
                  </a:lnTo>
                  <a:lnTo>
                    <a:pt x="54" y="192"/>
                  </a:lnTo>
                  <a:lnTo>
                    <a:pt x="90" y="198"/>
                  </a:lnTo>
                  <a:lnTo>
                    <a:pt x="90" y="228"/>
                  </a:lnTo>
                  <a:lnTo>
                    <a:pt x="78" y="240"/>
                  </a:lnTo>
                  <a:lnTo>
                    <a:pt x="78" y="270"/>
                  </a:lnTo>
                  <a:lnTo>
                    <a:pt x="84" y="282"/>
                  </a:lnTo>
                  <a:lnTo>
                    <a:pt x="102" y="300"/>
                  </a:lnTo>
                  <a:lnTo>
                    <a:pt x="108" y="300"/>
                  </a:lnTo>
                  <a:lnTo>
                    <a:pt x="108" y="306"/>
                  </a:lnTo>
                  <a:lnTo>
                    <a:pt x="102" y="312"/>
                  </a:lnTo>
                  <a:lnTo>
                    <a:pt x="102" y="324"/>
                  </a:lnTo>
                  <a:lnTo>
                    <a:pt x="108" y="330"/>
                  </a:lnTo>
                  <a:lnTo>
                    <a:pt x="132" y="330"/>
                  </a:lnTo>
                  <a:lnTo>
                    <a:pt x="144" y="324"/>
                  </a:lnTo>
                  <a:lnTo>
                    <a:pt x="144" y="318"/>
                  </a:lnTo>
                  <a:lnTo>
                    <a:pt x="150" y="312"/>
                  </a:lnTo>
                  <a:lnTo>
                    <a:pt x="150" y="306"/>
                  </a:lnTo>
                  <a:lnTo>
                    <a:pt x="198" y="282"/>
                  </a:lnTo>
                  <a:lnTo>
                    <a:pt x="222" y="288"/>
                  </a:lnTo>
                  <a:lnTo>
                    <a:pt x="234" y="270"/>
                  </a:lnTo>
                  <a:lnTo>
                    <a:pt x="258" y="270"/>
                  </a:lnTo>
                  <a:lnTo>
                    <a:pt x="270" y="264"/>
                  </a:lnTo>
                  <a:lnTo>
                    <a:pt x="276" y="264"/>
                  </a:lnTo>
                  <a:lnTo>
                    <a:pt x="276" y="246"/>
                  </a:lnTo>
                  <a:close/>
                </a:path>
              </a:pathLst>
            </a:cu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2700000" scaled="1"/>
              <a:tileRect/>
            </a:gra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32" name="Korea, North" descr="© INSCALE GmbH, 05.05.2010&#10;http://www.presentationload.com/"/>
            <p:cNvSpPr>
              <a:spLocks/>
            </p:cNvSpPr>
            <p:nvPr/>
          </p:nvSpPr>
          <p:spPr bwMode="gray">
            <a:xfrm>
              <a:off x="7519994" y="2687638"/>
              <a:ext cx="131762" cy="168275"/>
            </a:xfrm>
            <a:custGeom>
              <a:avLst/>
              <a:gdLst>
                <a:gd name="T0" fmla="*/ 2147483647 w 330"/>
                <a:gd name="T1" fmla="*/ 0 h 420"/>
                <a:gd name="T2" fmla="*/ 2147483647 w 330"/>
                <a:gd name="T3" fmla="*/ 2147483647 h 420"/>
                <a:gd name="T4" fmla="*/ 2147483647 w 330"/>
                <a:gd name="T5" fmla="*/ 2147483647 h 420"/>
                <a:gd name="T6" fmla="*/ 2147483647 w 330"/>
                <a:gd name="T7" fmla="*/ 2147483647 h 420"/>
                <a:gd name="T8" fmla="*/ 2147483647 w 330"/>
                <a:gd name="T9" fmla="*/ 2147483647 h 420"/>
                <a:gd name="T10" fmla="*/ 2147483647 w 330"/>
                <a:gd name="T11" fmla="*/ 2147483647 h 420"/>
                <a:gd name="T12" fmla="*/ 2147483647 w 330"/>
                <a:gd name="T13" fmla="*/ 2147483647 h 420"/>
                <a:gd name="T14" fmla="*/ 2147483647 w 330"/>
                <a:gd name="T15" fmla="*/ 2147483647 h 420"/>
                <a:gd name="T16" fmla="*/ 2147483647 w 330"/>
                <a:gd name="T17" fmla="*/ 2147483647 h 420"/>
                <a:gd name="T18" fmla="*/ 2147483647 w 330"/>
                <a:gd name="T19" fmla="*/ 2147483647 h 420"/>
                <a:gd name="T20" fmla="*/ 2147483647 w 330"/>
                <a:gd name="T21" fmla="*/ 2147483647 h 420"/>
                <a:gd name="T22" fmla="*/ 2147483647 w 330"/>
                <a:gd name="T23" fmla="*/ 2147483647 h 420"/>
                <a:gd name="T24" fmla="*/ 2147483647 w 330"/>
                <a:gd name="T25" fmla="*/ 2147483647 h 420"/>
                <a:gd name="T26" fmla="*/ 2147483647 w 330"/>
                <a:gd name="T27" fmla="*/ 2147483647 h 420"/>
                <a:gd name="T28" fmla="*/ 2147483647 w 330"/>
                <a:gd name="T29" fmla="*/ 2147483647 h 420"/>
                <a:gd name="T30" fmla="*/ 2147483647 w 330"/>
                <a:gd name="T31" fmla="*/ 2147483647 h 420"/>
                <a:gd name="T32" fmla="*/ 2147483647 w 330"/>
                <a:gd name="T33" fmla="*/ 2147483647 h 420"/>
                <a:gd name="T34" fmla="*/ 2147483647 w 330"/>
                <a:gd name="T35" fmla="*/ 2147483647 h 420"/>
                <a:gd name="T36" fmla="*/ 2147483647 w 330"/>
                <a:gd name="T37" fmla="*/ 2147483647 h 420"/>
                <a:gd name="T38" fmla="*/ 2147483647 w 330"/>
                <a:gd name="T39" fmla="*/ 2147483647 h 420"/>
                <a:gd name="T40" fmla="*/ 2147483647 w 330"/>
                <a:gd name="T41" fmla="*/ 2147483647 h 420"/>
                <a:gd name="T42" fmla="*/ 2147483647 w 330"/>
                <a:gd name="T43" fmla="*/ 2147483647 h 420"/>
                <a:gd name="T44" fmla="*/ 2147483647 w 330"/>
                <a:gd name="T45" fmla="*/ 2147483647 h 420"/>
                <a:gd name="T46" fmla="*/ 2147483647 w 330"/>
                <a:gd name="T47" fmla="*/ 2147483647 h 420"/>
                <a:gd name="T48" fmla="*/ 2147483647 w 330"/>
                <a:gd name="T49" fmla="*/ 2147483647 h 420"/>
                <a:gd name="T50" fmla="*/ 2147483647 w 330"/>
                <a:gd name="T51" fmla="*/ 2147483647 h 420"/>
                <a:gd name="T52" fmla="*/ 2147483647 w 330"/>
                <a:gd name="T53" fmla="*/ 2147483647 h 420"/>
                <a:gd name="T54" fmla="*/ 2147483647 w 330"/>
                <a:gd name="T55" fmla="*/ 2147483647 h 420"/>
                <a:gd name="T56" fmla="*/ 2147483647 w 330"/>
                <a:gd name="T57" fmla="*/ 2147483647 h 420"/>
                <a:gd name="T58" fmla="*/ 2147483647 w 330"/>
                <a:gd name="T59" fmla="*/ 2147483647 h 420"/>
                <a:gd name="T60" fmla="*/ 2147483647 w 330"/>
                <a:gd name="T61" fmla="*/ 2147483647 h 420"/>
                <a:gd name="T62" fmla="*/ 2147483647 w 330"/>
                <a:gd name="T63" fmla="*/ 2147483647 h 420"/>
                <a:gd name="T64" fmla="*/ 2147483647 w 330"/>
                <a:gd name="T65" fmla="*/ 2147483647 h 420"/>
                <a:gd name="T66" fmla="*/ 2147483647 w 330"/>
                <a:gd name="T67" fmla="*/ 2147483647 h 420"/>
                <a:gd name="T68" fmla="*/ 2147483647 w 330"/>
                <a:gd name="T69" fmla="*/ 2147483647 h 420"/>
                <a:gd name="T70" fmla="*/ 2147483647 w 330"/>
                <a:gd name="T71" fmla="*/ 2147483647 h 420"/>
                <a:gd name="T72" fmla="*/ 2147483647 w 330"/>
                <a:gd name="T73" fmla="*/ 2147483647 h 420"/>
                <a:gd name="T74" fmla="*/ 2147483647 w 330"/>
                <a:gd name="T75" fmla="*/ 2147483647 h 420"/>
                <a:gd name="T76" fmla="*/ 2147483647 w 330"/>
                <a:gd name="T77" fmla="*/ 2147483647 h 420"/>
                <a:gd name="T78" fmla="*/ 2147483647 w 330"/>
                <a:gd name="T79" fmla="*/ 2147483647 h 420"/>
                <a:gd name="T80" fmla="*/ 2147483647 w 330"/>
                <a:gd name="T81" fmla="*/ 2147483647 h 420"/>
                <a:gd name="T82" fmla="*/ 2147483647 w 330"/>
                <a:gd name="T83" fmla="*/ 2147483647 h 420"/>
                <a:gd name="T84" fmla="*/ 2147483647 w 330"/>
                <a:gd name="T85" fmla="*/ 2147483647 h 420"/>
                <a:gd name="T86" fmla="*/ 2147483647 w 330"/>
                <a:gd name="T87" fmla="*/ 2147483647 h 420"/>
                <a:gd name="T88" fmla="*/ 2147483647 w 330"/>
                <a:gd name="T89" fmla="*/ 2147483647 h 420"/>
                <a:gd name="T90" fmla="*/ 2147483647 w 330"/>
                <a:gd name="T91" fmla="*/ 2147483647 h 420"/>
                <a:gd name="T92" fmla="*/ 2147483647 w 330"/>
                <a:gd name="T93" fmla="*/ 2147483647 h 420"/>
                <a:gd name="T94" fmla="*/ 2147483647 w 330"/>
                <a:gd name="T95" fmla="*/ 2147483647 h 420"/>
                <a:gd name="T96" fmla="*/ 2147483647 w 330"/>
                <a:gd name="T97" fmla="*/ 2147483647 h 420"/>
                <a:gd name="T98" fmla="*/ 2147483647 w 330"/>
                <a:gd name="T99" fmla="*/ 2147483647 h 420"/>
                <a:gd name="T100" fmla="*/ 2147483647 w 330"/>
                <a:gd name="T101" fmla="*/ 2147483647 h 420"/>
                <a:gd name="T102" fmla="*/ 2147483647 w 330"/>
                <a:gd name="T103" fmla="*/ 0 h 42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30"/>
                <a:gd name="T157" fmla="*/ 0 h 420"/>
                <a:gd name="T158" fmla="*/ 330 w 330"/>
                <a:gd name="T159" fmla="*/ 420 h 42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30" h="420">
                  <a:moveTo>
                    <a:pt x="270" y="0"/>
                  </a:moveTo>
                  <a:lnTo>
                    <a:pt x="240" y="0"/>
                  </a:lnTo>
                  <a:lnTo>
                    <a:pt x="240" y="6"/>
                  </a:lnTo>
                  <a:lnTo>
                    <a:pt x="246" y="12"/>
                  </a:lnTo>
                  <a:lnTo>
                    <a:pt x="252" y="24"/>
                  </a:lnTo>
                  <a:lnTo>
                    <a:pt x="252" y="42"/>
                  </a:lnTo>
                  <a:lnTo>
                    <a:pt x="228" y="42"/>
                  </a:lnTo>
                  <a:lnTo>
                    <a:pt x="234" y="54"/>
                  </a:lnTo>
                  <a:lnTo>
                    <a:pt x="234" y="60"/>
                  </a:lnTo>
                  <a:lnTo>
                    <a:pt x="228" y="72"/>
                  </a:lnTo>
                  <a:lnTo>
                    <a:pt x="216" y="78"/>
                  </a:lnTo>
                  <a:lnTo>
                    <a:pt x="204" y="72"/>
                  </a:lnTo>
                  <a:lnTo>
                    <a:pt x="180" y="72"/>
                  </a:lnTo>
                  <a:lnTo>
                    <a:pt x="174" y="66"/>
                  </a:lnTo>
                  <a:lnTo>
                    <a:pt x="168" y="72"/>
                  </a:lnTo>
                  <a:lnTo>
                    <a:pt x="168" y="84"/>
                  </a:lnTo>
                  <a:lnTo>
                    <a:pt x="192" y="108"/>
                  </a:lnTo>
                  <a:lnTo>
                    <a:pt x="198" y="108"/>
                  </a:lnTo>
                  <a:lnTo>
                    <a:pt x="198" y="120"/>
                  </a:lnTo>
                  <a:lnTo>
                    <a:pt x="150" y="120"/>
                  </a:lnTo>
                  <a:lnTo>
                    <a:pt x="138" y="114"/>
                  </a:lnTo>
                  <a:lnTo>
                    <a:pt x="126" y="114"/>
                  </a:lnTo>
                  <a:lnTo>
                    <a:pt x="114" y="102"/>
                  </a:lnTo>
                  <a:lnTo>
                    <a:pt x="102" y="96"/>
                  </a:lnTo>
                  <a:lnTo>
                    <a:pt x="90" y="96"/>
                  </a:lnTo>
                  <a:lnTo>
                    <a:pt x="90" y="102"/>
                  </a:lnTo>
                  <a:lnTo>
                    <a:pt x="84" y="108"/>
                  </a:lnTo>
                  <a:lnTo>
                    <a:pt x="84" y="138"/>
                  </a:lnTo>
                  <a:lnTo>
                    <a:pt x="66" y="174"/>
                  </a:lnTo>
                  <a:lnTo>
                    <a:pt x="54" y="186"/>
                  </a:lnTo>
                  <a:lnTo>
                    <a:pt x="18" y="204"/>
                  </a:lnTo>
                  <a:lnTo>
                    <a:pt x="12" y="216"/>
                  </a:lnTo>
                  <a:lnTo>
                    <a:pt x="6" y="222"/>
                  </a:lnTo>
                  <a:lnTo>
                    <a:pt x="6" y="234"/>
                  </a:lnTo>
                  <a:lnTo>
                    <a:pt x="0" y="246"/>
                  </a:lnTo>
                  <a:lnTo>
                    <a:pt x="12" y="228"/>
                  </a:lnTo>
                  <a:lnTo>
                    <a:pt x="18" y="246"/>
                  </a:lnTo>
                  <a:lnTo>
                    <a:pt x="36" y="270"/>
                  </a:lnTo>
                  <a:lnTo>
                    <a:pt x="48" y="252"/>
                  </a:lnTo>
                  <a:lnTo>
                    <a:pt x="54" y="258"/>
                  </a:lnTo>
                  <a:lnTo>
                    <a:pt x="60" y="270"/>
                  </a:lnTo>
                  <a:lnTo>
                    <a:pt x="96" y="270"/>
                  </a:lnTo>
                  <a:lnTo>
                    <a:pt x="96" y="282"/>
                  </a:lnTo>
                  <a:lnTo>
                    <a:pt x="102" y="294"/>
                  </a:lnTo>
                  <a:lnTo>
                    <a:pt x="102" y="336"/>
                  </a:lnTo>
                  <a:lnTo>
                    <a:pt x="138" y="336"/>
                  </a:lnTo>
                  <a:lnTo>
                    <a:pt x="144" y="348"/>
                  </a:lnTo>
                  <a:lnTo>
                    <a:pt x="132" y="342"/>
                  </a:lnTo>
                  <a:lnTo>
                    <a:pt x="108" y="342"/>
                  </a:lnTo>
                  <a:lnTo>
                    <a:pt x="102" y="348"/>
                  </a:lnTo>
                  <a:lnTo>
                    <a:pt x="102" y="360"/>
                  </a:lnTo>
                  <a:lnTo>
                    <a:pt x="108" y="378"/>
                  </a:lnTo>
                  <a:lnTo>
                    <a:pt x="114" y="384"/>
                  </a:lnTo>
                  <a:lnTo>
                    <a:pt x="126" y="408"/>
                  </a:lnTo>
                  <a:lnTo>
                    <a:pt x="156" y="396"/>
                  </a:lnTo>
                  <a:lnTo>
                    <a:pt x="162" y="402"/>
                  </a:lnTo>
                  <a:lnTo>
                    <a:pt x="174" y="408"/>
                  </a:lnTo>
                  <a:lnTo>
                    <a:pt x="180" y="414"/>
                  </a:lnTo>
                  <a:lnTo>
                    <a:pt x="192" y="420"/>
                  </a:lnTo>
                  <a:lnTo>
                    <a:pt x="198" y="420"/>
                  </a:lnTo>
                  <a:lnTo>
                    <a:pt x="216" y="414"/>
                  </a:lnTo>
                  <a:lnTo>
                    <a:pt x="228" y="414"/>
                  </a:lnTo>
                  <a:lnTo>
                    <a:pt x="240" y="408"/>
                  </a:lnTo>
                  <a:lnTo>
                    <a:pt x="246" y="402"/>
                  </a:lnTo>
                  <a:lnTo>
                    <a:pt x="246" y="396"/>
                  </a:lnTo>
                  <a:lnTo>
                    <a:pt x="240" y="390"/>
                  </a:lnTo>
                  <a:lnTo>
                    <a:pt x="240" y="384"/>
                  </a:lnTo>
                  <a:lnTo>
                    <a:pt x="246" y="384"/>
                  </a:lnTo>
                  <a:lnTo>
                    <a:pt x="252" y="378"/>
                  </a:lnTo>
                  <a:lnTo>
                    <a:pt x="276" y="366"/>
                  </a:lnTo>
                  <a:lnTo>
                    <a:pt x="306" y="366"/>
                  </a:lnTo>
                  <a:lnTo>
                    <a:pt x="324" y="354"/>
                  </a:lnTo>
                  <a:lnTo>
                    <a:pt x="312" y="342"/>
                  </a:lnTo>
                  <a:lnTo>
                    <a:pt x="312" y="336"/>
                  </a:lnTo>
                  <a:lnTo>
                    <a:pt x="264" y="312"/>
                  </a:lnTo>
                  <a:lnTo>
                    <a:pt x="240" y="312"/>
                  </a:lnTo>
                  <a:lnTo>
                    <a:pt x="240" y="300"/>
                  </a:lnTo>
                  <a:lnTo>
                    <a:pt x="246" y="288"/>
                  </a:lnTo>
                  <a:lnTo>
                    <a:pt x="252" y="282"/>
                  </a:lnTo>
                  <a:lnTo>
                    <a:pt x="246" y="276"/>
                  </a:lnTo>
                  <a:lnTo>
                    <a:pt x="234" y="270"/>
                  </a:lnTo>
                  <a:lnTo>
                    <a:pt x="228" y="264"/>
                  </a:lnTo>
                  <a:lnTo>
                    <a:pt x="228" y="252"/>
                  </a:lnTo>
                  <a:lnTo>
                    <a:pt x="240" y="246"/>
                  </a:lnTo>
                  <a:lnTo>
                    <a:pt x="246" y="240"/>
                  </a:lnTo>
                  <a:lnTo>
                    <a:pt x="258" y="234"/>
                  </a:lnTo>
                  <a:lnTo>
                    <a:pt x="270" y="234"/>
                  </a:lnTo>
                  <a:lnTo>
                    <a:pt x="276" y="228"/>
                  </a:lnTo>
                  <a:lnTo>
                    <a:pt x="288" y="204"/>
                  </a:lnTo>
                  <a:lnTo>
                    <a:pt x="288" y="192"/>
                  </a:lnTo>
                  <a:lnTo>
                    <a:pt x="294" y="186"/>
                  </a:lnTo>
                  <a:lnTo>
                    <a:pt x="300" y="174"/>
                  </a:lnTo>
                  <a:lnTo>
                    <a:pt x="324" y="162"/>
                  </a:lnTo>
                  <a:lnTo>
                    <a:pt x="312" y="132"/>
                  </a:lnTo>
                  <a:lnTo>
                    <a:pt x="306" y="126"/>
                  </a:lnTo>
                  <a:lnTo>
                    <a:pt x="294" y="102"/>
                  </a:lnTo>
                  <a:lnTo>
                    <a:pt x="294" y="90"/>
                  </a:lnTo>
                  <a:lnTo>
                    <a:pt x="306" y="66"/>
                  </a:lnTo>
                  <a:lnTo>
                    <a:pt x="318" y="60"/>
                  </a:lnTo>
                  <a:lnTo>
                    <a:pt x="324" y="54"/>
                  </a:lnTo>
                  <a:lnTo>
                    <a:pt x="330" y="54"/>
                  </a:lnTo>
                  <a:lnTo>
                    <a:pt x="312" y="36"/>
                  </a:lnTo>
                  <a:lnTo>
                    <a:pt x="288" y="24"/>
                  </a:lnTo>
                  <a:lnTo>
                    <a:pt x="270" y="0"/>
                  </a:lnTo>
                  <a:close/>
                </a:path>
              </a:pathLst>
            </a:cu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2700000" scaled="1"/>
              <a:tileRect/>
            </a:gra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33" name="Kenya" descr="© INSCALE GmbH, 05.05.2010&#10;http://www.presentationload.com/"/>
            <p:cNvSpPr>
              <a:spLocks/>
            </p:cNvSpPr>
            <p:nvPr/>
          </p:nvSpPr>
          <p:spPr bwMode="gray">
            <a:xfrm>
              <a:off x="5189543" y="3925887"/>
              <a:ext cx="225425" cy="306388"/>
            </a:xfrm>
            <a:custGeom>
              <a:avLst/>
              <a:gdLst>
                <a:gd name="T0" fmla="*/ 2147483647 w 564"/>
                <a:gd name="T1" fmla="*/ 2147483647 h 762"/>
                <a:gd name="T2" fmla="*/ 2147483647 w 564"/>
                <a:gd name="T3" fmla="*/ 2147483647 h 762"/>
                <a:gd name="T4" fmla="*/ 2147483647 w 564"/>
                <a:gd name="T5" fmla="*/ 2147483647 h 762"/>
                <a:gd name="T6" fmla="*/ 2147483647 w 564"/>
                <a:gd name="T7" fmla="*/ 2147483647 h 762"/>
                <a:gd name="T8" fmla="*/ 2147483647 w 564"/>
                <a:gd name="T9" fmla="*/ 2147483647 h 762"/>
                <a:gd name="T10" fmla="*/ 2147483647 w 564"/>
                <a:gd name="T11" fmla="*/ 2147483647 h 762"/>
                <a:gd name="T12" fmla="*/ 2147483647 w 564"/>
                <a:gd name="T13" fmla="*/ 2147483647 h 762"/>
                <a:gd name="T14" fmla="*/ 2147483647 w 564"/>
                <a:gd name="T15" fmla="*/ 2147483647 h 762"/>
                <a:gd name="T16" fmla="*/ 2147483647 w 564"/>
                <a:gd name="T17" fmla="*/ 2147483647 h 762"/>
                <a:gd name="T18" fmla="*/ 2147483647 w 564"/>
                <a:gd name="T19" fmla="*/ 2147483647 h 762"/>
                <a:gd name="T20" fmla="*/ 2147483647 w 564"/>
                <a:gd name="T21" fmla="*/ 2147483647 h 762"/>
                <a:gd name="T22" fmla="*/ 2147483647 w 564"/>
                <a:gd name="T23" fmla="*/ 2147483647 h 762"/>
                <a:gd name="T24" fmla="*/ 2147483647 w 564"/>
                <a:gd name="T25" fmla="*/ 0 h 762"/>
                <a:gd name="T26" fmla="*/ 2147483647 w 564"/>
                <a:gd name="T27" fmla="*/ 2147483647 h 762"/>
                <a:gd name="T28" fmla="*/ 2147483647 w 564"/>
                <a:gd name="T29" fmla="*/ 2147483647 h 762"/>
                <a:gd name="T30" fmla="*/ 2147483647 w 564"/>
                <a:gd name="T31" fmla="*/ 2147483647 h 762"/>
                <a:gd name="T32" fmla="*/ 2147483647 w 564"/>
                <a:gd name="T33" fmla="*/ 2147483647 h 762"/>
                <a:gd name="T34" fmla="*/ 2147483647 w 564"/>
                <a:gd name="T35" fmla="*/ 2147483647 h 762"/>
                <a:gd name="T36" fmla="*/ 2147483647 w 564"/>
                <a:gd name="T37" fmla="*/ 2147483647 h 762"/>
                <a:gd name="T38" fmla="*/ 2147483647 w 564"/>
                <a:gd name="T39" fmla="*/ 2147483647 h 762"/>
                <a:gd name="T40" fmla="*/ 2147483647 w 564"/>
                <a:gd name="T41" fmla="*/ 2147483647 h 762"/>
                <a:gd name="T42" fmla="*/ 2147483647 w 564"/>
                <a:gd name="T43" fmla="*/ 2147483647 h 762"/>
                <a:gd name="T44" fmla="*/ 2147483647 w 564"/>
                <a:gd name="T45" fmla="*/ 2147483647 h 762"/>
                <a:gd name="T46" fmla="*/ 2147483647 w 564"/>
                <a:gd name="T47" fmla="*/ 2147483647 h 762"/>
                <a:gd name="T48" fmla="*/ 2147483647 w 564"/>
                <a:gd name="T49" fmla="*/ 2147483647 h 762"/>
                <a:gd name="T50" fmla="*/ 2147483647 w 564"/>
                <a:gd name="T51" fmla="*/ 2147483647 h 762"/>
                <a:gd name="T52" fmla="*/ 2147483647 w 564"/>
                <a:gd name="T53" fmla="*/ 2147483647 h 762"/>
                <a:gd name="T54" fmla="*/ 2147483647 w 564"/>
                <a:gd name="T55" fmla="*/ 2147483647 h 762"/>
                <a:gd name="T56" fmla="*/ 2147483647 w 564"/>
                <a:gd name="T57" fmla="*/ 2147483647 h 762"/>
                <a:gd name="T58" fmla="*/ 0 w 564"/>
                <a:gd name="T59" fmla="*/ 2147483647 h 762"/>
                <a:gd name="T60" fmla="*/ 2147483647 w 564"/>
                <a:gd name="T61" fmla="*/ 2147483647 h 762"/>
                <a:gd name="T62" fmla="*/ 2147483647 w 564"/>
                <a:gd name="T63" fmla="*/ 2147483647 h 762"/>
                <a:gd name="T64" fmla="*/ 2147483647 w 564"/>
                <a:gd name="T65" fmla="*/ 2147483647 h 762"/>
                <a:gd name="T66" fmla="*/ 2147483647 w 564"/>
                <a:gd name="T67" fmla="*/ 2147483647 h 762"/>
                <a:gd name="T68" fmla="*/ 2147483647 w 564"/>
                <a:gd name="T69" fmla="*/ 2147483647 h 762"/>
                <a:gd name="T70" fmla="*/ 0 w 564"/>
                <a:gd name="T71" fmla="*/ 2147483647 h 762"/>
                <a:gd name="T72" fmla="*/ 2147483647 w 564"/>
                <a:gd name="T73" fmla="*/ 2147483647 h 762"/>
                <a:gd name="T74" fmla="*/ 2147483647 w 564"/>
                <a:gd name="T75" fmla="*/ 2147483647 h 762"/>
                <a:gd name="T76" fmla="*/ 2147483647 w 564"/>
                <a:gd name="T77" fmla="*/ 2147483647 h 762"/>
                <a:gd name="T78" fmla="*/ 2147483647 w 564"/>
                <a:gd name="T79" fmla="*/ 2147483647 h 762"/>
                <a:gd name="T80" fmla="*/ 2147483647 w 564"/>
                <a:gd name="T81" fmla="*/ 2147483647 h 762"/>
                <a:gd name="T82" fmla="*/ 2147483647 w 564"/>
                <a:gd name="T83" fmla="*/ 2147483647 h 762"/>
                <a:gd name="T84" fmla="*/ 2147483647 w 564"/>
                <a:gd name="T85" fmla="*/ 2147483647 h 762"/>
                <a:gd name="T86" fmla="*/ 2147483647 w 564"/>
                <a:gd name="T87" fmla="*/ 2147483647 h 762"/>
                <a:gd name="T88" fmla="*/ 2147483647 w 564"/>
                <a:gd name="T89" fmla="*/ 2147483647 h 762"/>
                <a:gd name="T90" fmla="*/ 2147483647 w 564"/>
                <a:gd name="T91" fmla="*/ 2147483647 h 762"/>
                <a:gd name="T92" fmla="*/ 2147483647 w 564"/>
                <a:gd name="T93" fmla="*/ 2147483647 h 762"/>
                <a:gd name="T94" fmla="*/ 2147483647 w 564"/>
                <a:gd name="T95" fmla="*/ 2147483647 h 762"/>
                <a:gd name="T96" fmla="*/ 2147483647 w 564"/>
                <a:gd name="T97" fmla="*/ 2147483647 h 762"/>
                <a:gd name="T98" fmla="*/ 2147483647 w 564"/>
                <a:gd name="T99" fmla="*/ 2147483647 h 762"/>
                <a:gd name="T100" fmla="*/ 2147483647 w 564"/>
                <a:gd name="T101" fmla="*/ 2147483647 h 76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64"/>
                <a:gd name="T154" fmla="*/ 0 h 762"/>
                <a:gd name="T155" fmla="*/ 564 w 564"/>
                <a:gd name="T156" fmla="*/ 762 h 76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64" h="762">
                  <a:moveTo>
                    <a:pt x="498" y="150"/>
                  </a:moveTo>
                  <a:lnTo>
                    <a:pt x="540" y="108"/>
                  </a:lnTo>
                  <a:lnTo>
                    <a:pt x="558" y="72"/>
                  </a:lnTo>
                  <a:lnTo>
                    <a:pt x="564" y="66"/>
                  </a:lnTo>
                  <a:lnTo>
                    <a:pt x="564" y="60"/>
                  </a:lnTo>
                  <a:lnTo>
                    <a:pt x="540" y="54"/>
                  </a:lnTo>
                  <a:lnTo>
                    <a:pt x="534" y="60"/>
                  </a:lnTo>
                  <a:lnTo>
                    <a:pt x="504" y="60"/>
                  </a:lnTo>
                  <a:lnTo>
                    <a:pt x="480" y="30"/>
                  </a:lnTo>
                  <a:lnTo>
                    <a:pt x="462" y="48"/>
                  </a:lnTo>
                  <a:lnTo>
                    <a:pt x="456" y="48"/>
                  </a:lnTo>
                  <a:lnTo>
                    <a:pt x="450" y="54"/>
                  </a:lnTo>
                  <a:lnTo>
                    <a:pt x="438" y="60"/>
                  </a:lnTo>
                  <a:lnTo>
                    <a:pt x="426" y="60"/>
                  </a:lnTo>
                  <a:lnTo>
                    <a:pt x="414" y="72"/>
                  </a:lnTo>
                  <a:lnTo>
                    <a:pt x="414" y="84"/>
                  </a:lnTo>
                  <a:lnTo>
                    <a:pt x="390" y="102"/>
                  </a:lnTo>
                  <a:lnTo>
                    <a:pt x="378" y="96"/>
                  </a:lnTo>
                  <a:lnTo>
                    <a:pt x="372" y="96"/>
                  </a:lnTo>
                  <a:lnTo>
                    <a:pt x="360" y="90"/>
                  </a:lnTo>
                  <a:lnTo>
                    <a:pt x="330" y="90"/>
                  </a:lnTo>
                  <a:lnTo>
                    <a:pt x="318" y="84"/>
                  </a:lnTo>
                  <a:lnTo>
                    <a:pt x="288" y="84"/>
                  </a:lnTo>
                  <a:lnTo>
                    <a:pt x="210" y="24"/>
                  </a:lnTo>
                  <a:lnTo>
                    <a:pt x="138" y="18"/>
                  </a:lnTo>
                  <a:lnTo>
                    <a:pt x="132" y="0"/>
                  </a:lnTo>
                  <a:lnTo>
                    <a:pt x="108" y="12"/>
                  </a:lnTo>
                  <a:lnTo>
                    <a:pt x="18" y="12"/>
                  </a:lnTo>
                  <a:lnTo>
                    <a:pt x="0" y="42"/>
                  </a:lnTo>
                  <a:lnTo>
                    <a:pt x="6" y="48"/>
                  </a:lnTo>
                  <a:lnTo>
                    <a:pt x="12" y="60"/>
                  </a:lnTo>
                  <a:lnTo>
                    <a:pt x="12" y="84"/>
                  </a:lnTo>
                  <a:lnTo>
                    <a:pt x="18" y="84"/>
                  </a:lnTo>
                  <a:lnTo>
                    <a:pt x="24" y="90"/>
                  </a:lnTo>
                  <a:lnTo>
                    <a:pt x="24" y="84"/>
                  </a:lnTo>
                  <a:lnTo>
                    <a:pt x="30" y="84"/>
                  </a:lnTo>
                  <a:lnTo>
                    <a:pt x="30" y="96"/>
                  </a:lnTo>
                  <a:lnTo>
                    <a:pt x="24" y="102"/>
                  </a:lnTo>
                  <a:lnTo>
                    <a:pt x="24" y="108"/>
                  </a:lnTo>
                  <a:lnTo>
                    <a:pt x="42" y="126"/>
                  </a:lnTo>
                  <a:lnTo>
                    <a:pt x="36" y="132"/>
                  </a:lnTo>
                  <a:lnTo>
                    <a:pt x="72" y="174"/>
                  </a:lnTo>
                  <a:lnTo>
                    <a:pt x="66" y="180"/>
                  </a:lnTo>
                  <a:lnTo>
                    <a:pt x="60" y="180"/>
                  </a:lnTo>
                  <a:lnTo>
                    <a:pt x="54" y="186"/>
                  </a:lnTo>
                  <a:lnTo>
                    <a:pt x="54" y="192"/>
                  </a:lnTo>
                  <a:lnTo>
                    <a:pt x="66" y="216"/>
                  </a:lnTo>
                  <a:lnTo>
                    <a:pt x="72" y="222"/>
                  </a:lnTo>
                  <a:lnTo>
                    <a:pt x="78" y="234"/>
                  </a:lnTo>
                  <a:lnTo>
                    <a:pt x="78" y="246"/>
                  </a:lnTo>
                  <a:lnTo>
                    <a:pt x="66" y="258"/>
                  </a:lnTo>
                  <a:lnTo>
                    <a:pt x="60" y="282"/>
                  </a:lnTo>
                  <a:lnTo>
                    <a:pt x="42" y="282"/>
                  </a:lnTo>
                  <a:lnTo>
                    <a:pt x="36" y="288"/>
                  </a:lnTo>
                  <a:lnTo>
                    <a:pt x="36" y="312"/>
                  </a:lnTo>
                  <a:lnTo>
                    <a:pt x="18" y="324"/>
                  </a:lnTo>
                  <a:lnTo>
                    <a:pt x="12" y="342"/>
                  </a:lnTo>
                  <a:lnTo>
                    <a:pt x="6" y="348"/>
                  </a:lnTo>
                  <a:lnTo>
                    <a:pt x="0" y="360"/>
                  </a:lnTo>
                  <a:lnTo>
                    <a:pt x="0" y="384"/>
                  </a:lnTo>
                  <a:lnTo>
                    <a:pt x="18" y="402"/>
                  </a:lnTo>
                  <a:lnTo>
                    <a:pt x="30" y="402"/>
                  </a:lnTo>
                  <a:lnTo>
                    <a:pt x="30" y="390"/>
                  </a:lnTo>
                  <a:lnTo>
                    <a:pt x="54" y="390"/>
                  </a:lnTo>
                  <a:lnTo>
                    <a:pt x="60" y="408"/>
                  </a:lnTo>
                  <a:lnTo>
                    <a:pt x="42" y="408"/>
                  </a:lnTo>
                  <a:lnTo>
                    <a:pt x="30" y="420"/>
                  </a:lnTo>
                  <a:lnTo>
                    <a:pt x="24" y="414"/>
                  </a:lnTo>
                  <a:lnTo>
                    <a:pt x="18" y="414"/>
                  </a:lnTo>
                  <a:lnTo>
                    <a:pt x="6" y="420"/>
                  </a:lnTo>
                  <a:lnTo>
                    <a:pt x="0" y="432"/>
                  </a:lnTo>
                  <a:lnTo>
                    <a:pt x="0" y="438"/>
                  </a:lnTo>
                  <a:lnTo>
                    <a:pt x="12" y="450"/>
                  </a:lnTo>
                  <a:lnTo>
                    <a:pt x="6" y="468"/>
                  </a:lnTo>
                  <a:lnTo>
                    <a:pt x="258" y="624"/>
                  </a:lnTo>
                  <a:lnTo>
                    <a:pt x="270" y="636"/>
                  </a:lnTo>
                  <a:lnTo>
                    <a:pt x="270" y="642"/>
                  </a:lnTo>
                  <a:lnTo>
                    <a:pt x="264" y="648"/>
                  </a:lnTo>
                  <a:lnTo>
                    <a:pt x="258" y="648"/>
                  </a:lnTo>
                  <a:lnTo>
                    <a:pt x="252" y="654"/>
                  </a:lnTo>
                  <a:lnTo>
                    <a:pt x="366" y="762"/>
                  </a:lnTo>
                  <a:lnTo>
                    <a:pt x="384" y="756"/>
                  </a:lnTo>
                  <a:lnTo>
                    <a:pt x="414" y="690"/>
                  </a:lnTo>
                  <a:lnTo>
                    <a:pt x="414" y="660"/>
                  </a:lnTo>
                  <a:lnTo>
                    <a:pt x="426" y="648"/>
                  </a:lnTo>
                  <a:lnTo>
                    <a:pt x="432" y="648"/>
                  </a:lnTo>
                  <a:lnTo>
                    <a:pt x="444" y="636"/>
                  </a:lnTo>
                  <a:lnTo>
                    <a:pt x="444" y="624"/>
                  </a:lnTo>
                  <a:lnTo>
                    <a:pt x="438" y="618"/>
                  </a:lnTo>
                  <a:lnTo>
                    <a:pt x="438" y="600"/>
                  </a:lnTo>
                  <a:lnTo>
                    <a:pt x="444" y="594"/>
                  </a:lnTo>
                  <a:lnTo>
                    <a:pt x="456" y="588"/>
                  </a:lnTo>
                  <a:lnTo>
                    <a:pt x="468" y="588"/>
                  </a:lnTo>
                  <a:lnTo>
                    <a:pt x="474" y="582"/>
                  </a:lnTo>
                  <a:lnTo>
                    <a:pt x="480" y="582"/>
                  </a:lnTo>
                  <a:lnTo>
                    <a:pt x="486" y="540"/>
                  </a:lnTo>
                  <a:lnTo>
                    <a:pt x="516" y="540"/>
                  </a:lnTo>
                  <a:lnTo>
                    <a:pt x="528" y="534"/>
                  </a:lnTo>
                  <a:lnTo>
                    <a:pt x="534" y="522"/>
                  </a:lnTo>
                  <a:lnTo>
                    <a:pt x="540" y="516"/>
                  </a:lnTo>
                  <a:lnTo>
                    <a:pt x="498" y="450"/>
                  </a:lnTo>
                  <a:lnTo>
                    <a:pt x="498" y="150"/>
                  </a:lnTo>
                  <a:close/>
                </a:path>
              </a:pathLst>
            </a:custGeom>
            <a:solidFill>
              <a:srgbClr val="692864"/>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34" name="Kazakhstan" descr="© INSCALE GmbH, 05.05.2010&#10;http://www.presentationload.com/"/>
            <p:cNvSpPr>
              <a:spLocks noEditPoints="1"/>
            </p:cNvSpPr>
            <p:nvPr/>
          </p:nvSpPr>
          <p:spPr bwMode="gray">
            <a:xfrm>
              <a:off x="5419730" y="2295527"/>
              <a:ext cx="1012826" cy="468312"/>
            </a:xfrm>
            <a:custGeom>
              <a:avLst/>
              <a:gdLst>
                <a:gd name="T0" fmla="*/ 2147483647 w 2514"/>
                <a:gd name="T1" fmla="*/ 2147483647 h 1164"/>
                <a:gd name="T2" fmla="*/ 2147483647 w 2514"/>
                <a:gd name="T3" fmla="*/ 2147483647 h 1164"/>
                <a:gd name="T4" fmla="*/ 2147483647 w 2514"/>
                <a:gd name="T5" fmla="*/ 2147483647 h 1164"/>
                <a:gd name="T6" fmla="*/ 2147483647 w 2514"/>
                <a:gd name="T7" fmla="*/ 2147483647 h 1164"/>
                <a:gd name="T8" fmla="*/ 2147483647 w 2514"/>
                <a:gd name="T9" fmla="*/ 2147483647 h 1164"/>
                <a:gd name="T10" fmla="*/ 2147483647 w 2514"/>
                <a:gd name="T11" fmla="*/ 2147483647 h 1164"/>
                <a:gd name="T12" fmla="*/ 2147483647 w 2514"/>
                <a:gd name="T13" fmla="*/ 2147483647 h 1164"/>
                <a:gd name="T14" fmla="*/ 2147483647 w 2514"/>
                <a:gd name="T15" fmla="*/ 2147483647 h 1164"/>
                <a:gd name="T16" fmla="*/ 2147483647 w 2514"/>
                <a:gd name="T17" fmla="*/ 2147483647 h 1164"/>
                <a:gd name="T18" fmla="*/ 2147483647 w 2514"/>
                <a:gd name="T19" fmla="*/ 2147483647 h 1164"/>
                <a:gd name="T20" fmla="*/ 2147483647 w 2514"/>
                <a:gd name="T21" fmla="*/ 2147483647 h 1164"/>
                <a:gd name="T22" fmla="*/ 2147483647 w 2514"/>
                <a:gd name="T23" fmla="*/ 2147483647 h 1164"/>
                <a:gd name="T24" fmla="*/ 2147483647 w 2514"/>
                <a:gd name="T25" fmla="*/ 2147483647 h 1164"/>
                <a:gd name="T26" fmla="*/ 2147483647 w 2514"/>
                <a:gd name="T27" fmla="*/ 2147483647 h 1164"/>
                <a:gd name="T28" fmla="*/ 2147483647 w 2514"/>
                <a:gd name="T29" fmla="*/ 2147483647 h 1164"/>
                <a:gd name="T30" fmla="*/ 2147483647 w 2514"/>
                <a:gd name="T31" fmla="*/ 2147483647 h 1164"/>
                <a:gd name="T32" fmla="*/ 2147483647 w 2514"/>
                <a:gd name="T33" fmla="*/ 2147483647 h 1164"/>
                <a:gd name="T34" fmla="*/ 2147483647 w 2514"/>
                <a:gd name="T35" fmla="*/ 2147483647 h 1164"/>
                <a:gd name="T36" fmla="*/ 2147483647 w 2514"/>
                <a:gd name="T37" fmla="*/ 2147483647 h 1164"/>
                <a:gd name="T38" fmla="*/ 2147483647 w 2514"/>
                <a:gd name="T39" fmla="*/ 2147483647 h 1164"/>
                <a:gd name="T40" fmla="*/ 2147483647 w 2514"/>
                <a:gd name="T41" fmla="*/ 2147483647 h 1164"/>
                <a:gd name="T42" fmla="*/ 2147483647 w 2514"/>
                <a:gd name="T43" fmla="*/ 2147483647 h 1164"/>
                <a:gd name="T44" fmla="*/ 2147483647 w 2514"/>
                <a:gd name="T45" fmla="*/ 2147483647 h 1164"/>
                <a:gd name="T46" fmla="*/ 2147483647 w 2514"/>
                <a:gd name="T47" fmla="*/ 2147483647 h 1164"/>
                <a:gd name="T48" fmla="*/ 2147483647 w 2514"/>
                <a:gd name="T49" fmla="*/ 2147483647 h 1164"/>
                <a:gd name="T50" fmla="*/ 2147483647 w 2514"/>
                <a:gd name="T51" fmla="*/ 2147483647 h 1164"/>
                <a:gd name="T52" fmla="*/ 2147483647 w 2514"/>
                <a:gd name="T53" fmla="*/ 2147483647 h 1164"/>
                <a:gd name="T54" fmla="*/ 2147483647 w 2514"/>
                <a:gd name="T55" fmla="*/ 2147483647 h 1164"/>
                <a:gd name="T56" fmla="*/ 2147483647 w 2514"/>
                <a:gd name="T57" fmla="*/ 2147483647 h 1164"/>
                <a:gd name="T58" fmla="*/ 2147483647 w 2514"/>
                <a:gd name="T59" fmla="*/ 2147483647 h 1164"/>
                <a:gd name="T60" fmla="*/ 2147483647 w 2514"/>
                <a:gd name="T61" fmla="*/ 2147483647 h 1164"/>
                <a:gd name="T62" fmla="*/ 2147483647 w 2514"/>
                <a:gd name="T63" fmla="*/ 2147483647 h 1164"/>
                <a:gd name="T64" fmla="*/ 2147483647 w 2514"/>
                <a:gd name="T65" fmla="*/ 2147483647 h 1164"/>
                <a:gd name="T66" fmla="*/ 2147483647 w 2514"/>
                <a:gd name="T67" fmla="*/ 2147483647 h 1164"/>
                <a:gd name="T68" fmla="*/ 2147483647 w 2514"/>
                <a:gd name="T69" fmla="*/ 2147483647 h 1164"/>
                <a:gd name="T70" fmla="*/ 2147483647 w 2514"/>
                <a:gd name="T71" fmla="*/ 2147483647 h 1164"/>
                <a:gd name="T72" fmla="*/ 2147483647 w 2514"/>
                <a:gd name="T73" fmla="*/ 2147483647 h 1164"/>
                <a:gd name="T74" fmla="*/ 2147483647 w 2514"/>
                <a:gd name="T75" fmla="*/ 2147483647 h 1164"/>
                <a:gd name="T76" fmla="*/ 2147483647 w 2514"/>
                <a:gd name="T77" fmla="*/ 2147483647 h 1164"/>
                <a:gd name="T78" fmla="*/ 2147483647 w 2514"/>
                <a:gd name="T79" fmla="*/ 2147483647 h 1164"/>
                <a:gd name="T80" fmla="*/ 2147483647 w 2514"/>
                <a:gd name="T81" fmla="*/ 2147483647 h 1164"/>
                <a:gd name="T82" fmla="*/ 2147483647 w 2514"/>
                <a:gd name="T83" fmla="*/ 2147483647 h 1164"/>
                <a:gd name="T84" fmla="*/ 2147483647 w 2514"/>
                <a:gd name="T85" fmla="*/ 2147483647 h 1164"/>
                <a:gd name="T86" fmla="*/ 2147483647 w 2514"/>
                <a:gd name="T87" fmla="*/ 2147483647 h 1164"/>
                <a:gd name="T88" fmla="*/ 2147483647 w 2514"/>
                <a:gd name="T89" fmla="*/ 2147483647 h 1164"/>
                <a:gd name="T90" fmla="*/ 2147483647 w 2514"/>
                <a:gd name="T91" fmla="*/ 2147483647 h 1164"/>
                <a:gd name="T92" fmla="*/ 2147483647 w 2514"/>
                <a:gd name="T93" fmla="*/ 2147483647 h 1164"/>
                <a:gd name="T94" fmla="*/ 2147483647 w 2514"/>
                <a:gd name="T95" fmla="*/ 2147483647 h 1164"/>
                <a:gd name="T96" fmla="*/ 2147483647 w 2514"/>
                <a:gd name="T97" fmla="*/ 2147483647 h 1164"/>
                <a:gd name="T98" fmla="*/ 2147483647 w 2514"/>
                <a:gd name="T99" fmla="*/ 2147483647 h 1164"/>
                <a:gd name="T100" fmla="*/ 2147483647 w 2514"/>
                <a:gd name="T101" fmla="*/ 2147483647 h 1164"/>
                <a:gd name="T102" fmla="*/ 2147483647 w 2514"/>
                <a:gd name="T103" fmla="*/ 2147483647 h 1164"/>
                <a:gd name="T104" fmla="*/ 2147483647 w 2514"/>
                <a:gd name="T105" fmla="*/ 2147483647 h 1164"/>
                <a:gd name="T106" fmla="*/ 2147483647 w 2514"/>
                <a:gd name="T107" fmla="*/ 2147483647 h 1164"/>
                <a:gd name="T108" fmla="*/ 2147483647 w 2514"/>
                <a:gd name="T109" fmla="*/ 2147483647 h 1164"/>
                <a:gd name="T110" fmla="*/ 2147483647 w 2514"/>
                <a:gd name="T111" fmla="*/ 2147483647 h 1164"/>
                <a:gd name="T112" fmla="*/ 2147483647 w 2514"/>
                <a:gd name="T113" fmla="*/ 2147483647 h 1164"/>
                <a:gd name="T114" fmla="*/ 2147483647 w 2514"/>
                <a:gd name="T115" fmla="*/ 2147483647 h 1164"/>
                <a:gd name="T116" fmla="*/ 2147483647 w 2514"/>
                <a:gd name="T117" fmla="*/ 2147483647 h 1164"/>
                <a:gd name="T118" fmla="*/ 2147483647 w 2514"/>
                <a:gd name="T119" fmla="*/ 2147483647 h 1164"/>
                <a:gd name="T120" fmla="*/ 2147483647 w 2514"/>
                <a:gd name="T121" fmla="*/ 2147483647 h 1164"/>
                <a:gd name="T122" fmla="*/ 2147483647 w 2514"/>
                <a:gd name="T123" fmla="*/ 2147483647 h 11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514"/>
                <a:gd name="T187" fmla="*/ 0 h 1164"/>
                <a:gd name="T188" fmla="*/ 2514 w 2514"/>
                <a:gd name="T189" fmla="*/ 1164 h 116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514" h="1164">
                  <a:moveTo>
                    <a:pt x="852" y="756"/>
                  </a:moveTo>
                  <a:lnTo>
                    <a:pt x="840" y="744"/>
                  </a:lnTo>
                  <a:lnTo>
                    <a:pt x="822" y="768"/>
                  </a:lnTo>
                  <a:lnTo>
                    <a:pt x="816" y="780"/>
                  </a:lnTo>
                  <a:lnTo>
                    <a:pt x="870" y="804"/>
                  </a:lnTo>
                  <a:lnTo>
                    <a:pt x="870" y="786"/>
                  </a:lnTo>
                  <a:lnTo>
                    <a:pt x="864" y="780"/>
                  </a:lnTo>
                  <a:lnTo>
                    <a:pt x="858" y="768"/>
                  </a:lnTo>
                  <a:lnTo>
                    <a:pt x="858" y="762"/>
                  </a:lnTo>
                  <a:lnTo>
                    <a:pt x="852" y="756"/>
                  </a:lnTo>
                  <a:close/>
                  <a:moveTo>
                    <a:pt x="2484" y="492"/>
                  </a:moveTo>
                  <a:lnTo>
                    <a:pt x="2484" y="486"/>
                  </a:lnTo>
                  <a:lnTo>
                    <a:pt x="2514" y="486"/>
                  </a:lnTo>
                  <a:lnTo>
                    <a:pt x="2478" y="444"/>
                  </a:lnTo>
                  <a:lnTo>
                    <a:pt x="2454" y="420"/>
                  </a:lnTo>
                  <a:lnTo>
                    <a:pt x="2442" y="456"/>
                  </a:lnTo>
                  <a:lnTo>
                    <a:pt x="2370" y="450"/>
                  </a:lnTo>
                  <a:lnTo>
                    <a:pt x="2370" y="444"/>
                  </a:lnTo>
                  <a:lnTo>
                    <a:pt x="2364" y="438"/>
                  </a:lnTo>
                  <a:lnTo>
                    <a:pt x="2358" y="426"/>
                  </a:lnTo>
                  <a:lnTo>
                    <a:pt x="2352" y="420"/>
                  </a:lnTo>
                  <a:lnTo>
                    <a:pt x="2346" y="408"/>
                  </a:lnTo>
                  <a:lnTo>
                    <a:pt x="2346" y="402"/>
                  </a:lnTo>
                  <a:lnTo>
                    <a:pt x="2340" y="402"/>
                  </a:lnTo>
                  <a:lnTo>
                    <a:pt x="2328" y="396"/>
                  </a:lnTo>
                  <a:lnTo>
                    <a:pt x="2316" y="396"/>
                  </a:lnTo>
                  <a:lnTo>
                    <a:pt x="2304" y="390"/>
                  </a:lnTo>
                  <a:lnTo>
                    <a:pt x="2292" y="390"/>
                  </a:lnTo>
                  <a:lnTo>
                    <a:pt x="2286" y="378"/>
                  </a:lnTo>
                  <a:lnTo>
                    <a:pt x="2274" y="372"/>
                  </a:lnTo>
                  <a:lnTo>
                    <a:pt x="2250" y="348"/>
                  </a:lnTo>
                  <a:lnTo>
                    <a:pt x="2226" y="336"/>
                  </a:lnTo>
                  <a:lnTo>
                    <a:pt x="2208" y="336"/>
                  </a:lnTo>
                  <a:lnTo>
                    <a:pt x="2196" y="342"/>
                  </a:lnTo>
                  <a:lnTo>
                    <a:pt x="2178" y="348"/>
                  </a:lnTo>
                  <a:lnTo>
                    <a:pt x="2166" y="354"/>
                  </a:lnTo>
                  <a:lnTo>
                    <a:pt x="2160" y="366"/>
                  </a:lnTo>
                  <a:lnTo>
                    <a:pt x="2136" y="366"/>
                  </a:lnTo>
                  <a:lnTo>
                    <a:pt x="2124" y="360"/>
                  </a:lnTo>
                  <a:lnTo>
                    <a:pt x="2118" y="348"/>
                  </a:lnTo>
                  <a:lnTo>
                    <a:pt x="2106" y="342"/>
                  </a:lnTo>
                  <a:lnTo>
                    <a:pt x="2076" y="342"/>
                  </a:lnTo>
                  <a:lnTo>
                    <a:pt x="2076" y="336"/>
                  </a:lnTo>
                  <a:lnTo>
                    <a:pt x="2070" y="330"/>
                  </a:lnTo>
                  <a:lnTo>
                    <a:pt x="2070" y="318"/>
                  </a:lnTo>
                  <a:lnTo>
                    <a:pt x="2064" y="312"/>
                  </a:lnTo>
                  <a:lnTo>
                    <a:pt x="2052" y="312"/>
                  </a:lnTo>
                  <a:lnTo>
                    <a:pt x="2052" y="318"/>
                  </a:lnTo>
                  <a:lnTo>
                    <a:pt x="2046" y="324"/>
                  </a:lnTo>
                  <a:lnTo>
                    <a:pt x="2046" y="336"/>
                  </a:lnTo>
                  <a:lnTo>
                    <a:pt x="2034" y="348"/>
                  </a:lnTo>
                  <a:lnTo>
                    <a:pt x="2022" y="354"/>
                  </a:lnTo>
                  <a:lnTo>
                    <a:pt x="2010" y="354"/>
                  </a:lnTo>
                  <a:lnTo>
                    <a:pt x="1998" y="348"/>
                  </a:lnTo>
                  <a:lnTo>
                    <a:pt x="1986" y="336"/>
                  </a:lnTo>
                  <a:lnTo>
                    <a:pt x="1974" y="318"/>
                  </a:lnTo>
                  <a:lnTo>
                    <a:pt x="1938" y="282"/>
                  </a:lnTo>
                  <a:lnTo>
                    <a:pt x="1920" y="258"/>
                  </a:lnTo>
                  <a:lnTo>
                    <a:pt x="1848" y="198"/>
                  </a:lnTo>
                  <a:lnTo>
                    <a:pt x="1818" y="168"/>
                  </a:lnTo>
                  <a:lnTo>
                    <a:pt x="1800" y="156"/>
                  </a:lnTo>
                  <a:lnTo>
                    <a:pt x="1788" y="150"/>
                  </a:lnTo>
                  <a:lnTo>
                    <a:pt x="1758" y="132"/>
                  </a:lnTo>
                  <a:lnTo>
                    <a:pt x="1728" y="120"/>
                  </a:lnTo>
                  <a:lnTo>
                    <a:pt x="1692" y="102"/>
                  </a:lnTo>
                  <a:lnTo>
                    <a:pt x="1698" y="102"/>
                  </a:lnTo>
                  <a:lnTo>
                    <a:pt x="1710" y="90"/>
                  </a:lnTo>
                  <a:lnTo>
                    <a:pt x="1710" y="72"/>
                  </a:lnTo>
                  <a:lnTo>
                    <a:pt x="1704" y="66"/>
                  </a:lnTo>
                  <a:lnTo>
                    <a:pt x="1698" y="66"/>
                  </a:lnTo>
                  <a:lnTo>
                    <a:pt x="1680" y="84"/>
                  </a:lnTo>
                  <a:lnTo>
                    <a:pt x="1644" y="96"/>
                  </a:lnTo>
                  <a:lnTo>
                    <a:pt x="1632" y="114"/>
                  </a:lnTo>
                  <a:lnTo>
                    <a:pt x="1620" y="114"/>
                  </a:lnTo>
                  <a:lnTo>
                    <a:pt x="1608" y="120"/>
                  </a:lnTo>
                  <a:lnTo>
                    <a:pt x="1602" y="126"/>
                  </a:lnTo>
                  <a:lnTo>
                    <a:pt x="1602" y="144"/>
                  </a:lnTo>
                  <a:lnTo>
                    <a:pt x="1590" y="156"/>
                  </a:lnTo>
                  <a:lnTo>
                    <a:pt x="1578" y="150"/>
                  </a:lnTo>
                  <a:lnTo>
                    <a:pt x="1572" y="144"/>
                  </a:lnTo>
                  <a:lnTo>
                    <a:pt x="1560" y="138"/>
                  </a:lnTo>
                  <a:lnTo>
                    <a:pt x="1554" y="132"/>
                  </a:lnTo>
                  <a:lnTo>
                    <a:pt x="1548" y="132"/>
                  </a:lnTo>
                  <a:lnTo>
                    <a:pt x="1542" y="138"/>
                  </a:lnTo>
                  <a:lnTo>
                    <a:pt x="1536" y="138"/>
                  </a:lnTo>
                  <a:lnTo>
                    <a:pt x="1530" y="144"/>
                  </a:lnTo>
                  <a:lnTo>
                    <a:pt x="1524" y="144"/>
                  </a:lnTo>
                  <a:lnTo>
                    <a:pt x="1524" y="138"/>
                  </a:lnTo>
                  <a:lnTo>
                    <a:pt x="1530" y="132"/>
                  </a:lnTo>
                  <a:lnTo>
                    <a:pt x="1530" y="108"/>
                  </a:lnTo>
                  <a:lnTo>
                    <a:pt x="1518" y="102"/>
                  </a:lnTo>
                  <a:lnTo>
                    <a:pt x="1512" y="102"/>
                  </a:lnTo>
                  <a:lnTo>
                    <a:pt x="1506" y="108"/>
                  </a:lnTo>
                  <a:lnTo>
                    <a:pt x="1482" y="96"/>
                  </a:lnTo>
                  <a:lnTo>
                    <a:pt x="1458" y="108"/>
                  </a:lnTo>
                  <a:lnTo>
                    <a:pt x="1434" y="72"/>
                  </a:lnTo>
                  <a:lnTo>
                    <a:pt x="1422" y="90"/>
                  </a:lnTo>
                  <a:lnTo>
                    <a:pt x="1404" y="90"/>
                  </a:lnTo>
                  <a:lnTo>
                    <a:pt x="1392" y="96"/>
                  </a:lnTo>
                  <a:lnTo>
                    <a:pt x="1374" y="96"/>
                  </a:lnTo>
                  <a:lnTo>
                    <a:pt x="1368" y="90"/>
                  </a:lnTo>
                  <a:lnTo>
                    <a:pt x="1368" y="48"/>
                  </a:lnTo>
                  <a:lnTo>
                    <a:pt x="1362" y="42"/>
                  </a:lnTo>
                  <a:lnTo>
                    <a:pt x="1350" y="42"/>
                  </a:lnTo>
                  <a:lnTo>
                    <a:pt x="1344" y="36"/>
                  </a:lnTo>
                  <a:lnTo>
                    <a:pt x="1338" y="24"/>
                  </a:lnTo>
                  <a:lnTo>
                    <a:pt x="1320" y="6"/>
                  </a:lnTo>
                  <a:lnTo>
                    <a:pt x="1314" y="6"/>
                  </a:lnTo>
                  <a:lnTo>
                    <a:pt x="1302" y="18"/>
                  </a:lnTo>
                  <a:lnTo>
                    <a:pt x="1290" y="18"/>
                  </a:lnTo>
                  <a:lnTo>
                    <a:pt x="1278" y="6"/>
                  </a:lnTo>
                  <a:lnTo>
                    <a:pt x="1260" y="6"/>
                  </a:lnTo>
                  <a:lnTo>
                    <a:pt x="1242" y="0"/>
                  </a:lnTo>
                  <a:lnTo>
                    <a:pt x="1218" y="0"/>
                  </a:lnTo>
                  <a:lnTo>
                    <a:pt x="1200" y="6"/>
                  </a:lnTo>
                  <a:lnTo>
                    <a:pt x="1188" y="12"/>
                  </a:lnTo>
                  <a:lnTo>
                    <a:pt x="1176" y="24"/>
                  </a:lnTo>
                  <a:lnTo>
                    <a:pt x="1176" y="36"/>
                  </a:lnTo>
                  <a:lnTo>
                    <a:pt x="1164" y="36"/>
                  </a:lnTo>
                  <a:lnTo>
                    <a:pt x="1110" y="54"/>
                  </a:lnTo>
                  <a:lnTo>
                    <a:pt x="1020" y="54"/>
                  </a:lnTo>
                  <a:lnTo>
                    <a:pt x="1014" y="60"/>
                  </a:lnTo>
                  <a:lnTo>
                    <a:pt x="1014" y="78"/>
                  </a:lnTo>
                  <a:lnTo>
                    <a:pt x="948" y="78"/>
                  </a:lnTo>
                  <a:lnTo>
                    <a:pt x="942" y="96"/>
                  </a:lnTo>
                  <a:lnTo>
                    <a:pt x="888" y="96"/>
                  </a:lnTo>
                  <a:lnTo>
                    <a:pt x="828" y="102"/>
                  </a:lnTo>
                  <a:lnTo>
                    <a:pt x="792" y="114"/>
                  </a:lnTo>
                  <a:lnTo>
                    <a:pt x="780" y="126"/>
                  </a:lnTo>
                  <a:lnTo>
                    <a:pt x="780" y="132"/>
                  </a:lnTo>
                  <a:lnTo>
                    <a:pt x="786" y="138"/>
                  </a:lnTo>
                  <a:lnTo>
                    <a:pt x="786" y="144"/>
                  </a:lnTo>
                  <a:lnTo>
                    <a:pt x="810" y="144"/>
                  </a:lnTo>
                  <a:lnTo>
                    <a:pt x="798" y="162"/>
                  </a:lnTo>
                  <a:lnTo>
                    <a:pt x="810" y="162"/>
                  </a:lnTo>
                  <a:lnTo>
                    <a:pt x="834" y="174"/>
                  </a:lnTo>
                  <a:lnTo>
                    <a:pt x="846" y="174"/>
                  </a:lnTo>
                  <a:lnTo>
                    <a:pt x="858" y="186"/>
                  </a:lnTo>
                  <a:lnTo>
                    <a:pt x="804" y="186"/>
                  </a:lnTo>
                  <a:lnTo>
                    <a:pt x="792" y="198"/>
                  </a:lnTo>
                  <a:lnTo>
                    <a:pt x="798" y="204"/>
                  </a:lnTo>
                  <a:lnTo>
                    <a:pt x="804" y="216"/>
                  </a:lnTo>
                  <a:lnTo>
                    <a:pt x="810" y="222"/>
                  </a:lnTo>
                  <a:lnTo>
                    <a:pt x="810" y="234"/>
                  </a:lnTo>
                  <a:lnTo>
                    <a:pt x="798" y="246"/>
                  </a:lnTo>
                  <a:lnTo>
                    <a:pt x="786" y="246"/>
                  </a:lnTo>
                  <a:lnTo>
                    <a:pt x="774" y="252"/>
                  </a:lnTo>
                  <a:lnTo>
                    <a:pt x="762" y="252"/>
                  </a:lnTo>
                  <a:lnTo>
                    <a:pt x="792" y="282"/>
                  </a:lnTo>
                  <a:lnTo>
                    <a:pt x="816" y="282"/>
                  </a:lnTo>
                  <a:lnTo>
                    <a:pt x="834" y="288"/>
                  </a:lnTo>
                  <a:lnTo>
                    <a:pt x="846" y="294"/>
                  </a:lnTo>
                  <a:lnTo>
                    <a:pt x="870" y="318"/>
                  </a:lnTo>
                  <a:lnTo>
                    <a:pt x="876" y="336"/>
                  </a:lnTo>
                  <a:lnTo>
                    <a:pt x="876" y="348"/>
                  </a:lnTo>
                  <a:lnTo>
                    <a:pt x="870" y="360"/>
                  </a:lnTo>
                  <a:lnTo>
                    <a:pt x="864" y="366"/>
                  </a:lnTo>
                  <a:lnTo>
                    <a:pt x="828" y="366"/>
                  </a:lnTo>
                  <a:lnTo>
                    <a:pt x="816" y="360"/>
                  </a:lnTo>
                  <a:lnTo>
                    <a:pt x="810" y="354"/>
                  </a:lnTo>
                  <a:lnTo>
                    <a:pt x="798" y="354"/>
                  </a:lnTo>
                  <a:lnTo>
                    <a:pt x="792" y="348"/>
                  </a:lnTo>
                  <a:lnTo>
                    <a:pt x="780" y="372"/>
                  </a:lnTo>
                  <a:lnTo>
                    <a:pt x="768" y="372"/>
                  </a:lnTo>
                  <a:lnTo>
                    <a:pt x="756" y="366"/>
                  </a:lnTo>
                  <a:lnTo>
                    <a:pt x="732" y="366"/>
                  </a:lnTo>
                  <a:lnTo>
                    <a:pt x="708" y="354"/>
                  </a:lnTo>
                  <a:lnTo>
                    <a:pt x="702" y="342"/>
                  </a:lnTo>
                  <a:lnTo>
                    <a:pt x="690" y="336"/>
                  </a:lnTo>
                  <a:lnTo>
                    <a:pt x="684" y="330"/>
                  </a:lnTo>
                  <a:lnTo>
                    <a:pt x="672" y="330"/>
                  </a:lnTo>
                  <a:lnTo>
                    <a:pt x="666" y="336"/>
                  </a:lnTo>
                  <a:lnTo>
                    <a:pt x="654" y="342"/>
                  </a:lnTo>
                  <a:lnTo>
                    <a:pt x="636" y="348"/>
                  </a:lnTo>
                  <a:lnTo>
                    <a:pt x="624" y="348"/>
                  </a:lnTo>
                  <a:lnTo>
                    <a:pt x="588" y="330"/>
                  </a:lnTo>
                  <a:lnTo>
                    <a:pt x="582" y="330"/>
                  </a:lnTo>
                  <a:lnTo>
                    <a:pt x="570" y="336"/>
                  </a:lnTo>
                  <a:lnTo>
                    <a:pt x="558" y="348"/>
                  </a:lnTo>
                  <a:lnTo>
                    <a:pt x="546" y="354"/>
                  </a:lnTo>
                  <a:lnTo>
                    <a:pt x="540" y="366"/>
                  </a:lnTo>
                  <a:lnTo>
                    <a:pt x="534" y="372"/>
                  </a:lnTo>
                  <a:lnTo>
                    <a:pt x="462" y="336"/>
                  </a:lnTo>
                  <a:lnTo>
                    <a:pt x="450" y="336"/>
                  </a:lnTo>
                  <a:lnTo>
                    <a:pt x="450" y="342"/>
                  </a:lnTo>
                  <a:lnTo>
                    <a:pt x="462" y="354"/>
                  </a:lnTo>
                  <a:lnTo>
                    <a:pt x="462" y="372"/>
                  </a:lnTo>
                  <a:lnTo>
                    <a:pt x="450" y="372"/>
                  </a:lnTo>
                  <a:lnTo>
                    <a:pt x="438" y="360"/>
                  </a:lnTo>
                  <a:lnTo>
                    <a:pt x="438" y="354"/>
                  </a:lnTo>
                  <a:lnTo>
                    <a:pt x="426" y="324"/>
                  </a:lnTo>
                  <a:lnTo>
                    <a:pt x="390" y="324"/>
                  </a:lnTo>
                  <a:lnTo>
                    <a:pt x="384" y="312"/>
                  </a:lnTo>
                  <a:lnTo>
                    <a:pt x="384" y="306"/>
                  </a:lnTo>
                  <a:lnTo>
                    <a:pt x="378" y="300"/>
                  </a:lnTo>
                  <a:lnTo>
                    <a:pt x="318" y="300"/>
                  </a:lnTo>
                  <a:lnTo>
                    <a:pt x="312" y="288"/>
                  </a:lnTo>
                  <a:lnTo>
                    <a:pt x="306" y="282"/>
                  </a:lnTo>
                  <a:lnTo>
                    <a:pt x="288" y="282"/>
                  </a:lnTo>
                  <a:lnTo>
                    <a:pt x="276" y="288"/>
                  </a:lnTo>
                  <a:lnTo>
                    <a:pt x="264" y="300"/>
                  </a:lnTo>
                  <a:lnTo>
                    <a:pt x="234" y="300"/>
                  </a:lnTo>
                  <a:lnTo>
                    <a:pt x="228" y="294"/>
                  </a:lnTo>
                  <a:lnTo>
                    <a:pt x="228" y="288"/>
                  </a:lnTo>
                  <a:lnTo>
                    <a:pt x="222" y="288"/>
                  </a:lnTo>
                  <a:lnTo>
                    <a:pt x="210" y="282"/>
                  </a:lnTo>
                  <a:lnTo>
                    <a:pt x="180" y="282"/>
                  </a:lnTo>
                  <a:lnTo>
                    <a:pt x="180" y="288"/>
                  </a:lnTo>
                  <a:lnTo>
                    <a:pt x="186" y="294"/>
                  </a:lnTo>
                  <a:lnTo>
                    <a:pt x="186" y="312"/>
                  </a:lnTo>
                  <a:lnTo>
                    <a:pt x="174" y="324"/>
                  </a:lnTo>
                  <a:lnTo>
                    <a:pt x="162" y="330"/>
                  </a:lnTo>
                  <a:lnTo>
                    <a:pt x="150" y="330"/>
                  </a:lnTo>
                  <a:lnTo>
                    <a:pt x="138" y="336"/>
                  </a:lnTo>
                  <a:lnTo>
                    <a:pt x="132" y="336"/>
                  </a:lnTo>
                  <a:lnTo>
                    <a:pt x="132" y="360"/>
                  </a:lnTo>
                  <a:lnTo>
                    <a:pt x="102" y="372"/>
                  </a:lnTo>
                  <a:lnTo>
                    <a:pt x="114" y="384"/>
                  </a:lnTo>
                  <a:lnTo>
                    <a:pt x="120" y="396"/>
                  </a:lnTo>
                  <a:lnTo>
                    <a:pt x="114" y="402"/>
                  </a:lnTo>
                  <a:lnTo>
                    <a:pt x="108" y="414"/>
                  </a:lnTo>
                  <a:lnTo>
                    <a:pt x="102" y="420"/>
                  </a:lnTo>
                  <a:lnTo>
                    <a:pt x="90" y="420"/>
                  </a:lnTo>
                  <a:lnTo>
                    <a:pt x="78" y="414"/>
                  </a:lnTo>
                  <a:lnTo>
                    <a:pt x="72" y="402"/>
                  </a:lnTo>
                  <a:lnTo>
                    <a:pt x="60" y="396"/>
                  </a:lnTo>
                  <a:lnTo>
                    <a:pt x="48" y="384"/>
                  </a:lnTo>
                  <a:lnTo>
                    <a:pt x="36" y="378"/>
                  </a:lnTo>
                  <a:lnTo>
                    <a:pt x="24" y="378"/>
                  </a:lnTo>
                  <a:lnTo>
                    <a:pt x="18" y="384"/>
                  </a:lnTo>
                  <a:lnTo>
                    <a:pt x="18" y="396"/>
                  </a:lnTo>
                  <a:lnTo>
                    <a:pt x="24" y="402"/>
                  </a:lnTo>
                  <a:lnTo>
                    <a:pt x="24" y="426"/>
                  </a:lnTo>
                  <a:lnTo>
                    <a:pt x="0" y="426"/>
                  </a:lnTo>
                  <a:lnTo>
                    <a:pt x="6" y="462"/>
                  </a:lnTo>
                  <a:lnTo>
                    <a:pt x="12" y="468"/>
                  </a:lnTo>
                  <a:lnTo>
                    <a:pt x="12" y="492"/>
                  </a:lnTo>
                  <a:lnTo>
                    <a:pt x="0" y="516"/>
                  </a:lnTo>
                  <a:lnTo>
                    <a:pt x="0" y="546"/>
                  </a:lnTo>
                  <a:lnTo>
                    <a:pt x="6" y="546"/>
                  </a:lnTo>
                  <a:lnTo>
                    <a:pt x="12" y="552"/>
                  </a:lnTo>
                  <a:lnTo>
                    <a:pt x="36" y="552"/>
                  </a:lnTo>
                  <a:lnTo>
                    <a:pt x="42" y="558"/>
                  </a:lnTo>
                  <a:lnTo>
                    <a:pt x="42" y="588"/>
                  </a:lnTo>
                  <a:lnTo>
                    <a:pt x="48" y="594"/>
                  </a:lnTo>
                  <a:lnTo>
                    <a:pt x="90" y="594"/>
                  </a:lnTo>
                  <a:lnTo>
                    <a:pt x="102" y="588"/>
                  </a:lnTo>
                  <a:lnTo>
                    <a:pt x="114" y="588"/>
                  </a:lnTo>
                  <a:lnTo>
                    <a:pt x="162" y="636"/>
                  </a:lnTo>
                  <a:lnTo>
                    <a:pt x="168" y="648"/>
                  </a:lnTo>
                  <a:lnTo>
                    <a:pt x="180" y="660"/>
                  </a:lnTo>
                  <a:lnTo>
                    <a:pt x="180" y="672"/>
                  </a:lnTo>
                  <a:lnTo>
                    <a:pt x="144" y="672"/>
                  </a:lnTo>
                  <a:lnTo>
                    <a:pt x="144" y="678"/>
                  </a:lnTo>
                  <a:lnTo>
                    <a:pt x="156" y="690"/>
                  </a:lnTo>
                  <a:lnTo>
                    <a:pt x="174" y="696"/>
                  </a:lnTo>
                  <a:lnTo>
                    <a:pt x="186" y="696"/>
                  </a:lnTo>
                  <a:lnTo>
                    <a:pt x="192" y="702"/>
                  </a:lnTo>
                  <a:lnTo>
                    <a:pt x="198" y="702"/>
                  </a:lnTo>
                  <a:lnTo>
                    <a:pt x="204" y="690"/>
                  </a:lnTo>
                  <a:lnTo>
                    <a:pt x="222" y="690"/>
                  </a:lnTo>
                  <a:lnTo>
                    <a:pt x="228" y="684"/>
                  </a:lnTo>
                  <a:lnTo>
                    <a:pt x="246" y="672"/>
                  </a:lnTo>
                  <a:lnTo>
                    <a:pt x="306" y="648"/>
                  </a:lnTo>
                  <a:lnTo>
                    <a:pt x="324" y="642"/>
                  </a:lnTo>
                  <a:lnTo>
                    <a:pt x="336" y="648"/>
                  </a:lnTo>
                  <a:lnTo>
                    <a:pt x="342" y="654"/>
                  </a:lnTo>
                  <a:lnTo>
                    <a:pt x="360" y="666"/>
                  </a:lnTo>
                  <a:lnTo>
                    <a:pt x="366" y="672"/>
                  </a:lnTo>
                  <a:lnTo>
                    <a:pt x="384" y="672"/>
                  </a:lnTo>
                  <a:lnTo>
                    <a:pt x="390" y="666"/>
                  </a:lnTo>
                  <a:lnTo>
                    <a:pt x="402" y="666"/>
                  </a:lnTo>
                  <a:lnTo>
                    <a:pt x="408" y="660"/>
                  </a:lnTo>
                  <a:lnTo>
                    <a:pt x="414" y="666"/>
                  </a:lnTo>
                  <a:lnTo>
                    <a:pt x="426" y="672"/>
                  </a:lnTo>
                  <a:lnTo>
                    <a:pt x="450" y="696"/>
                  </a:lnTo>
                  <a:lnTo>
                    <a:pt x="450" y="726"/>
                  </a:lnTo>
                  <a:lnTo>
                    <a:pt x="444" y="732"/>
                  </a:lnTo>
                  <a:lnTo>
                    <a:pt x="444" y="738"/>
                  </a:lnTo>
                  <a:lnTo>
                    <a:pt x="438" y="744"/>
                  </a:lnTo>
                  <a:lnTo>
                    <a:pt x="438" y="750"/>
                  </a:lnTo>
                  <a:lnTo>
                    <a:pt x="444" y="756"/>
                  </a:lnTo>
                  <a:lnTo>
                    <a:pt x="450" y="768"/>
                  </a:lnTo>
                  <a:lnTo>
                    <a:pt x="462" y="774"/>
                  </a:lnTo>
                  <a:lnTo>
                    <a:pt x="474" y="786"/>
                  </a:lnTo>
                  <a:lnTo>
                    <a:pt x="486" y="786"/>
                  </a:lnTo>
                  <a:lnTo>
                    <a:pt x="504" y="768"/>
                  </a:lnTo>
                  <a:lnTo>
                    <a:pt x="516" y="762"/>
                  </a:lnTo>
                  <a:lnTo>
                    <a:pt x="528" y="762"/>
                  </a:lnTo>
                  <a:lnTo>
                    <a:pt x="528" y="792"/>
                  </a:lnTo>
                  <a:lnTo>
                    <a:pt x="546" y="810"/>
                  </a:lnTo>
                  <a:lnTo>
                    <a:pt x="510" y="816"/>
                  </a:lnTo>
                  <a:lnTo>
                    <a:pt x="510" y="828"/>
                  </a:lnTo>
                  <a:lnTo>
                    <a:pt x="504" y="834"/>
                  </a:lnTo>
                  <a:lnTo>
                    <a:pt x="498" y="834"/>
                  </a:lnTo>
                  <a:lnTo>
                    <a:pt x="486" y="822"/>
                  </a:lnTo>
                  <a:lnTo>
                    <a:pt x="486" y="816"/>
                  </a:lnTo>
                  <a:lnTo>
                    <a:pt x="498" y="804"/>
                  </a:lnTo>
                  <a:lnTo>
                    <a:pt x="504" y="804"/>
                  </a:lnTo>
                  <a:lnTo>
                    <a:pt x="510" y="798"/>
                  </a:lnTo>
                  <a:lnTo>
                    <a:pt x="480" y="798"/>
                  </a:lnTo>
                  <a:lnTo>
                    <a:pt x="462" y="792"/>
                  </a:lnTo>
                  <a:lnTo>
                    <a:pt x="450" y="792"/>
                  </a:lnTo>
                  <a:lnTo>
                    <a:pt x="432" y="786"/>
                  </a:lnTo>
                  <a:lnTo>
                    <a:pt x="408" y="786"/>
                  </a:lnTo>
                  <a:lnTo>
                    <a:pt x="390" y="780"/>
                  </a:lnTo>
                  <a:lnTo>
                    <a:pt x="372" y="780"/>
                  </a:lnTo>
                  <a:lnTo>
                    <a:pt x="360" y="774"/>
                  </a:lnTo>
                  <a:lnTo>
                    <a:pt x="348" y="774"/>
                  </a:lnTo>
                  <a:lnTo>
                    <a:pt x="360" y="804"/>
                  </a:lnTo>
                  <a:lnTo>
                    <a:pt x="342" y="804"/>
                  </a:lnTo>
                  <a:lnTo>
                    <a:pt x="330" y="816"/>
                  </a:lnTo>
                  <a:lnTo>
                    <a:pt x="330" y="822"/>
                  </a:lnTo>
                  <a:lnTo>
                    <a:pt x="336" y="828"/>
                  </a:lnTo>
                  <a:lnTo>
                    <a:pt x="348" y="834"/>
                  </a:lnTo>
                  <a:lnTo>
                    <a:pt x="354" y="840"/>
                  </a:lnTo>
                  <a:lnTo>
                    <a:pt x="366" y="840"/>
                  </a:lnTo>
                  <a:lnTo>
                    <a:pt x="372" y="846"/>
                  </a:lnTo>
                  <a:lnTo>
                    <a:pt x="372" y="852"/>
                  </a:lnTo>
                  <a:lnTo>
                    <a:pt x="360" y="852"/>
                  </a:lnTo>
                  <a:lnTo>
                    <a:pt x="348" y="846"/>
                  </a:lnTo>
                  <a:lnTo>
                    <a:pt x="336" y="846"/>
                  </a:lnTo>
                  <a:lnTo>
                    <a:pt x="324" y="840"/>
                  </a:lnTo>
                  <a:lnTo>
                    <a:pt x="306" y="834"/>
                  </a:lnTo>
                  <a:lnTo>
                    <a:pt x="300" y="834"/>
                  </a:lnTo>
                  <a:lnTo>
                    <a:pt x="294" y="840"/>
                  </a:lnTo>
                  <a:lnTo>
                    <a:pt x="294" y="846"/>
                  </a:lnTo>
                  <a:lnTo>
                    <a:pt x="306" y="858"/>
                  </a:lnTo>
                  <a:lnTo>
                    <a:pt x="318" y="864"/>
                  </a:lnTo>
                  <a:lnTo>
                    <a:pt x="324" y="870"/>
                  </a:lnTo>
                  <a:lnTo>
                    <a:pt x="336" y="870"/>
                  </a:lnTo>
                  <a:lnTo>
                    <a:pt x="336" y="882"/>
                  </a:lnTo>
                  <a:lnTo>
                    <a:pt x="342" y="894"/>
                  </a:lnTo>
                  <a:lnTo>
                    <a:pt x="366" y="918"/>
                  </a:lnTo>
                  <a:lnTo>
                    <a:pt x="372" y="930"/>
                  </a:lnTo>
                  <a:lnTo>
                    <a:pt x="372" y="954"/>
                  </a:lnTo>
                  <a:lnTo>
                    <a:pt x="408" y="960"/>
                  </a:lnTo>
                  <a:lnTo>
                    <a:pt x="414" y="978"/>
                  </a:lnTo>
                  <a:lnTo>
                    <a:pt x="444" y="978"/>
                  </a:lnTo>
                  <a:lnTo>
                    <a:pt x="480" y="996"/>
                  </a:lnTo>
                  <a:lnTo>
                    <a:pt x="486" y="1002"/>
                  </a:lnTo>
                  <a:lnTo>
                    <a:pt x="486" y="1014"/>
                  </a:lnTo>
                  <a:lnTo>
                    <a:pt x="480" y="1020"/>
                  </a:lnTo>
                  <a:lnTo>
                    <a:pt x="468" y="1026"/>
                  </a:lnTo>
                  <a:lnTo>
                    <a:pt x="462" y="1038"/>
                  </a:lnTo>
                  <a:lnTo>
                    <a:pt x="462" y="1056"/>
                  </a:lnTo>
                  <a:lnTo>
                    <a:pt x="468" y="1062"/>
                  </a:lnTo>
                  <a:lnTo>
                    <a:pt x="492" y="1062"/>
                  </a:lnTo>
                  <a:lnTo>
                    <a:pt x="498" y="1056"/>
                  </a:lnTo>
                  <a:lnTo>
                    <a:pt x="504" y="1038"/>
                  </a:lnTo>
                  <a:lnTo>
                    <a:pt x="510" y="1026"/>
                  </a:lnTo>
                  <a:lnTo>
                    <a:pt x="516" y="1020"/>
                  </a:lnTo>
                  <a:lnTo>
                    <a:pt x="528" y="1020"/>
                  </a:lnTo>
                  <a:lnTo>
                    <a:pt x="546" y="1026"/>
                  </a:lnTo>
                  <a:lnTo>
                    <a:pt x="546" y="1020"/>
                  </a:lnTo>
                  <a:lnTo>
                    <a:pt x="552" y="1014"/>
                  </a:lnTo>
                  <a:lnTo>
                    <a:pt x="570" y="1014"/>
                  </a:lnTo>
                  <a:lnTo>
                    <a:pt x="594" y="1026"/>
                  </a:lnTo>
                  <a:lnTo>
                    <a:pt x="606" y="1026"/>
                  </a:lnTo>
                  <a:lnTo>
                    <a:pt x="618" y="1038"/>
                  </a:lnTo>
                  <a:lnTo>
                    <a:pt x="630" y="1044"/>
                  </a:lnTo>
                  <a:lnTo>
                    <a:pt x="636" y="1056"/>
                  </a:lnTo>
                  <a:lnTo>
                    <a:pt x="642" y="1062"/>
                  </a:lnTo>
                  <a:lnTo>
                    <a:pt x="648" y="1074"/>
                  </a:lnTo>
                  <a:lnTo>
                    <a:pt x="672" y="1098"/>
                  </a:lnTo>
                  <a:lnTo>
                    <a:pt x="684" y="1104"/>
                  </a:lnTo>
                  <a:lnTo>
                    <a:pt x="690" y="1110"/>
                  </a:lnTo>
                  <a:lnTo>
                    <a:pt x="696" y="1104"/>
                  </a:lnTo>
                  <a:lnTo>
                    <a:pt x="696" y="1098"/>
                  </a:lnTo>
                  <a:lnTo>
                    <a:pt x="702" y="1092"/>
                  </a:lnTo>
                  <a:lnTo>
                    <a:pt x="654" y="810"/>
                  </a:lnTo>
                  <a:lnTo>
                    <a:pt x="798" y="768"/>
                  </a:lnTo>
                  <a:lnTo>
                    <a:pt x="804" y="774"/>
                  </a:lnTo>
                  <a:lnTo>
                    <a:pt x="804" y="762"/>
                  </a:lnTo>
                  <a:lnTo>
                    <a:pt x="810" y="756"/>
                  </a:lnTo>
                  <a:lnTo>
                    <a:pt x="810" y="750"/>
                  </a:lnTo>
                  <a:lnTo>
                    <a:pt x="816" y="738"/>
                  </a:lnTo>
                  <a:lnTo>
                    <a:pt x="816" y="732"/>
                  </a:lnTo>
                  <a:lnTo>
                    <a:pt x="822" y="726"/>
                  </a:lnTo>
                  <a:lnTo>
                    <a:pt x="846" y="726"/>
                  </a:lnTo>
                  <a:lnTo>
                    <a:pt x="852" y="750"/>
                  </a:lnTo>
                  <a:lnTo>
                    <a:pt x="864" y="744"/>
                  </a:lnTo>
                  <a:lnTo>
                    <a:pt x="870" y="744"/>
                  </a:lnTo>
                  <a:lnTo>
                    <a:pt x="876" y="738"/>
                  </a:lnTo>
                  <a:lnTo>
                    <a:pt x="876" y="732"/>
                  </a:lnTo>
                  <a:lnTo>
                    <a:pt x="852" y="708"/>
                  </a:lnTo>
                  <a:lnTo>
                    <a:pt x="870" y="708"/>
                  </a:lnTo>
                  <a:lnTo>
                    <a:pt x="882" y="720"/>
                  </a:lnTo>
                  <a:lnTo>
                    <a:pt x="936" y="720"/>
                  </a:lnTo>
                  <a:lnTo>
                    <a:pt x="924" y="708"/>
                  </a:lnTo>
                  <a:lnTo>
                    <a:pt x="918" y="708"/>
                  </a:lnTo>
                  <a:lnTo>
                    <a:pt x="906" y="696"/>
                  </a:lnTo>
                  <a:lnTo>
                    <a:pt x="882" y="696"/>
                  </a:lnTo>
                  <a:lnTo>
                    <a:pt x="876" y="690"/>
                  </a:lnTo>
                  <a:lnTo>
                    <a:pt x="876" y="684"/>
                  </a:lnTo>
                  <a:lnTo>
                    <a:pt x="882" y="678"/>
                  </a:lnTo>
                  <a:lnTo>
                    <a:pt x="906" y="678"/>
                  </a:lnTo>
                  <a:lnTo>
                    <a:pt x="924" y="666"/>
                  </a:lnTo>
                  <a:lnTo>
                    <a:pt x="930" y="672"/>
                  </a:lnTo>
                  <a:lnTo>
                    <a:pt x="936" y="684"/>
                  </a:lnTo>
                  <a:lnTo>
                    <a:pt x="942" y="690"/>
                  </a:lnTo>
                  <a:lnTo>
                    <a:pt x="948" y="690"/>
                  </a:lnTo>
                  <a:lnTo>
                    <a:pt x="954" y="684"/>
                  </a:lnTo>
                  <a:lnTo>
                    <a:pt x="960" y="690"/>
                  </a:lnTo>
                  <a:lnTo>
                    <a:pt x="966" y="702"/>
                  </a:lnTo>
                  <a:lnTo>
                    <a:pt x="966" y="708"/>
                  </a:lnTo>
                  <a:lnTo>
                    <a:pt x="960" y="714"/>
                  </a:lnTo>
                  <a:lnTo>
                    <a:pt x="954" y="714"/>
                  </a:lnTo>
                  <a:lnTo>
                    <a:pt x="942" y="720"/>
                  </a:lnTo>
                  <a:lnTo>
                    <a:pt x="924" y="738"/>
                  </a:lnTo>
                  <a:lnTo>
                    <a:pt x="888" y="738"/>
                  </a:lnTo>
                  <a:lnTo>
                    <a:pt x="882" y="744"/>
                  </a:lnTo>
                  <a:lnTo>
                    <a:pt x="882" y="756"/>
                  </a:lnTo>
                  <a:lnTo>
                    <a:pt x="888" y="762"/>
                  </a:lnTo>
                  <a:lnTo>
                    <a:pt x="900" y="762"/>
                  </a:lnTo>
                  <a:lnTo>
                    <a:pt x="906" y="768"/>
                  </a:lnTo>
                  <a:lnTo>
                    <a:pt x="918" y="768"/>
                  </a:lnTo>
                  <a:lnTo>
                    <a:pt x="918" y="786"/>
                  </a:lnTo>
                  <a:lnTo>
                    <a:pt x="912" y="798"/>
                  </a:lnTo>
                  <a:lnTo>
                    <a:pt x="912" y="816"/>
                  </a:lnTo>
                  <a:lnTo>
                    <a:pt x="918" y="822"/>
                  </a:lnTo>
                  <a:lnTo>
                    <a:pt x="984" y="858"/>
                  </a:lnTo>
                  <a:lnTo>
                    <a:pt x="1062" y="930"/>
                  </a:lnTo>
                  <a:lnTo>
                    <a:pt x="1068" y="930"/>
                  </a:lnTo>
                  <a:lnTo>
                    <a:pt x="1074" y="924"/>
                  </a:lnTo>
                  <a:lnTo>
                    <a:pt x="1110" y="924"/>
                  </a:lnTo>
                  <a:lnTo>
                    <a:pt x="1128" y="918"/>
                  </a:lnTo>
                  <a:lnTo>
                    <a:pt x="1188" y="918"/>
                  </a:lnTo>
                  <a:lnTo>
                    <a:pt x="1206" y="924"/>
                  </a:lnTo>
                  <a:lnTo>
                    <a:pt x="1224" y="924"/>
                  </a:lnTo>
                  <a:lnTo>
                    <a:pt x="1230" y="918"/>
                  </a:lnTo>
                  <a:lnTo>
                    <a:pt x="1254" y="906"/>
                  </a:lnTo>
                  <a:lnTo>
                    <a:pt x="1266" y="906"/>
                  </a:lnTo>
                  <a:lnTo>
                    <a:pt x="1272" y="918"/>
                  </a:lnTo>
                  <a:lnTo>
                    <a:pt x="1290" y="936"/>
                  </a:lnTo>
                  <a:lnTo>
                    <a:pt x="1296" y="954"/>
                  </a:lnTo>
                  <a:lnTo>
                    <a:pt x="1308" y="960"/>
                  </a:lnTo>
                  <a:lnTo>
                    <a:pt x="1314" y="972"/>
                  </a:lnTo>
                  <a:lnTo>
                    <a:pt x="1344" y="972"/>
                  </a:lnTo>
                  <a:lnTo>
                    <a:pt x="1344" y="984"/>
                  </a:lnTo>
                  <a:lnTo>
                    <a:pt x="1350" y="1002"/>
                  </a:lnTo>
                  <a:lnTo>
                    <a:pt x="1350" y="1044"/>
                  </a:lnTo>
                  <a:lnTo>
                    <a:pt x="1356" y="1050"/>
                  </a:lnTo>
                  <a:lnTo>
                    <a:pt x="1362" y="1050"/>
                  </a:lnTo>
                  <a:lnTo>
                    <a:pt x="1368" y="1044"/>
                  </a:lnTo>
                  <a:lnTo>
                    <a:pt x="1380" y="1044"/>
                  </a:lnTo>
                  <a:lnTo>
                    <a:pt x="1386" y="1050"/>
                  </a:lnTo>
                  <a:lnTo>
                    <a:pt x="1416" y="1110"/>
                  </a:lnTo>
                  <a:lnTo>
                    <a:pt x="1494" y="1110"/>
                  </a:lnTo>
                  <a:lnTo>
                    <a:pt x="1512" y="1116"/>
                  </a:lnTo>
                  <a:lnTo>
                    <a:pt x="1512" y="1134"/>
                  </a:lnTo>
                  <a:lnTo>
                    <a:pt x="1506" y="1140"/>
                  </a:lnTo>
                  <a:lnTo>
                    <a:pt x="1506" y="1152"/>
                  </a:lnTo>
                  <a:lnTo>
                    <a:pt x="1512" y="1152"/>
                  </a:lnTo>
                  <a:lnTo>
                    <a:pt x="1524" y="1158"/>
                  </a:lnTo>
                  <a:lnTo>
                    <a:pt x="1536" y="1158"/>
                  </a:lnTo>
                  <a:lnTo>
                    <a:pt x="1542" y="1164"/>
                  </a:lnTo>
                  <a:lnTo>
                    <a:pt x="1542" y="1152"/>
                  </a:lnTo>
                  <a:lnTo>
                    <a:pt x="1536" y="1146"/>
                  </a:lnTo>
                  <a:lnTo>
                    <a:pt x="1536" y="1134"/>
                  </a:lnTo>
                  <a:lnTo>
                    <a:pt x="1548" y="1122"/>
                  </a:lnTo>
                  <a:lnTo>
                    <a:pt x="1560" y="1116"/>
                  </a:lnTo>
                  <a:lnTo>
                    <a:pt x="1566" y="1110"/>
                  </a:lnTo>
                  <a:lnTo>
                    <a:pt x="1572" y="1110"/>
                  </a:lnTo>
                  <a:lnTo>
                    <a:pt x="1572" y="1092"/>
                  </a:lnTo>
                  <a:lnTo>
                    <a:pt x="1584" y="1080"/>
                  </a:lnTo>
                  <a:lnTo>
                    <a:pt x="1596" y="1074"/>
                  </a:lnTo>
                  <a:lnTo>
                    <a:pt x="1608" y="1074"/>
                  </a:lnTo>
                  <a:lnTo>
                    <a:pt x="1614" y="1068"/>
                  </a:lnTo>
                  <a:lnTo>
                    <a:pt x="1620" y="1068"/>
                  </a:lnTo>
                  <a:lnTo>
                    <a:pt x="1632" y="1044"/>
                  </a:lnTo>
                  <a:lnTo>
                    <a:pt x="1656" y="1044"/>
                  </a:lnTo>
                  <a:lnTo>
                    <a:pt x="1686" y="1026"/>
                  </a:lnTo>
                  <a:lnTo>
                    <a:pt x="1662" y="1026"/>
                  </a:lnTo>
                  <a:lnTo>
                    <a:pt x="1662" y="1008"/>
                  </a:lnTo>
                  <a:lnTo>
                    <a:pt x="1668" y="996"/>
                  </a:lnTo>
                  <a:lnTo>
                    <a:pt x="1686" y="978"/>
                  </a:lnTo>
                  <a:lnTo>
                    <a:pt x="1716" y="978"/>
                  </a:lnTo>
                  <a:lnTo>
                    <a:pt x="1728" y="984"/>
                  </a:lnTo>
                  <a:lnTo>
                    <a:pt x="1746" y="990"/>
                  </a:lnTo>
                  <a:lnTo>
                    <a:pt x="1782" y="1008"/>
                  </a:lnTo>
                  <a:lnTo>
                    <a:pt x="1812" y="1008"/>
                  </a:lnTo>
                  <a:lnTo>
                    <a:pt x="1830" y="1014"/>
                  </a:lnTo>
                  <a:lnTo>
                    <a:pt x="1830" y="1002"/>
                  </a:lnTo>
                  <a:lnTo>
                    <a:pt x="1824" y="990"/>
                  </a:lnTo>
                  <a:lnTo>
                    <a:pt x="1824" y="960"/>
                  </a:lnTo>
                  <a:lnTo>
                    <a:pt x="1830" y="954"/>
                  </a:lnTo>
                  <a:lnTo>
                    <a:pt x="1872" y="954"/>
                  </a:lnTo>
                  <a:lnTo>
                    <a:pt x="1884" y="960"/>
                  </a:lnTo>
                  <a:lnTo>
                    <a:pt x="1890" y="972"/>
                  </a:lnTo>
                  <a:lnTo>
                    <a:pt x="1914" y="972"/>
                  </a:lnTo>
                  <a:lnTo>
                    <a:pt x="1926" y="978"/>
                  </a:lnTo>
                  <a:lnTo>
                    <a:pt x="1944" y="978"/>
                  </a:lnTo>
                  <a:lnTo>
                    <a:pt x="1962" y="972"/>
                  </a:lnTo>
                  <a:lnTo>
                    <a:pt x="2082" y="972"/>
                  </a:lnTo>
                  <a:lnTo>
                    <a:pt x="2094" y="978"/>
                  </a:lnTo>
                  <a:lnTo>
                    <a:pt x="2106" y="978"/>
                  </a:lnTo>
                  <a:lnTo>
                    <a:pt x="2154" y="972"/>
                  </a:lnTo>
                  <a:lnTo>
                    <a:pt x="2166" y="984"/>
                  </a:lnTo>
                  <a:lnTo>
                    <a:pt x="2184" y="984"/>
                  </a:lnTo>
                  <a:lnTo>
                    <a:pt x="2208" y="1014"/>
                  </a:lnTo>
                  <a:lnTo>
                    <a:pt x="2250" y="1014"/>
                  </a:lnTo>
                  <a:lnTo>
                    <a:pt x="2268" y="1020"/>
                  </a:lnTo>
                  <a:lnTo>
                    <a:pt x="2262" y="1014"/>
                  </a:lnTo>
                  <a:lnTo>
                    <a:pt x="2262" y="1002"/>
                  </a:lnTo>
                  <a:lnTo>
                    <a:pt x="2256" y="996"/>
                  </a:lnTo>
                  <a:lnTo>
                    <a:pt x="2256" y="984"/>
                  </a:lnTo>
                  <a:lnTo>
                    <a:pt x="2280" y="984"/>
                  </a:lnTo>
                  <a:lnTo>
                    <a:pt x="2262" y="966"/>
                  </a:lnTo>
                  <a:lnTo>
                    <a:pt x="2262" y="960"/>
                  </a:lnTo>
                  <a:lnTo>
                    <a:pt x="2268" y="954"/>
                  </a:lnTo>
                  <a:lnTo>
                    <a:pt x="2286" y="954"/>
                  </a:lnTo>
                  <a:lnTo>
                    <a:pt x="2286" y="942"/>
                  </a:lnTo>
                  <a:lnTo>
                    <a:pt x="2274" y="936"/>
                  </a:lnTo>
                  <a:lnTo>
                    <a:pt x="2268" y="924"/>
                  </a:lnTo>
                  <a:lnTo>
                    <a:pt x="2226" y="882"/>
                  </a:lnTo>
                  <a:lnTo>
                    <a:pt x="2214" y="858"/>
                  </a:lnTo>
                  <a:lnTo>
                    <a:pt x="2214" y="828"/>
                  </a:lnTo>
                  <a:lnTo>
                    <a:pt x="2196" y="828"/>
                  </a:lnTo>
                  <a:lnTo>
                    <a:pt x="2184" y="822"/>
                  </a:lnTo>
                  <a:lnTo>
                    <a:pt x="2178" y="816"/>
                  </a:lnTo>
                  <a:lnTo>
                    <a:pt x="2178" y="810"/>
                  </a:lnTo>
                  <a:lnTo>
                    <a:pt x="2184" y="804"/>
                  </a:lnTo>
                  <a:lnTo>
                    <a:pt x="2196" y="798"/>
                  </a:lnTo>
                  <a:lnTo>
                    <a:pt x="2208" y="798"/>
                  </a:lnTo>
                  <a:lnTo>
                    <a:pt x="2220" y="792"/>
                  </a:lnTo>
                  <a:lnTo>
                    <a:pt x="2232" y="792"/>
                  </a:lnTo>
                  <a:lnTo>
                    <a:pt x="2268" y="774"/>
                  </a:lnTo>
                  <a:lnTo>
                    <a:pt x="2280" y="774"/>
                  </a:lnTo>
                  <a:lnTo>
                    <a:pt x="2286" y="780"/>
                  </a:lnTo>
                  <a:lnTo>
                    <a:pt x="2292" y="792"/>
                  </a:lnTo>
                  <a:lnTo>
                    <a:pt x="2298" y="798"/>
                  </a:lnTo>
                  <a:lnTo>
                    <a:pt x="2316" y="786"/>
                  </a:lnTo>
                  <a:lnTo>
                    <a:pt x="2328" y="798"/>
                  </a:lnTo>
                  <a:lnTo>
                    <a:pt x="2334" y="798"/>
                  </a:lnTo>
                  <a:lnTo>
                    <a:pt x="2340" y="792"/>
                  </a:lnTo>
                  <a:lnTo>
                    <a:pt x="2340" y="780"/>
                  </a:lnTo>
                  <a:lnTo>
                    <a:pt x="2334" y="774"/>
                  </a:lnTo>
                  <a:lnTo>
                    <a:pt x="2328" y="774"/>
                  </a:lnTo>
                  <a:lnTo>
                    <a:pt x="2322" y="768"/>
                  </a:lnTo>
                  <a:lnTo>
                    <a:pt x="2316" y="768"/>
                  </a:lnTo>
                  <a:lnTo>
                    <a:pt x="2316" y="630"/>
                  </a:lnTo>
                  <a:lnTo>
                    <a:pt x="2328" y="630"/>
                  </a:lnTo>
                  <a:lnTo>
                    <a:pt x="2340" y="636"/>
                  </a:lnTo>
                  <a:lnTo>
                    <a:pt x="2352" y="636"/>
                  </a:lnTo>
                  <a:lnTo>
                    <a:pt x="2376" y="648"/>
                  </a:lnTo>
                  <a:lnTo>
                    <a:pt x="2424" y="648"/>
                  </a:lnTo>
                  <a:lnTo>
                    <a:pt x="2436" y="660"/>
                  </a:lnTo>
                  <a:lnTo>
                    <a:pt x="2454" y="642"/>
                  </a:lnTo>
                  <a:lnTo>
                    <a:pt x="2472" y="642"/>
                  </a:lnTo>
                  <a:lnTo>
                    <a:pt x="2478" y="636"/>
                  </a:lnTo>
                  <a:lnTo>
                    <a:pt x="2478" y="618"/>
                  </a:lnTo>
                  <a:lnTo>
                    <a:pt x="2466" y="594"/>
                  </a:lnTo>
                  <a:lnTo>
                    <a:pt x="2454" y="582"/>
                  </a:lnTo>
                  <a:lnTo>
                    <a:pt x="2442" y="558"/>
                  </a:lnTo>
                  <a:lnTo>
                    <a:pt x="2442" y="540"/>
                  </a:lnTo>
                  <a:lnTo>
                    <a:pt x="2454" y="528"/>
                  </a:lnTo>
                  <a:lnTo>
                    <a:pt x="2496" y="528"/>
                  </a:lnTo>
                  <a:lnTo>
                    <a:pt x="2502" y="522"/>
                  </a:lnTo>
                  <a:lnTo>
                    <a:pt x="2502" y="510"/>
                  </a:lnTo>
                  <a:lnTo>
                    <a:pt x="2484" y="492"/>
                  </a:lnTo>
                  <a:close/>
                  <a:moveTo>
                    <a:pt x="2082" y="696"/>
                  </a:moveTo>
                  <a:lnTo>
                    <a:pt x="2046" y="696"/>
                  </a:lnTo>
                  <a:lnTo>
                    <a:pt x="2046" y="702"/>
                  </a:lnTo>
                  <a:lnTo>
                    <a:pt x="2040" y="708"/>
                  </a:lnTo>
                  <a:lnTo>
                    <a:pt x="2028" y="708"/>
                  </a:lnTo>
                  <a:lnTo>
                    <a:pt x="2022" y="702"/>
                  </a:lnTo>
                  <a:lnTo>
                    <a:pt x="2010" y="696"/>
                  </a:lnTo>
                  <a:lnTo>
                    <a:pt x="1980" y="702"/>
                  </a:lnTo>
                  <a:lnTo>
                    <a:pt x="1950" y="696"/>
                  </a:lnTo>
                  <a:lnTo>
                    <a:pt x="1932" y="696"/>
                  </a:lnTo>
                  <a:lnTo>
                    <a:pt x="1908" y="690"/>
                  </a:lnTo>
                  <a:lnTo>
                    <a:pt x="1860" y="690"/>
                  </a:lnTo>
                  <a:lnTo>
                    <a:pt x="1854" y="684"/>
                  </a:lnTo>
                  <a:lnTo>
                    <a:pt x="1854" y="678"/>
                  </a:lnTo>
                  <a:lnTo>
                    <a:pt x="1836" y="696"/>
                  </a:lnTo>
                  <a:lnTo>
                    <a:pt x="1830" y="696"/>
                  </a:lnTo>
                  <a:lnTo>
                    <a:pt x="1824" y="708"/>
                  </a:lnTo>
                  <a:lnTo>
                    <a:pt x="1824" y="714"/>
                  </a:lnTo>
                  <a:lnTo>
                    <a:pt x="1818" y="726"/>
                  </a:lnTo>
                  <a:lnTo>
                    <a:pt x="1812" y="732"/>
                  </a:lnTo>
                  <a:lnTo>
                    <a:pt x="1794" y="732"/>
                  </a:lnTo>
                  <a:lnTo>
                    <a:pt x="1800" y="762"/>
                  </a:lnTo>
                  <a:lnTo>
                    <a:pt x="1788" y="768"/>
                  </a:lnTo>
                  <a:lnTo>
                    <a:pt x="1806" y="786"/>
                  </a:lnTo>
                  <a:lnTo>
                    <a:pt x="1800" y="810"/>
                  </a:lnTo>
                  <a:lnTo>
                    <a:pt x="1794" y="810"/>
                  </a:lnTo>
                  <a:lnTo>
                    <a:pt x="1788" y="798"/>
                  </a:lnTo>
                  <a:lnTo>
                    <a:pt x="1776" y="792"/>
                  </a:lnTo>
                  <a:lnTo>
                    <a:pt x="1770" y="780"/>
                  </a:lnTo>
                  <a:lnTo>
                    <a:pt x="1758" y="774"/>
                  </a:lnTo>
                  <a:lnTo>
                    <a:pt x="1752" y="762"/>
                  </a:lnTo>
                  <a:lnTo>
                    <a:pt x="1752" y="750"/>
                  </a:lnTo>
                  <a:lnTo>
                    <a:pt x="1746" y="732"/>
                  </a:lnTo>
                  <a:lnTo>
                    <a:pt x="1746" y="720"/>
                  </a:lnTo>
                  <a:lnTo>
                    <a:pt x="1764" y="702"/>
                  </a:lnTo>
                  <a:lnTo>
                    <a:pt x="1776" y="702"/>
                  </a:lnTo>
                  <a:lnTo>
                    <a:pt x="1782" y="696"/>
                  </a:lnTo>
                  <a:lnTo>
                    <a:pt x="1788" y="684"/>
                  </a:lnTo>
                  <a:lnTo>
                    <a:pt x="1788" y="678"/>
                  </a:lnTo>
                  <a:lnTo>
                    <a:pt x="1800" y="666"/>
                  </a:lnTo>
                  <a:lnTo>
                    <a:pt x="1818" y="666"/>
                  </a:lnTo>
                  <a:lnTo>
                    <a:pt x="1830" y="672"/>
                  </a:lnTo>
                  <a:lnTo>
                    <a:pt x="1848" y="672"/>
                  </a:lnTo>
                  <a:lnTo>
                    <a:pt x="1854" y="666"/>
                  </a:lnTo>
                  <a:lnTo>
                    <a:pt x="1896" y="666"/>
                  </a:lnTo>
                  <a:lnTo>
                    <a:pt x="1908" y="672"/>
                  </a:lnTo>
                  <a:lnTo>
                    <a:pt x="1914" y="678"/>
                  </a:lnTo>
                  <a:lnTo>
                    <a:pt x="1932" y="678"/>
                  </a:lnTo>
                  <a:lnTo>
                    <a:pt x="1944" y="684"/>
                  </a:lnTo>
                  <a:lnTo>
                    <a:pt x="1974" y="684"/>
                  </a:lnTo>
                  <a:lnTo>
                    <a:pt x="1986" y="672"/>
                  </a:lnTo>
                  <a:lnTo>
                    <a:pt x="2028" y="672"/>
                  </a:lnTo>
                  <a:lnTo>
                    <a:pt x="2034" y="678"/>
                  </a:lnTo>
                  <a:lnTo>
                    <a:pt x="2046" y="678"/>
                  </a:lnTo>
                  <a:lnTo>
                    <a:pt x="2052" y="672"/>
                  </a:lnTo>
                  <a:lnTo>
                    <a:pt x="2064" y="666"/>
                  </a:lnTo>
                  <a:lnTo>
                    <a:pt x="2088" y="666"/>
                  </a:lnTo>
                  <a:lnTo>
                    <a:pt x="2088" y="684"/>
                  </a:lnTo>
                  <a:lnTo>
                    <a:pt x="2082" y="690"/>
                  </a:lnTo>
                  <a:lnTo>
                    <a:pt x="2082" y="696"/>
                  </a:lnTo>
                  <a:close/>
                </a:path>
              </a:pathLst>
            </a:cu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2700000" scaled="1"/>
              <a:tileRect/>
            </a:gra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sng"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35" name="Jordan" descr="© INSCALE GmbH, 05.05.2010&#10;http://www.presentationload.com/"/>
            <p:cNvSpPr>
              <a:spLocks/>
            </p:cNvSpPr>
            <p:nvPr/>
          </p:nvSpPr>
          <p:spPr bwMode="gray">
            <a:xfrm>
              <a:off x="5189543" y="2998788"/>
              <a:ext cx="112713" cy="134938"/>
            </a:xfrm>
            <a:custGeom>
              <a:avLst/>
              <a:gdLst>
                <a:gd name="T0" fmla="*/ 2147483647 w 282"/>
                <a:gd name="T1" fmla="*/ 2147483647 h 336"/>
                <a:gd name="T2" fmla="*/ 2147483647 w 282"/>
                <a:gd name="T3" fmla="*/ 2147483647 h 336"/>
                <a:gd name="T4" fmla="*/ 2147483647 w 282"/>
                <a:gd name="T5" fmla="*/ 0 h 336"/>
                <a:gd name="T6" fmla="*/ 2147483647 w 282"/>
                <a:gd name="T7" fmla="*/ 2147483647 h 336"/>
                <a:gd name="T8" fmla="*/ 2147483647 w 282"/>
                <a:gd name="T9" fmla="*/ 2147483647 h 336"/>
                <a:gd name="T10" fmla="*/ 2147483647 w 282"/>
                <a:gd name="T11" fmla="*/ 2147483647 h 336"/>
                <a:gd name="T12" fmla="*/ 2147483647 w 282"/>
                <a:gd name="T13" fmla="*/ 2147483647 h 336"/>
                <a:gd name="T14" fmla="*/ 2147483647 w 282"/>
                <a:gd name="T15" fmla="*/ 2147483647 h 336"/>
                <a:gd name="T16" fmla="*/ 2147483647 w 282"/>
                <a:gd name="T17" fmla="*/ 2147483647 h 336"/>
                <a:gd name="T18" fmla="*/ 2147483647 w 282"/>
                <a:gd name="T19" fmla="*/ 2147483647 h 336"/>
                <a:gd name="T20" fmla="*/ 2147483647 w 282"/>
                <a:gd name="T21" fmla="*/ 2147483647 h 336"/>
                <a:gd name="T22" fmla="*/ 2147483647 w 282"/>
                <a:gd name="T23" fmla="*/ 2147483647 h 336"/>
                <a:gd name="T24" fmla="*/ 2147483647 w 282"/>
                <a:gd name="T25" fmla="*/ 2147483647 h 336"/>
                <a:gd name="T26" fmla="*/ 2147483647 w 282"/>
                <a:gd name="T27" fmla="*/ 2147483647 h 336"/>
                <a:gd name="T28" fmla="*/ 2147483647 w 282"/>
                <a:gd name="T29" fmla="*/ 2147483647 h 336"/>
                <a:gd name="T30" fmla="*/ 2147483647 w 282"/>
                <a:gd name="T31" fmla="*/ 2147483647 h 336"/>
                <a:gd name="T32" fmla="*/ 2147483647 w 282"/>
                <a:gd name="T33" fmla="*/ 2147483647 h 336"/>
                <a:gd name="T34" fmla="*/ 2147483647 w 282"/>
                <a:gd name="T35" fmla="*/ 2147483647 h 336"/>
                <a:gd name="T36" fmla="*/ 2147483647 w 282"/>
                <a:gd name="T37" fmla="*/ 2147483647 h 336"/>
                <a:gd name="T38" fmla="*/ 2147483647 w 282"/>
                <a:gd name="T39" fmla="*/ 2147483647 h 336"/>
                <a:gd name="T40" fmla="*/ 2147483647 w 282"/>
                <a:gd name="T41" fmla="*/ 2147483647 h 336"/>
                <a:gd name="T42" fmla="*/ 2147483647 w 282"/>
                <a:gd name="T43" fmla="*/ 2147483647 h 336"/>
                <a:gd name="T44" fmla="*/ 2147483647 w 282"/>
                <a:gd name="T45" fmla="*/ 2147483647 h 336"/>
                <a:gd name="T46" fmla="*/ 0 w 282"/>
                <a:gd name="T47" fmla="*/ 2147483647 h 336"/>
                <a:gd name="T48" fmla="*/ 0 w 282"/>
                <a:gd name="T49" fmla="*/ 2147483647 h 336"/>
                <a:gd name="T50" fmla="*/ 2147483647 w 282"/>
                <a:gd name="T51" fmla="*/ 2147483647 h 336"/>
                <a:gd name="T52" fmla="*/ 2147483647 w 282"/>
                <a:gd name="T53" fmla="*/ 2147483647 h 336"/>
                <a:gd name="T54" fmla="*/ 2147483647 w 282"/>
                <a:gd name="T55" fmla="*/ 2147483647 h 336"/>
                <a:gd name="T56" fmla="*/ 2147483647 w 282"/>
                <a:gd name="T57" fmla="*/ 2147483647 h 336"/>
                <a:gd name="T58" fmla="*/ 2147483647 w 282"/>
                <a:gd name="T59" fmla="*/ 2147483647 h 336"/>
                <a:gd name="T60" fmla="*/ 2147483647 w 282"/>
                <a:gd name="T61" fmla="*/ 2147483647 h 336"/>
                <a:gd name="T62" fmla="*/ 2147483647 w 282"/>
                <a:gd name="T63" fmla="*/ 2147483647 h 336"/>
                <a:gd name="T64" fmla="*/ 2147483647 w 282"/>
                <a:gd name="T65" fmla="*/ 2147483647 h 336"/>
                <a:gd name="T66" fmla="*/ 2147483647 w 282"/>
                <a:gd name="T67" fmla="*/ 2147483647 h 336"/>
                <a:gd name="T68" fmla="*/ 2147483647 w 282"/>
                <a:gd name="T69" fmla="*/ 2147483647 h 336"/>
                <a:gd name="T70" fmla="*/ 2147483647 w 282"/>
                <a:gd name="T71" fmla="*/ 2147483647 h 336"/>
                <a:gd name="T72" fmla="*/ 2147483647 w 282"/>
                <a:gd name="T73" fmla="*/ 2147483647 h 336"/>
                <a:gd name="T74" fmla="*/ 2147483647 w 282"/>
                <a:gd name="T75" fmla="*/ 2147483647 h 336"/>
                <a:gd name="T76" fmla="*/ 2147483647 w 282"/>
                <a:gd name="T77" fmla="*/ 2147483647 h 336"/>
                <a:gd name="T78" fmla="*/ 2147483647 w 282"/>
                <a:gd name="T79" fmla="*/ 2147483647 h 336"/>
                <a:gd name="T80" fmla="*/ 2147483647 w 282"/>
                <a:gd name="T81" fmla="*/ 2147483647 h 336"/>
                <a:gd name="T82" fmla="*/ 2147483647 w 282"/>
                <a:gd name="T83" fmla="*/ 2147483647 h 336"/>
                <a:gd name="T84" fmla="*/ 2147483647 w 282"/>
                <a:gd name="T85" fmla="*/ 2147483647 h 336"/>
                <a:gd name="T86" fmla="*/ 2147483647 w 282"/>
                <a:gd name="T87" fmla="*/ 2147483647 h 336"/>
                <a:gd name="T88" fmla="*/ 2147483647 w 282"/>
                <a:gd name="T89" fmla="*/ 2147483647 h 336"/>
                <a:gd name="T90" fmla="*/ 2147483647 w 282"/>
                <a:gd name="T91" fmla="*/ 2147483647 h 336"/>
                <a:gd name="T92" fmla="*/ 2147483647 w 282"/>
                <a:gd name="T93" fmla="*/ 2147483647 h 336"/>
                <a:gd name="T94" fmla="*/ 2147483647 w 282"/>
                <a:gd name="T95" fmla="*/ 2147483647 h 336"/>
                <a:gd name="T96" fmla="*/ 2147483647 w 282"/>
                <a:gd name="T97" fmla="*/ 2147483647 h 336"/>
                <a:gd name="T98" fmla="*/ 2147483647 w 282"/>
                <a:gd name="T99" fmla="*/ 2147483647 h 336"/>
                <a:gd name="T100" fmla="*/ 2147483647 w 282"/>
                <a:gd name="T101" fmla="*/ 2147483647 h 336"/>
                <a:gd name="T102" fmla="*/ 2147483647 w 282"/>
                <a:gd name="T103" fmla="*/ 2147483647 h 336"/>
                <a:gd name="T104" fmla="*/ 2147483647 w 282"/>
                <a:gd name="T105" fmla="*/ 2147483647 h 336"/>
                <a:gd name="T106" fmla="*/ 2147483647 w 282"/>
                <a:gd name="T107" fmla="*/ 2147483647 h 336"/>
                <a:gd name="T108" fmla="*/ 2147483647 w 282"/>
                <a:gd name="T109" fmla="*/ 2147483647 h 336"/>
                <a:gd name="T110" fmla="*/ 2147483647 w 282"/>
                <a:gd name="T111" fmla="*/ 2147483647 h 336"/>
                <a:gd name="T112" fmla="*/ 2147483647 w 282"/>
                <a:gd name="T113" fmla="*/ 2147483647 h 336"/>
                <a:gd name="T114" fmla="*/ 2147483647 w 282"/>
                <a:gd name="T115" fmla="*/ 2147483647 h 336"/>
                <a:gd name="T116" fmla="*/ 2147483647 w 282"/>
                <a:gd name="T117" fmla="*/ 2147483647 h 336"/>
                <a:gd name="T118" fmla="*/ 2147483647 w 282"/>
                <a:gd name="T119" fmla="*/ 2147483647 h 336"/>
                <a:gd name="T120" fmla="*/ 2147483647 w 282"/>
                <a:gd name="T121" fmla="*/ 2147483647 h 336"/>
                <a:gd name="T122" fmla="*/ 2147483647 w 282"/>
                <a:gd name="T123" fmla="*/ 2147483647 h 3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82"/>
                <a:gd name="T187" fmla="*/ 0 h 336"/>
                <a:gd name="T188" fmla="*/ 282 w 282"/>
                <a:gd name="T189" fmla="*/ 336 h 3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82" h="336">
                  <a:moveTo>
                    <a:pt x="258" y="60"/>
                  </a:moveTo>
                  <a:lnTo>
                    <a:pt x="258" y="42"/>
                  </a:lnTo>
                  <a:lnTo>
                    <a:pt x="234" y="0"/>
                  </a:lnTo>
                  <a:lnTo>
                    <a:pt x="222" y="6"/>
                  </a:lnTo>
                  <a:lnTo>
                    <a:pt x="198" y="30"/>
                  </a:lnTo>
                  <a:lnTo>
                    <a:pt x="138" y="78"/>
                  </a:lnTo>
                  <a:lnTo>
                    <a:pt x="114" y="84"/>
                  </a:lnTo>
                  <a:lnTo>
                    <a:pt x="96" y="84"/>
                  </a:lnTo>
                  <a:lnTo>
                    <a:pt x="84" y="78"/>
                  </a:lnTo>
                  <a:lnTo>
                    <a:pt x="72" y="66"/>
                  </a:lnTo>
                  <a:lnTo>
                    <a:pt x="36" y="48"/>
                  </a:lnTo>
                  <a:lnTo>
                    <a:pt x="30" y="48"/>
                  </a:lnTo>
                  <a:lnTo>
                    <a:pt x="24" y="66"/>
                  </a:lnTo>
                  <a:lnTo>
                    <a:pt x="30" y="138"/>
                  </a:lnTo>
                  <a:lnTo>
                    <a:pt x="18" y="150"/>
                  </a:lnTo>
                  <a:lnTo>
                    <a:pt x="18" y="162"/>
                  </a:lnTo>
                  <a:lnTo>
                    <a:pt x="30" y="174"/>
                  </a:lnTo>
                  <a:lnTo>
                    <a:pt x="30" y="186"/>
                  </a:lnTo>
                  <a:lnTo>
                    <a:pt x="24" y="198"/>
                  </a:lnTo>
                  <a:lnTo>
                    <a:pt x="18" y="204"/>
                  </a:lnTo>
                  <a:lnTo>
                    <a:pt x="12" y="216"/>
                  </a:lnTo>
                  <a:lnTo>
                    <a:pt x="6" y="222"/>
                  </a:lnTo>
                  <a:lnTo>
                    <a:pt x="6" y="282"/>
                  </a:lnTo>
                  <a:lnTo>
                    <a:pt x="0" y="294"/>
                  </a:lnTo>
                  <a:lnTo>
                    <a:pt x="0" y="312"/>
                  </a:lnTo>
                  <a:lnTo>
                    <a:pt x="6" y="324"/>
                  </a:lnTo>
                  <a:lnTo>
                    <a:pt x="24" y="324"/>
                  </a:lnTo>
                  <a:lnTo>
                    <a:pt x="48" y="336"/>
                  </a:lnTo>
                  <a:lnTo>
                    <a:pt x="84" y="336"/>
                  </a:lnTo>
                  <a:lnTo>
                    <a:pt x="96" y="324"/>
                  </a:lnTo>
                  <a:lnTo>
                    <a:pt x="108" y="300"/>
                  </a:lnTo>
                  <a:lnTo>
                    <a:pt x="108" y="288"/>
                  </a:lnTo>
                  <a:lnTo>
                    <a:pt x="120" y="276"/>
                  </a:lnTo>
                  <a:lnTo>
                    <a:pt x="126" y="276"/>
                  </a:lnTo>
                  <a:lnTo>
                    <a:pt x="138" y="270"/>
                  </a:lnTo>
                  <a:lnTo>
                    <a:pt x="150" y="270"/>
                  </a:lnTo>
                  <a:lnTo>
                    <a:pt x="162" y="264"/>
                  </a:lnTo>
                  <a:lnTo>
                    <a:pt x="168" y="258"/>
                  </a:lnTo>
                  <a:lnTo>
                    <a:pt x="174" y="246"/>
                  </a:lnTo>
                  <a:lnTo>
                    <a:pt x="180" y="240"/>
                  </a:lnTo>
                  <a:lnTo>
                    <a:pt x="180" y="228"/>
                  </a:lnTo>
                  <a:lnTo>
                    <a:pt x="186" y="222"/>
                  </a:lnTo>
                  <a:lnTo>
                    <a:pt x="186" y="210"/>
                  </a:lnTo>
                  <a:lnTo>
                    <a:pt x="180" y="204"/>
                  </a:lnTo>
                  <a:lnTo>
                    <a:pt x="168" y="180"/>
                  </a:lnTo>
                  <a:lnTo>
                    <a:pt x="144" y="156"/>
                  </a:lnTo>
                  <a:lnTo>
                    <a:pt x="132" y="156"/>
                  </a:lnTo>
                  <a:lnTo>
                    <a:pt x="120" y="150"/>
                  </a:lnTo>
                  <a:lnTo>
                    <a:pt x="96" y="150"/>
                  </a:lnTo>
                  <a:lnTo>
                    <a:pt x="96" y="144"/>
                  </a:lnTo>
                  <a:lnTo>
                    <a:pt x="108" y="144"/>
                  </a:lnTo>
                  <a:lnTo>
                    <a:pt x="120" y="138"/>
                  </a:lnTo>
                  <a:lnTo>
                    <a:pt x="186" y="138"/>
                  </a:lnTo>
                  <a:lnTo>
                    <a:pt x="198" y="114"/>
                  </a:lnTo>
                  <a:lnTo>
                    <a:pt x="240" y="114"/>
                  </a:lnTo>
                  <a:lnTo>
                    <a:pt x="252" y="108"/>
                  </a:lnTo>
                  <a:lnTo>
                    <a:pt x="258" y="102"/>
                  </a:lnTo>
                  <a:lnTo>
                    <a:pt x="264" y="102"/>
                  </a:lnTo>
                  <a:lnTo>
                    <a:pt x="276" y="96"/>
                  </a:lnTo>
                  <a:lnTo>
                    <a:pt x="282" y="90"/>
                  </a:lnTo>
                  <a:lnTo>
                    <a:pt x="282" y="78"/>
                  </a:lnTo>
                  <a:lnTo>
                    <a:pt x="258" y="60"/>
                  </a:lnTo>
                  <a:close/>
                </a:path>
              </a:pathLst>
            </a:custGeom>
            <a:solidFill>
              <a:srgbClr val="FFC000"/>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36" name="Jamaica" descr="© INSCALE GmbH, 05.05.2010&#10;http://www.presentationload.com/"/>
            <p:cNvSpPr>
              <a:spLocks/>
            </p:cNvSpPr>
            <p:nvPr/>
          </p:nvSpPr>
          <p:spPr bwMode="gray">
            <a:xfrm>
              <a:off x="2000251" y="3481387"/>
              <a:ext cx="63500" cy="20638"/>
            </a:xfrm>
            <a:custGeom>
              <a:avLst/>
              <a:gdLst>
                <a:gd name="T0" fmla="*/ 2147483647 w 156"/>
                <a:gd name="T1" fmla="*/ 2147483647 h 54"/>
                <a:gd name="T2" fmla="*/ 2147483647 w 156"/>
                <a:gd name="T3" fmla="*/ 2147483647 h 54"/>
                <a:gd name="T4" fmla="*/ 2147483647 w 156"/>
                <a:gd name="T5" fmla="*/ 2147483647 h 54"/>
                <a:gd name="T6" fmla="*/ 2147483647 w 156"/>
                <a:gd name="T7" fmla="*/ 2147483647 h 54"/>
                <a:gd name="T8" fmla="*/ 2147483647 w 156"/>
                <a:gd name="T9" fmla="*/ 2147483647 h 54"/>
                <a:gd name="T10" fmla="*/ 2147483647 w 156"/>
                <a:gd name="T11" fmla="*/ 2147483647 h 54"/>
                <a:gd name="T12" fmla="*/ 2147483647 w 156"/>
                <a:gd name="T13" fmla="*/ 2147483647 h 54"/>
                <a:gd name="T14" fmla="*/ 2147483647 w 156"/>
                <a:gd name="T15" fmla="*/ 2147483647 h 54"/>
                <a:gd name="T16" fmla="*/ 2147483647 w 156"/>
                <a:gd name="T17" fmla="*/ 0 h 54"/>
                <a:gd name="T18" fmla="*/ 2147483647 w 156"/>
                <a:gd name="T19" fmla="*/ 0 h 54"/>
                <a:gd name="T20" fmla="*/ 2147483647 w 156"/>
                <a:gd name="T21" fmla="*/ 2147483647 h 54"/>
                <a:gd name="T22" fmla="*/ 0 w 156"/>
                <a:gd name="T23" fmla="*/ 2147483647 h 54"/>
                <a:gd name="T24" fmla="*/ 2147483647 w 156"/>
                <a:gd name="T25" fmla="*/ 2147483647 h 54"/>
                <a:gd name="T26" fmla="*/ 2147483647 w 156"/>
                <a:gd name="T27" fmla="*/ 2147483647 h 54"/>
                <a:gd name="T28" fmla="*/ 2147483647 w 156"/>
                <a:gd name="T29" fmla="*/ 2147483647 h 54"/>
                <a:gd name="T30" fmla="*/ 2147483647 w 156"/>
                <a:gd name="T31" fmla="*/ 2147483647 h 54"/>
                <a:gd name="T32" fmla="*/ 2147483647 w 156"/>
                <a:gd name="T33" fmla="*/ 2147483647 h 54"/>
                <a:gd name="T34" fmla="*/ 2147483647 w 156"/>
                <a:gd name="T35" fmla="*/ 2147483647 h 54"/>
                <a:gd name="T36" fmla="*/ 2147483647 w 156"/>
                <a:gd name="T37" fmla="*/ 2147483647 h 5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6"/>
                <a:gd name="T58" fmla="*/ 0 h 54"/>
                <a:gd name="T59" fmla="*/ 156 w 156"/>
                <a:gd name="T60" fmla="*/ 54 h 5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6" h="54">
                  <a:moveTo>
                    <a:pt x="108" y="54"/>
                  </a:moveTo>
                  <a:lnTo>
                    <a:pt x="114" y="36"/>
                  </a:lnTo>
                  <a:lnTo>
                    <a:pt x="156" y="48"/>
                  </a:lnTo>
                  <a:lnTo>
                    <a:pt x="156" y="42"/>
                  </a:lnTo>
                  <a:lnTo>
                    <a:pt x="150" y="36"/>
                  </a:lnTo>
                  <a:lnTo>
                    <a:pt x="144" y="24"/>
                  </a:lnTo>
                  <a:lnTo>
                    <a:pt x="126" y="6"/>
                  </a:lnTo>
                  <a:lnTo>
                    <a:pt x="84" y="6"/>
                  </a:lnTo>
                  <a:lnTo>
                    <a:pt x="66" y="0"/>
                  </a:lnTo>
                  <a:lnTo>
                    <a:pt x="24" y="0"/>
                  </a:lnTo>
                  <a:lnTo>
                    <a:pt x="12" y="6"/>
                  </a:lnTo>
                  <a:lnTo>
                    <a:pt x="0" y="6"/>
                  </a:lnTo>
                  <a:lnTo>
                    <a:pt x="6" y="18"/>
                  </a:lnTo>
                  <a:lnTo>
                    <a:pt x="18" y="24"/>
                  </a:lnTo>
                  <a:lnTo>
                    <a:pt x="24" y="36"/>
                  </a:lnTo>
                  <a:lnTo>
                    <a:pt x="36" y="42"/>
                  </a:lnTo>
                  <a:lnTo>
                    <a:pt x="60" y="42"/>
                  </a:lnTo>
                  <a:lnTo>
                    <a:pt x="78" y="48"/>
                  </a:lnTo>
                  <a:lnTo>
                    <a:pt x="108" y="54"/>
                  </a:lnTo>
                  <a:close/>
                </a:path>
              </a:pathLst>
            </a:custGeom>
            <a:solidFill>
              <a:srgbClr val="658B26"/>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37" name="Japan" descr="© INSCALE GmbH, 05.05.2010&#10;http://www.presentationload.com/"/>
            <p:cNvSpPr>
              <a:spLocks noEditPoints="1"/>
            </p:cNvSpPr>
            <p:nvPr/>
          </p:nvSpPr>
          <p:spPr bwMode="gray">
            <a:xfrm>
              <a:off x="7673982" y="2605087"/>
              <a:ext cx="352425" cy="687387"/>
            </a:xfrm>
            <a:custGeom>
              <a:avLst/>
              <a:gdLst>
                <a:gd name="T0" fmla="*/ 2147483647 w 876"/>
                <a:gd name="T1" fmla="*/ 2147483647 h 1710"/>
                <a:gd name="T2" fmla="*/ 2147483647 w 876"/>
                <a:gd name="T3" fmla="*/ 2147483647 h 1710"/>
                <a:gd name="T4" fmla="*/ 2147483647 w 876"/>
                <a:gd name="T5" fmla="*/ 2147483647 h 1710"/>
                <a:gd name="T6" fmla="*/ 2147483647 w 876"/>
                <a:gd name="T7" fmla="*/ 2147483647 h 1710"/>
                <a:gd name="T8" fmla="*/ 2147483647 w 876"/>
                <a:gd name="T9" fmla="*/ 2147483647 h 1710"/>
                <a:gd name="T10" fmla="*/ 2147483647 w 876"/>
                <a:gd name="T11" fmla="*/ 2147483647 h 1710"/>
                <a:gd name="T12" fmla="*/ 2147483647 w 876"/>
                <a:gd name="T13" fmla="*/ 2147483647 h 1710"/>
                <a:gd name="T14" fmla="*/ 2147483647 w 876"/>
                <a:gd name="T15" fmla="*/ 2147483647 h 1710"/>
                <a:gd name="T16" fmla="*/ 2147483647 w 876"/>
                <a:gd name="T17" fmla="*/ 2147483647 h 1710"/>
                <a:gd name="T18" fmla="*/ 2147483647 w 876"/>
                <a:gd name="T19" fmla="*/ 2147483647 h 1710"/>
                <a:gd name="T20" fmla="*/ 2147483647 w 876"/>
                <a:gd name="T21" fmla="*/ 2147483647 h 1710"/>
                <a:gd name="T22" fmla="*/ 2147483647 w 876"/>
                <a:gd name="T23" fmla="*/ 2147483647 h 1710"/>
                <a:gd name="T24" fmla="*/ 2147483647 w 876"/>
                <a:gd name="T25" fmla="*/ 2147483647 h 1710"/>
                <a:gd name="T26" fmla="*/ 2147483647 w 876"/>
                <a:gd name="T27" fmla="*/ 2147483647 h 1710"/>
                <a:gd name="T28" fmla="*/ 2147483647 w 876"/>
                <a:gd name="T29" fmla="*/ 2147483647 h 1710"/>
                <a:gd name="T30" fmla="*/ 2147483647 w 876"/>
                <a:gd name="T31" fmla="*/ 2147483647 h 1710"/>
                <a:gd name="T32" fmla="*/ 2147483647 w 876"/>
                <a:gd name="T33" fmla="*/ 2147483647 h 1710"/>
                <a:gd name="T34" fmla="*/ 2147483647 w 876"/>
                <a:gd name="T35" fmla="*/ 2147483647 h 1710"/>
                <a:gd name="T36" fmla="*/ 2147483647 w 876"/>
                <a:gd name="T37" fmla="*/ 2147483647 h 1710"/>
                <a:gd name="T38" fmla="*/ 2147483647 w 876"/>
                <a:gd name="T39" fmla="*/ 2147483647 h 1710"/>
                <a:gd name="T40" fmla="*/ 2147483647 w 876"/>
                <a:gd name="T41" fmla="*/ 2147483647 h 1710"/>
                <a:gd name="T42" fmla="*/ 2147483647 w 876"/>
                <a:gd name="T43" fmla="*/ 2147483647 h 1710"/>
                <a:gd name="T44" fmla="*/ 2147483647 w 876"/>
                <a:gd name="T45" fmla="*/ 2147483647 h 1710"/>
                <a:gd name="T46" fmla="*/ 2147483647 w 876"/>
                <a:gd name="T47" fmla="*/ 2147483647 h 1710"/>
                <a:gd name="T48" fmla="*/ 2147483647 w 876"/>
                <a:gd name="T49" fmla="*/ 2147483647 h 1710"/>
                <a:gd name="T50" fmla="*/ 2147483647 w 876"/>
                <a:gd name="T51" fmla="*/ 2147483647 h 1710"/>
                <a:gd name="T52" fmla="*/ 2147483647 w 876"/>
                <a:gd name="T53" fmla="*/ 2147483647 h 1710"/>
                <a:gd name="T54" fmla="*/ 2147483647 w 876"/>
                <a:gd name="T55" fmla="*/ 2147483647 h 1710"/>
                <a:gd name="T56" fmla="*/ 2147483647 w 876"/>
                <a:gd name="T57" fmla="*/ 2147483647 h 1710"/>
                <a:gd name="T58" fmla="*/ 2147483647 w 876"/>
                <a:gd name="T59" fmla="*/ 2147483647 h 1710"/>
                <a:gd name="T60" fmla="*/ 2147483647 w 876"/>
                <a:gd name="T61" fmla="*/ 2147483647 h 1710"/>
                <a:gd name="T62" fmla="*/ 2147483647 w 876"/>
                <a:gd name="T63" fmla="*/ 2147483647 h 1710"/>
                <a:gd name="T64" fmla="*/ 2147483647 w 876"/>
                <a:gd name="T65" fmla="*/ 2147483647 h 1710"/>
                <a:gd name="T66" fmla="*/ 2147483647 w 876"/>
                <a:gd name="T67" fmla="*/ 2147483647 h 1710"/>
                <a:gd name="T68" fmla="*/ 2147483647 w 876"/>
                <a:gd name="T69" fmla="*/ 2147483647 h 1710"/>
                <a:gd name="T70" fmla="*/ 2147483647 w 876"/>
                <a:gd name="T71" fmla="*/ 2147483647 h 1710"/>
                <a:gd name="T72" fmla="*/ 2147483647 w 876"/>
                <a:gd name="T73" fmla="*/ 2147483647 h 1710"/>
                <a:gd name="T74" fmla="*/ 2147483647 w 876"/>
                <a:gd name="T75" fmla="*/ 2147483647 h 1710"/>
                <a:gd name="T76" fmla="*/ 2147483647 w 876"/>
                <a:gd name="T77" fmla="*/ 2147483647 h 1710"/>
                <a:gd name="T78" fmla="*/ 2147483647 w 876"/>
                <a:gd name="T79" fmla="*/ 2147483647 h 1710"/>
                <a:gd name="T80" fmla="*/ 2147483647 w 876"/>
                <a:gd name="T81" fmla="*/ 2147483647 h 1710"/>
                <a:gd name="T82" fmla="*/ 2147483647 w 876"/>
                <a:gd name="T83" fmla="*/ 2147483647 h 1710"/>
                <a:gd name="T84" fmla="*/ 2147483647 w 876"/>
                <a:gd name="T85" fmla="*/ 2147483647 h 1710"/>
                <a:gd name="T86" fmla="*/ 2147483647 w 876"/>
                <a:gd name="T87" fmla="*/ 2147483647 h 1710"/>
                <a:gd name="T88" fmla="*/ 2147483647 w 876"/>
                <a:gd name="T89" fmla="*/ 2147483647 h 1710"/>
                <a:gd name="T90" fmla="*/ 2147483647 w 876"/>
                <a:gd name="T91" fmla="*/ 2147483647 h 1710"/>
                <a:gd name="T92" fmla="*/ 2147483647 w 876"/>
                <a:gd name="T93" fmla="*/ 2147483647 h 1710"/>
                <a:gd name="T94" fmla="*/ 2147483647 w 876"/>
                <a:gd name="T95" fmla="*/ 2147483647 h 1710"/>
                <a:gd name="T96" fmla="*/ 2147483647 w 876"/>
                <a:gd name="T97" fmla="*/ 2147483647 h 1710"/>
                <a:gd name="T98" fmla="*/ 2147483647 w 876"/>
                <a:gd name="T99" fmla="*/ 2147483647 h 1710"/>
                <a:gd name="T100" fmla="*/ 2147483647 w 876"/>
                <a:gd name="T101" fmla="*/ 2147483647 h 1710"/>
                <a:gd name="T102" fmla="*/ 2147483647 w 876"/>
                <a:gd name="T103" fmla="*/ 2147483647 h 1710"/>
                <a:gd name="T104" fmla="*/ 2147483647 w 876"/>
                <a:gd name="T105" fmla="*/ 2147483647 h 1710"/>
                <a:gd name="T106" fmla="*/ 2147483647 w 876"/>
                <a:gd name="T107" fmla="*/ 2147483647 h 1710"/>
                <a:gd name="T108" fmla="*/ 2147483647 w 876"/>
                <a:gd name="T109" fmla="*/ 2147483647 h 1710"/>
                <a:gd name="T110" fmla="*/ 2147483647 w 876"/>
                <a:gd name="T111" fmla="*/ 2147483647 h 1710"/>
                <a:gd name="T112" fmla="*/ 2147483647 w 876"/>
                <a:gd name="T113" fmla="*/ 2147483647 h 1710"/>
                <a:gd name="T114" fmla="*/ 2147483647 w 876"/>
                <a:gd name="T115" fmla="*/ 2147483647 h 1710"/>
                <a:gd name="T116" fmla="*/ 2147483647 w 876"/>
                <a:gd name="T117" fmla="*/ 2147483647 h 1710"/>
                <a:gd name="T118" fmla="*/ 2147483647 w 876"/>
                <a:gd name="T119" fmla="*/ 2147483647 h 171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6"/>
                <a:gd name="T181" fmla="*/ 0 h 1710"/>
                <a:gd name="T182" fmla="*/ 876 w 876"/>
                <a:gd name="T183" fmla="*/ 1710 h 171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6" h="1710">
                  <a:moveTo>
                    <a:pt x="876" y="780"/>
                  </a:moveTo>
                  <a:lnTo>
                    <a:pt x="864" y="774"/>
                  </a:lnTo>
                  <a:lnTo>
                    <a:pt x="858" y="768"/>
                  </a:lnTo>
                  <a:lnTo>
                    <a:pt x="846" y="762"/>
                  </a:lnTo>
                  <a:lnTo>
                    <a:pt x="840" y="750"/>
                  </a:lnTo>
                  <a:lnTo>
                    <a:pt x="828" y="744"/>
                  </a:lnTo>
                  <a:lnTo>
                    <a:pt x="828" y="720"/>
                  </a:lnTo>
                  <a:lnTo>
                    <a:pt x="834" y="702"/>
                  </a:lnTo>
                  <a:lnTo>
                    <a:pt x="834" y="684"/>
                  </a:lnTo>
                  <a:lnTo>
                    <a:pt x="828" y="666"/>
                  </a:lnTo>
                  <a:lnTo>
                    <a:pt x="816" y="642"/>
                  </a:lnTo>
                  <a:lnTo>
                    <a:pt x="792" y="618"/>
                  </a:lnTo>
                  <a:lnTo>
                    <a:pt x="786" y="600"/>
                  </a:lnTo>
                  <a:lnTo>
                    <a:pt x="786" y="576"/>
                  </a:lnTo>
                  <a:lnTo>
                    <a:pt x="792" y="570"/>
                  </a:lnTo>
                  <a:lnTo>
                    <a:pt x="810" y="570"/>
                  </a:lnTo>
                  <a:lnTo>
                    <a:pt x="810" y="528"/>
                  </a:lnTo>
                  <a:lnTo>
                    <a:pt x="798" y="516"/>
                  </a:lnTo>
                  <a:lnTo>
                    <a:pt x="810" y="510"/>
                  </a:lnTo>
                  <a:lnTo>
                    <a:pt x="810" y="498"/>
                  </a:lnTo>
                  <a:lnTo>
                    <a:pt x="804" y="486"/>
                  </a:lnTo>
                  <a:lnTo>
                    <a:pt x="804" y="474"/>
                  </a:lnTo>
                  <a:lnTo>
                    <a:pt x="798" y="468"/>
                  </a:lnTo>
                  <a:lnTo>
                    <a:pt x="792" y="456"/>
                  </a:lnTo>
                  <a:lnTo>
                    <a:pt x="786" y="450"/>
                  </a:lnTo>
                  <a:lnTo>
                    <a:pt x="774" y="444"/>
                  </a:lnTo>
                  <a:lnTo>
                    <a:pt x="768" y="438"/>
                  </a:lnTo>
                  <a:lnTo>
                    <a:pt x="762" y="420"/>
                  </a:lnTo>
                  <a:lnTo>
                    <a:pt x="756" y="420"/>
                  </a:lnTo>
                  <a:lnTo>
                    <a:pt x="738" y="402"/>
                  </a:lnTo>
                  <a:lnTo>
                    <a:pt x="714" y="390"/>
                  </a:lnTo>
                  <a:lnTo>
                    <a:pt x="702" y="378"/>
                  </a:lnTo>
                  <a:lnTo>
                    <a:pt x="696" y="360"/>
                  </a:lnTo>
                  <a:lnTo>
                    <a:pt x="690" y="348"/>
                  </a:lnTo>
                  <a:lnTo>
                    <a:pt x="690" y="330"/>
                  </a:lnTo>
                  <a:lnTo>
                    <a:pt x="684" y="324"/>
                  </a:lnTo>
                  <a:lnTo>
                    <a:pt x="678" y="324"/>
                  </a:lnTo>
                  <a:lnTo>
                    <a:pt x="666" y="318"/>
                  </a:lnTo>
                  <a:lnTo>
                    <a:pt x="654" y="318"/>
                  </a:lnTo>
                  <a:lnTo>
                    <a:pt x="648" y="324"/>
                  </a:lnTo>
                  <a:lnTo>
                    <a:pt x="648" y="342"/>
                  </a:lnTo>
                  <a:lnTo>
                    <a:pt x="654" y="342"/>
                  </a:lnTo>
                  <a:lnTo>
                    <a:pt x="660" y="348"/>
                  </a:lnTo>
                  <a:lnTo>
                    <a:pt x="672" y="342"/>
                  </a:lnTo>
                  <a:lnTo>
                    <a:pt x="678" y="348"/>
                  </a:lnTo>
                  <a:lnTo>
                    <a:pt x="678" y="366"/>
                  </a:lnTo>
                  <a:lnTo>
                    <a:pt x="672" y="366"/>
                  </a:lnTo>
                  <a:lnTo>
                    <a:pt x="666" y="360"/>
                  </a:lnTo>
                  <a:lnTo>
                    <a:pt x="654" y="372"/>
                  </a:lnTo>
                  <a:lnTo>
                    <a:pt x="630" y="342"/>
                  </a:lnTo>
                  <a:lnTo>
                    <a:pt x="612" y="342"/>
                  </a:lnTo>
                  <a:lnTo>
                    <a:pt x="636" y="378"/>
                  </a:lnTo>
                  <a:lnTo>
                    <a:pt x="618" y="378"/>
                  </a:lnTo>
                  <a:lnTo>
                    <a:pt x="648" y="426"/>
                  </a:lnTo>
                  <a:lnTo>
                    <a:pt x="636" y="438"/>
                  </a:lnTo>
                  <a:lnTo>
                    <a:pt x="648" y="444"/>
                  </a:lnTo>
                  <a:lnTo>
                    <a:pt x="666" y="462"/>
                  </a:lnTo>
                  <a:lnTo>
                    <a:pt x="678" y="468"/>
                  </a:lnTo>
                  <a:lnTo>
                    <a:pt x="684" y="480"/>
                  </a:lnTo>
                  <a:lnTo>
                    <a:pt x="684" y="504"/>
                  </a:lnTo>
                  <a:lnTo>
                    <a:pt x="678" y="516"/>
                  </a:lnTo>
                  <a:lnTo>
                    <a:pt x="678" y="534"/>
                  </a:lnTo>
                  <a:lnTo>
                    <a:pt x="672" y="540"/>
                  </a:lnTo>
                  <a:lnTo>
                    <a:pt x="672" y="570"/>
                  </a:lnTo>
                  <a:lnTo>
                    <a:pt x="678" y="570"/>
                  </a:lnTo>
                  <a:lnTo>
                    <a:pt x="690" y="582"/>
                  </a:lnTo>
                  <a:lnTo>
                    <a:pt x="690" y="600"/>
                  </a:lnTo>
                  <a:lnTo>
                    <a:pt x="678" y="606"/>
                  </a:lnTo>
                  <a:lnTo>
                    <a:pt x="660" y="606"/>
                  </a:lnTo>
                  <a:lnTo>
                    <a:pt x="660" y="618"/>
                  </a:lnTo>
                  <a:lnTo>
                    <a:pt x="666" y="630"/>
                  </a:lnTo>
                  <a:lnTo>
                    <a:pt x="666" y="642"/>
                  </a:lnTo>
                  <a:lnTo>
                    <a:pt x="660" y="654"/>
                  </a:lnTo>
                  <a:lnTo>
                    <a:pt x="654" y="660"/>
                  </a:lnTo>
                  <a:lnTo>
                    <a:pt x="642" y="666"/>
                  </a:lnTo>
                  <a:lnTo>
                    <a:pt x="630" y="666"/>
                  </a:lnTo>
                  <a:lnTo>
                    <a:pt x="618" y="672"/>
                  </a:lnTo>
                  <a:lnTo>
                    <a:pt x="612" y="678"/>
                  </a:lnTo>
                  <a:lnTo>
                    <a:pt x="606" y="678"/>
                  </a:lnTo>
                  <a:lnTo>
                    <a:pt x="606" y="696"/>
                  </a:lnTo>
                  <a:lnTo>
                    <a:pt x="588" y="696"/>
                  </a:lnTo>
                  <a:lnTo>
                    <a:pt x="564" y="672"/>
                  </a:lnTo>
                  <a:lnTo>
                    <a:pt x="564" y="654"/>
                  </a:lnTo>
                  <a:lnTo>
                    <a:pt x="570" y="636"/>
                  </a:lnTo>
                  <a:lnTo>
                    <a:pt x="558" y="636"/>
                  </a:lnTo>
                  <a:lnTo>
                    <a:pt x="552" y="642"/>
                  </a:lnTo>
                  <a:lnTo>
                    <a:pt x="540" y="648"/>
                  </a:lnTo>
                  <a:lnTo>
                    <a:pt x="534" y="654"/>
                  </a:lnTo>
                  <a:lnTo>
                    <a:pt x="534" y="660"/>
                  </a:lnTo>
                  <a:lnTo>
                    <a:pt x="540" y="666"/>
                  </a:lnTo>
                  <a:lnTo>
                    <a:pt x="558" y="702"/>
                  </a:lnTo>
                  <a:lnTo>
                    <a:pt x="558" y="714"/>
                  </a:lnTo>
                  <a:lnTo>
                    <a:pt x="552" y="720"/>
                  </a:lnTo>
                  <a:lnTo>
                    <a:pt x="540" y="744"/>
                  </a:lnTo>
                  <a:lnTo>
                    <a:pt x="540" y="756"/>
                  </a:lnTo>
                  <a:lnTo>
                    <a:pt x="546" y="762"/>
                  </a:lnTo>
                  <a:lnTo>
                    <a:pt x="546" y="768"/>
                  </a:lnTo>
                  <a:lnTo>
                    <a:pt x="552" y="780"/>
                  </a:lnTo>
                  <a:lnTo>
                    <a:pt x="558" y="786"/>
                  </a:lnTo>
                  <a:lnTo>
                    <a:pt x="558" y="792"/>
                  </a:lnTo>
                  <a:lnTo>
                    <a:pt x="522" y="792"/>
                  </a:lnTo>
                  <a:lnTo>
                    <a:pt x="498" y="780"/>
                  </a:lnTo>
                  <a:lnTo>
                    <a:pt x="474" y="780"/>
                  </a:lnTo>
                  <a:lnTo>
                    <a:pt x="450" y="792"/>
                  </a:lnTo>
                  <a:lnTo>
                    <a:pt x="438" y="792"/>
                  </a:lnTo>
                  <a:lnTo>
                    <a:pt x="420" y="798"/>
                  </a:lnTo>
                  <a:lnTo>
                    <a:pt x="414" y="804"/>
                  </a:lnTo>
                  <a:lnTo>
                    <a:pt x="378" y="804"/>
                  </a:lnTo>
                  <a:lnTo>
                    <a:pt x="366" y="792"/>
                  </a:lnTo>
                  <a:lnTo>
                    <a:pt x="336" y="816"/>
                  </a:lnTo>
                  <a:lnTo>
                    <a:pt x="330" y="828"/>
                  </a:lnTo>
                  <a:lnTo>
                    <a:pt x="312" y="846"/>
                  </a:lnTo>
                  <a:lnTo>
                    <a:pt x="306" y="864"/>
                  </a:lnTo>
                  <a:lnTo>
                    <a:pt x="300" y="870"/>
                  </a:lnTo>
                  <a:lnTo>
                    <a:pt x="294" y="882"/>
                  </a:lnTo>
                  <a:lnTo>
                    <a:pt x="270" y="882"/>
                  </a:lnTo>
                  <a:lnTo>
                    <a:pt x="264" y="888"/>
                  </a:lnTo>
                  <a:lnTo>
                    <a:pt x="258" y="888"/>
                  </a:lnTo>
                  <a:lnTo>
                    <a:pt x="258" y="900"/>
                  </a:lnTo>
                  <a:lnTo>
                    <a:pt x="264" y="912"/>
                  </a:lnTo>
                  <a:lnTo>
                    <a:pt x="276" y="924"/>
                  </a:lnTo>
                  <a:lnTo>
                    <a:pt x="288" y="924"/>
                  </a:lnTo>
                  <a:lnTo>
                    <a:pt x="294" y="918"/>
                  </a:lnTo>
                  <a:lnTo>
                    <a:pt x="312" y="918"/>
                  </a:lnTo>
                  <a:lnTo>
                    <a:pt x="318" y="924"/>
                  </a:lnTo>
                  <a:lnTo>
                    <a:pt x="324" y="924"/>
                  </a:lnTo>
                  <a:lnTo>
                    <a:pt x="336" y="930"/>
                  </a:lnTo>
                  <a:lnTo>
                    <a:pt x="342" y="930"/>
                  </a:lnTo>
                  <a:lnTo>
                    <a:pt x="348" y="924"/>
                  </a:lnTo>
                  <a:lnTo>
                    <a:pt x="348" y="912"/>
                  </a:lnTo>
                  <a:lnTo>
                    <a:pt x="354" y="906"/>
                  </a:lnTo>
                  <a:lnTo>
                    <a:pt x="354" y="894"/>
                  </a:lnTo>
                  <a:lnTo>
                    <a:pt x="372" y="906"/>
                  </a:lnTo>
                  <a:lnTo>
                    <a:pt x="378" y="906"/>
                  </a:lnTo>
                  <a:lnTo>
                    <a:pt x="384" y="900"/>
                  </a:lnTo>
                  <a:lnTo>
                    <a:pt x="420" y="882"/>
                  </a:lnTo>
                  <a:lnTo>
                    <a:pt x="426" y="882"/>
                  </a:lnTo>
                  <a:lnTo>
                    <a:pt x="432" y="876"/>
                  </a:lnTo>
                  <a:lnTo>
                    <a:pt x="444" y="876"/>
                  </a:lnTo>
                  <a:lnTo>
                    <a:pt x="456" y="882"/>
                  </a:lnTo>
                  <a:lnTo>
                    <a:pt x="480" y="882"/>
                  </a:lnTo>
                  <a:lnTo>
                    <a:pt x="480" y="876"/>
                  </a:lnTo>
                  <a:lnTo>
                    <a:pt x="474" y="870"/>
                  </a:lnTo>
                  <a:lnTo>
                    <a:pt x="474" y="864"/>
                  </a:lnTo>
                  <a:lnTo>
                    <a:pt x="480" y="858"/>
                  </a:lnTo>
                  <a:lnTo>
                    <a:pt x="498" y="858"/>
                  </a:lnTo>
                  <a:lnTo>
                    <a:pt x="516" y="876"/>
                  </a:lnTo>
                  <a:lnTo>
                    <a:pt x="522" y="870"/>
                  </a:lnTo>
                  <a:lnTo>
                    <a:pt x="534" y="864"/>
                  </a:lnTo>
                  <a:lnTo>
                    <a:pt x="540" y="864"/>
                  </a:lnTo>
                  <a:lnTo>
                    <a:pt x="546" y="858"/>
                  </a:lnTo>
                  <a:lnTo>
                    <a:pt x="552" y="864"/>
                  </a:lnTo>
                  <a:lnTo>
                    <a:pt x="552" y="882"/>
                  </a:lnTo>
                  <a:lnTo>
                    <a:pt x="546" y="894"/>
                  </a:lnTo>
                  <a:lnTo>
                    <a:pt x="540" y="900"/>
                  </a:lnTo>
                  <a:lnTo>
                    <a:pt x="540" y="912"/>
                  </a:lnTo>
                  <a:lnTo>
                    <a:pt x="546" y="918"/>
                  </a:lnTo>
                  <a:lnTo>
                    <a:pt x="552" y="930"/>
                  </a:lnTo>
                  <a:lnTo>
                    <a:pt x="576" y="954"/>
                  </a:lnTo>
                  <a:lnTo>
                    <a:pt x="600" y="966"/>
                  </a:lnTo>
                  <a:lnTo>
                    <a:pt x="612" y="960"/>
                  </a:lnTo>
                  <a:lnTo>
                    <a:pt x="618" y="954"/>
                  </a:lnTo>
                  <a:lnTo>
                    <a:pt x="630" y="930"/>
                  </a:lnTo>
                  <a:lnTo>
                    <a:pt x="630" y="906"/>
                  </a:lnTo>
                  <a:lnTo>
                    <a:pt x="660" y="900"/>
                  </a:lnTo>
                  <a:lnTo>
                    <a:pt x="654" y="894"/>
                  </a:lnTo>
                  <a:lnTo>
                    <a:pt x="648" y="882"/>
                  </a:lnTo>
                  <a:lnTo>
                    <a:pt x="636" y="870"/>
                  </a:lnTo>
                  <a:lnTo>
                    <a:pt x="624" y="870"/>
                  </a:lnTo>
                  <a:lnTo>
                    <a:pt x="612" y="858"/>
                  </a:lnTo>
                  <a:lnTo>
                    <a:pt x="630" y="834"/>
                  </a:lnTo>
                  <a:lnTo>
                    <a:pt x="636" y="834"/>
                  </a:lnTo>
                  <a:lnTo>
                    <a:pt x="636" y="840"/>
                  </a:lnTo>
                  <a:lnTo>
                    <a:pt x="642" y="852"/>
                  </a:lnTo>
                  <a:lnTo>
                    <a:pt x="642" y="858"/>
                  </a:lnTo>
                  <a:lnTo>
                    <a:pt x="654" y="858"/>
                  </a:lnTo>
                  <a:lnTo>
                    <a:pt x="666" y="870"/>
                  </a:lnTo>
                  <a:lnTo>
                    <a:pt x="666" y="876"/>
                  </a:lnTo>
                  <a:lnTo>
                    <a:pt x="684" y="864"/>
                  </a:lnTo>
                  <a:lnTo>
                    <a:pt x="696" y="870"/>
                  </a:lnTo>
                  <a:lnTo>
                    <a:pt x="732" y="870"/>
                  </a:lnTo>
                  <a:lnTo>
                    <a:pt x="744" y="858"/>
                  </a:lnTo>
                  <a:lnTo>
                    <a:pt x="744" y="852"/>
                  </a:lnTo>
                  <a:lnTo>
                    <a:pt x="738" y="846"/>
                  </a:lnTo>
                  <a:lnTo>
                    <a:pt x="738" y="840"/>
                  </a:lnTo>
                  <a:lnTo>
                    <a:pt x="744" y="834"/>
                  </a:lnTo>
                  <a:lnTo>
                    <a:pt x="762" y="834"/>
                  </a:lnTo>
                  <a:lnTo>
                    <a:pt x="768" y="840"/>
                  </a:lnTo>
                  <a:lnTo>
                    <a:pt x="768" y="858"/>
                  </a:lnTo>
                  <a:lnTo>
                    <a:pt x="774" y="864"/>
                  </a:lnTo>
                  <a:lnTo>
                    <a:pt x="774" y="870"/>
                  </a:lnTo>
                  <a:lnTo>
                    <a:pt x="780" y="870"/>
                  </a:lnTo>
                  <a:lnTo>
                    <a:pt x="786" y="864"/>
                  </a:lnTo>
                  <a:lnTo>
                    <a:pt x="786" y="852"/>
                  </a:lnTo>
                  <a:lnTo>
                    <a:pt x="780" y="840"/>
                  </a:lnTo>
                  <a:lnTo>
                    <a:pt x="780" y="816"/>
                  </a:lnTo>
                  <a:lnTo>
                    <a:pt x="804" y="816"/>
                  </a:lnTo>
                  <a:lnTo>
                    <a:pt x="804" y="798"/>
                  </a:lnTo>
                  <a:lnTo>
                    <a:pt x="810" y="792"/>
                  </a:lnTo>
                  <a:lnTo>
                    <a:pt x="810" y="786"/>
                  </a:lnTo>
                  <a:lnTo>
                    <a:pt x="816" y="780"/>
                  </a:lnTo>
                  <a:lnTo>
                    <a:pt x="828" y="792"/>
                  </a:lnTo>
                  <a:lnTo>
                    <a:pt x="828" y="840"/>
                  </a:lnTo>
                  <a:lnTo>
                    <a:pt x="852" y="840"/>
                  </a:lnTo>
                  <a:lnTo>
                    <a:pt x="858" y="828"/>
                  </a:lnTo>
                  <a:lnTo>
                    <a:pt x="858" y="792"/>
                  </a:lnTo>
                  <a:lnTo>
                    <a:pt x="876" y="780"/>
                  </a:lnTo>
                  <a:close/>
                  <a:moveTo>
                    <a:pt x="498" y="912"/>
                  </a:moveTo>
                  <a:lnTo>
                    <a:pt x="486" y="906"/>
                  </a:lnTo>
                  <a:lnTo>
                    <a:pt x="480" y="900"/>
                  </a:lnTo>
                  <a:lnTo>
                    <a:pt x="468" y="894"/>
                  </a:lnTo>
                  <a:lnTo>
                    <a:pt x="444" y="894"/>
                  </a:lnTo>
                  <a:lnTo>
                    <a:pt x="438" y="900"/>
                  </a:lnTo>
                  <a:lnTo>
                    <a:pt x="438" y="924"/>
                  </a:lnTo>
                  <a:lnTo>
                    <a:pt x="432" y="924"/>
                  </a:lnTo>
                  <a:lnTo>
                    <a:pt x="426" y="918"/>
                  </a:lnTo>
                  <a:lnTo>
                    <a:pt x="396" y="918"/>
                  </a:lnTo>
                  <a:lnTo>
                    <a:pt x="390" y="924"/>
                  </a:lnTo>
                  <a:lnTo>
                    <a:pt x="390" y="942"/>
                  </a:lnTo>
                  <a:lnTo>
                    <a:pt x="396" y="948"/>
                  </a:lnTo>
                  <a:lnTo>
                    <a:pt x="396" y="954"/>
                  </a:lnTo>
                  <a:lnTo>
                    <a:pt x="378" y="972"/>
                  </a:lnTo>
                  <a:lnTo>
                    <a:pt x="390" y="978"/>
                  </a:lnTo>
                  <a:lnTo>
                    <a:pt x="396" y="990"/>
                  </a:lnTo>
                  <a:lnTo>
                    <a:pt x="408" y="1002"/>
                  </a:lnTo>
                  <a:lnTo>
                    <a:pt x="432" y="1014"/>
                  </a:lnTo>
                  <a:lnTo>
                    <a:pt x="438" y="1020"/>
                  </a:lnTo>
                  <a:lnTo>
                    <a:pt x="450" y="1026"/>
                  </a:lnTo>
                  <a:lnTo>
                    <a:pt x="450" y="984"/>
                  </a:lnTo>
                  <a:lnTo>
                    <a:pt x="456" y="972"/>
                  </a:lnTo>
                  <a:lnTo>
                    <a:pt x="462" y="966"/>
                  </a:lnTo>
                  <a:lnTo>
                    <a:pt x="474" y="960"/>
                  </a:lnTo>
                  <a:lnTo>
                    <a:pt x="486" y="960"/>
                  </a:lnTo>
                  <a:lnTo>
                    <a:pt x="492" y="966"/>
                  </a:lnTo>
                  <a:lnTo>
                    <a:pt x="504" y="972"/>
                  </a:lnTo>
                  <a:lnTo>
                    <a:pt x="510" y="984"/>
                  </a:lnTo>
                  <a:lnTo>
                    <a:pt x="516" y="990"/>
                  </a:lnTo>
                  <a:lnTo>
                    <a:pt x="516" y="978"/>
                  </a:lnTo>
                  <a:lnTo>
                    <a:pt x="522" y="966"/>
                  </a:lnTo>
                  <a:lnTo>
                    <a:pt x="522" y="954"/>
                  </a:lnTo>
                  <a:lnTo>
                    <a:pt x="528" y="942"/>
                  </a:lnTo>
                  <a:lnTo>
                    <a:pt x="528" y="930"/>
                  </a:lnTo>
                  <a:lnTo>
                    <a:pt x="522" y="918"/>
                  </a:lnTo>
                  <a:lnTo>
                    <a:pt x="516" y="912"/>
                  </a:lnTo>
                  <a:lnTo>
                    <a:pt x="516" y="906"/>
                  </a:lnTo>
                  <a:lnTo>
                    <a:pt x="498" y="912"/>
                  </a:lnTo>
                  <a:close/>
                  <a:moveTo>
                    <a:pt x="354" y="1050"/>
                  </a:moveTo>
                  <a:lnTo>
                    <a:pt x="354" y="1038"/>
                  </a:lnTo>
                  <a:lnTo>
                    <a:pt x="372" y="1020"/>
                  </a:lnTo>
                  <a:lnTo>
                    <a:pt x="372" y="1008"/>
                  </a:lnTo>
                  <a:lnTo>
                    <a:pt x="360" y="1002"/>
                  </a:lnTo>
                  <a:lnTo>
                    <a:pt x="354" y="990"/>
                  </a:lnTo>
                  <a:lnTo>
                    <a:pt x="348" y="984"/>
                  </a:lnTo>
                  <a:lnTo>
                    <a:pt x="336" y="978"/>
                  </a:lnTo>
                  <a:lnTo>
                    <a:pt x="336" y="966"/>
                  </a:lnTo>
                  <a:lnTo>
                    <a:pt x="330" y="960"/>
                  </a:lnTo>
                  <a:lnTo>
                    <a:pt x="324" y="960"/>
                  </a:lnTo>
                  <a:lnTo>
                    <a:pt x="318" y="954"/>
                  </a:lnTo>
                  <a:lnTo>
                    <a:pt x="300" y="954"/>
                  </a:lnTo>
                  <a:lnTo>
                    <a:pt x="294" y="948"/>
                  </a:lnTo>
                  <a:lnTo>
                    <a:pt x="270" y="936"/>
                  </a:lnTo>
                  <a:lnTo>
                    <a:pt x="258" y="936"/>
                  </a:lnTo>
                  <a:lnTo>
                    <a:pt x="240" y="954"/>
                  </a:lnTo>
                  <a:lnTo>
                    <a:pt x="204" y="972"/>
                  </a:lnTo>
                  <a:lnTo>
                    <a:pt x="234" y="1026"/>
                  </a:lnTo>
                  <a:lnTo>
                    <a:pt x="252" y="1014"/>
                  </a:lnTo>
                  <a:lnTo>
                    <a:pt x="252" y="1008"/>
                  </a:lnTo>
                  <a:lnTo>
                    <a:pt x="246" y="1002"/>
                  </a:lnTo>
                  <a:lnTo>
                    <a:pt x="246" y="990"/>
                  </a:lnTo>
                  <a:lnTo>
                    <a:pt x="252" y="990"/>
                  </a:lnTo>
                  <a:lnTo>
                    <a:pt x="264" y="1002"/>
                  </a:lnTo>
                  <a:lnTo>
                    <a:pt x="270" y="1014"/>
                  </a:lnTo>
                  <a:lnTo>
                    <a:pt x="276" y="1020"/>
                  </a:lnTo>
                  <a:lnTo>
                    <a:pt x="282" y="1032"/>
                  </a:lnTo>
                  <a:lnTo>
                    <a:pt x="282" y="1068"/>
                  </a:lnTo>
                  <a:lnTo>
                    <a:pt x="264" y="1074"/>
                  </a:lnTo>
                  <a:lnTo>
                    <a:pt x="264" y="1080"/>
                  </a:lnTo>
                  <a:lnTo>
                    <a:pt x="270" y="1086"/>
                  </a:lnTo>
                  <a:lnTo>
                    <a:pt x="270" y="1104"/>
                  </a:lnTo>
                  <a:lnTo>
                    <a:pt x="276" y="1116"/>
                  </a:lnTo>
                  <a:lnTo>
                    <a:pt x="282" y="1134"/>
                  </a:lnTo>
                  <a:lnTo>
                    <a:pt x="294" y="1146"/>
                  </a:lnTo>
                  <a:lnTo>
                    <a:pt x="300" y="1146"/>
                  </a:lnTo>
                  <a:lnTo>
                    <a:pt x="306" y="1140"/>
                  </a:lnTo>
                  <a:lnTo>
                    <a:pt x="306" y="1104"/>
                  </a:lnTo>
                  <a:lnTo>
                    <a:pt x="336" y="1116"/>
                  </a:lnTo>
                  <a:lnTo>
                    <a:pt x="336" y="1140"/>
                  </a:lnTo>
                  <a:lnTo>
                    <a:pt x="342" y="1146"/>
                  </a:lnTo>
                  <a:lnTo>
                    <a:pt x="342" y="1152"/>
                  </a:lnTo>
                  <a:lnTo>
                    <a:pt x="348" y="1152"/>
                  </a:lnTo>
                  <a:lnTo>
                    <a:pt x="348" y="1140"/>
                  </a:lnTo>
                  <a:lnTo>
                    <a:pt x="360" y="1128"/>
                  </a:lnTo>
                  <a:lnTo>
                    <a:pt x="366" y="1116"/>
                  </a:lnTo>
                  <a:lnTo>
                    <a:pt x="366" y="1110"/>
                  </a:lnTo>
                  <a:lnTo>
                    <a:pt x="360" y="1104"/>
                  </a:lnTo>
                  <a:lnTo>
                    <a:pt x="360" y="1074"/>
                  </a:lnTo>
                  <a:lnTo>
                    <a:pt x="354" y="1062"/>
                  </a:lnTo>
                  <a:lnTo>
                    <a:pt x="354" y="1050"/>
                  </a:lnTo>
                  <a:close/>
                  <a:moveTo>
                    <a:pt x="264" y="1026"/>
                  </a:moveTo>
                  <a:lnTo>
                    <a:pt x="246" y="1062"/>
                  </a:lnTo>
                  <a:lnTo>
                    <a:pt x="264" y="1056"/>
                  </a:lnTo>
                  <a:lnTo>
                    <a:pt x="264" y="1026"/>
                  </a:lnTo>
                  <a:close/>
                  <a:moveTo>
                    <a:pt x="624" y="618"/>
                  </a:moveTo>
                  <a:lnTo>
                    <a:pt x="636" y="618"/>
                  </a:lnTo>
                  <a:lnTo>
                    <a:pt x="636" y="594"/>
                  </a:lnTo>
                  <a:lnTo>
                    <a:pt x="630" y="594"/>
                  </a:lnTo>
                  <a:lnTo>
                    <a:pt x="612" y="570"/>
                  </a:lnTo>
                  <a:lnTo>
                    <a:pt x="606" y="582"/>
                  </a:lnTo>
                  <a:lnTo>
                    <a:pt x="618" y="600"/>
                  </a:lnTo>
                  <a:lnTo>
                    <a:pt x="624" y="618"/>
                  </a:lnTo>
                  <a:close/>
                  <a:moveTo>
                    <a:pt x="546" y="72"/>
                  </a:moveTo>
                  <a:lnTo>
                    <a:pt x="552" y="96"/>
                  </a:lnTo>
                  <a:lnTo>
                    <a:pt x="558" y="102"/>
                  </a:lnTo>
                  <a:lnTo>
                    <a:pt x="570" y="108"/>
                  </a:lnTo>
                  <a:lnTo>
                    <a:pt x="576" y="114"/>
                  </a:lnTo>
                  <a:lnTo>
                    <a:pt x="576" y="132"/>
                  </a:lnTo>
                  <a:lnTo>
                    <a:pt x="564" y="144"/>
                  </a:lnTo>
                  <a:lnTo>
                    <a:pt x="564" y="150"/>
                  </a:lnTo>
                  <a:lnTo>
                    <a:pt x="570" y="156"/>
                  </a:lnTo>
                  <a:lnTo>
                    <a:pt x="576" y="168"/>
                  </a:lnTo>
                  <a:lnTo>
                    <a:pt x="582" y="174"/>
                  </a:lnTo>
                  <a:lnTo>
                    <a:pt x="582" y="186"/>
                  </a:lnTo>
                  <a:lnTo>
                    <a:pt x="576" y="186"/>
                  </a:lnTo>
                  <a:lnTo>
                    <a:pt x="564" y="180"/>
                  </a:lnTo>
                  <a:lnTo>
                    <a:pt x="552" y="180"/>
                  </a:lnTo>
                  <a:lnTo>
                    <a:pt x="540" y="174"/>
                  </a:lnTo>
                  <a:lnTo>
                    <a:pt x="528" y="174"/>
                  </a:lnTo>
                  <a:lnTo>
                    <a:pt x="522" y="168"/>
                  </a:lnTo>
                  <a:lnTo>
                    <a:pt x="522" y="180"/>
                  </a:lnTo>
                  <a:lnTo>
                    <a:pt x="540" y="198"/>
                  </a:lnTo>
                  <a:lnTo>
                    <a:pt x="516" y="228"/>
                  </a:lnTo>
                  <a:lnTo>
                    <a:pt x="522" y="240"/>
                  </a:lnTo>
                  <a:lnTo>
                    <a:pt x="528" y="246"/>
                  </a:lnTo>
                  <a:lnTo>
                    <a:pt x="528" y="252"/>
                  </a:lnTo>
                  <a:lnTo>
                    <a:pt x="534" y="258"/>
                  </a:lnTo>
                  <a:lnTo>
                    <a:pt x="546" y="264"/>
                  </a:lnTo>
                  <a:lnTo>
                    <a:pt x="552" y="270"/>
                  </a:lnTo>
                  <a:lnTo>
                    <a:pt x="564" y="276"/>
                  </a:lnTo>
                  <a:lnTo>
                    <a:pt x="570" y="282"/>
                  </a:lnTo>
                  <a:lnTo>
                    <a:pt x="576" y="282"/>
                  </a:lnTo>
                  <a:lnTo>
                    <a:pt x="576" y="318"/>
                  </a:lnTo>
                  <a:lnTo>
                    <a:pt x="582" y="330"/>
                  </a:lnTo>
                  <a:lnTo>
                    <a:pt x="600" y="330"/>
                  </a:lnTo>
                  <a:lnTo>
                    <a:pt x="600" y="300"/>
                  </a:lnTo>
                  <a:lnTo>
                    <a:pt x="636" y="300"/>
                  </a:lnTo>
                  <a:lnTo>
                    <a:pt x="642" y="294"/>
                  </a:lnTo>
                  <a:lnTo>
                    <a:pt x="606" y="270"/>
                  </a:lnTo>
                  <a:lnTo>
                    <a:pt x="588" y="270"/>
                  </a:lnTo>
                  <a:lnTo>
                    <a:pt x="576" y="264"/>
                  </a:lnTo>
                  <a:lnTo>
                    <a:pt x="570" y="264"/>
                  </a:lnTo>
                  <a:lnTo>
                    <a:pt x="558" y="258"/>
                  </a:lnTo>
                  <a:lnTo>
                    <a:pt x="558" y="246"/>
                  </a:lnTo>
                  <a:lnTo>
                    <a:pt x="564" y="240"/>
                  </a:lnTo>
                  <a:lnTo>
                    <a:pt x="576" y="234"/>
                  </a:lnTo>
                  <a:lnTo>
                    <a:pt x="600" y="246"/>
                  </a:lnTo>
                  <a:lnTo>
                    <a:pt x="606" y="252"/>
                  </a:lnTo>
                  <a:lnTo>
                    <a:pt x="618" y="240"/>
                  </a:lnTo>
                  <a:lnTo>
                    <a:pt x="630" y="234"/>
                  </a:lnTo>
                  <a:lnTo>
                    <a:pt x="636" y="234"/>
                  </a:lnTo>
                  <a:lnTo>
                    <a:pt x="690" y="252"/>
                  </a:lnTo>
                  <a:lnTo>
                    <a:pt x="726" y="270"/>
                  </a:lnTo>
                  <a:lnTo>
                    <a:pt x="756" y="282"/>
                  </a:lnTo>
                  <a:lnTo>
                    <a:pt x="768" y="282"/>
                  </a:lnTo>
                  <a:lnTo>
                    <a:pt x="768" y="270"/>
                  </a:lnTo>
                  <a:lnTo>
                    <a:pt x="762" y="258"/>
                  </a:lnTo>
                  <a:lnTo>
                    <a:pt x="762" y="222"/>
                  </a:lnTo>
                  <a:lnTo>
                    <a:pt x="780" y="204"/>
                  </a:lnTo>
                  <a:lnTo>
                    <a:pt x="792" y="204"/>
                  </a:lnTo>
                  <a:lnTo>
                    <a:pt x="798" y="210"/>
                  </a:lnTo>
                  <a:lnTo>
                    <a:pt x="816" y="210"/>
                  </a:lnTo>
                  <a:lnTo>
                    <a:pt x="840" y="198"/>
                  </a:lnTo>
                  <a:lnTo>
                    <a:pt x="858" y="180"/>
                  </a:lnTo>
                  <a:lnTo>
                    <a:pt x="804" y="144"/>
                  </a:lnTo>
                  <a:lnTo>
                    <a:pt x="804" y="120"/>
                  </a:lnTo>
                  <a:lnTo>
                    <a:pt x="798" y="108"/>
                  </a:lnTo>
                  <a:lnTo>
                    <a:pt x="792" y="102"/>
                  </a:lnTo>
                  <a:lnTo>
                    <a:pt x="786" y="102"/>
                  </a:lnTo>
                  <a:lnTo>
                    <a:pt x="774" y="114"/>
                  </a:lnTo>
                  <a:lnTo>
                    <a:pt x="774" y="126"/>
                  </a:lnTo>
                  <a:lnTo>
                    <a:pt x="756" y="120"/>
                  </a:lnTo>
                  <a:lnTo>
                    <a:pt x="720" y="114"/>
                  </a:lnTo>
                  <a:lnTo>
                    <a:pt x="678" y="102"/>
                  </a:lnTo>
                  <a:lnTo>
                    <a:pt x="648" y="90"/>
                  </a:lnTo>
                  <a:lnTo>
                    <a:pt x="624" y="72"/>
                  </a:lnTo>
                  <a:lnTo>
                    <a:pt x="552" y="24"/>
                  </a:lnTo>
                  <a:lnTo>
                    <a:pt x="516" y="6"/>
                  </a:lnTo>
                  <a:lnTo>
                    <a:pt x="498" y="0"/>
                  </a:lnTo>
                  <a:lnTo>
                    <a:pt x="498" y="18"/>
                  </a:lnTo>
                  <a:lnTo>
                    <a:pt x="510" y="30"/>
                  </a:lnTo>
                  <a:lnTo>
                    <a:pt x="516" y="42"/>
                  </a:lnTo>
                  <a:lnTo>
                    <a:pt x="528" y="54"/>
                  </a:lnTo>
                  <a:lnTo>
                    <a:pt x="534" y="66"/>
                  </a:lnTo>
                  <a:lnTo>
                    <a:pt x="546" y="72"/>
                  </a:lnTo>
                  <a:close/>
                  <a:moveTo>
                    <a:pt x="282" y="1458"/>
                  </a:moveTo>
                  <a:lnTo>
                    <a:pt x="306" y="1458"/>
                  </a:lnTo>
                  <a:lnTo>
                    <a:pt x="276" y="1440"/>
                  </a:lnTo>
                  <a:lnTo>
                    <a:pt x="282" y="1458"/>
                  </a:lnTo>
                  <a:close/>
                  <a:moveTo>
                    <a:pt x="300" y="1386"/>
                  </a:moveTo>
                  <a:lnTo>
                    <a:pt x="312" y="1398"/>
                  </a:lnTo>
                  <a:lnTo>
                    <a:pt x="318" y="1398"/>
                  </a:lnTo>
                  <a:lnTo>
                    <a:pt x="330" y="1386"/>
                  </a:lnTo>
                  <a:lnTo>
                    <a:pt x="336" y="1386"/>
                  </a:lnTo>
                  <a:lnTo>
                    <a:pt x="342" y="1380"/>
                  </a:lnTo>
                  <a:lnTo>
                    <a:pt x="342" y="1368"/>
                  </a:lnTo>
                  <a:lnTo>
                    <a:pt x="336" y="1362"/>
                  </a:lnTo>
                  <a:lnTo>
                    <a:pt x="318" y="1362"/>
                  </a:lnTo>
                  <a:lnTo>
                    <a:pt x="306" y="1368"/>
                  </a:lnTo>
                  <a:lnTo>
                    <a:pt x="300" y="1380"/>
                  </a:lnTo>
                  <a:lnTo>
                    <a:pt x="300" y="1386"/>
                  </a:lnTo>
                  <a:close/>
                  <a:moveTo>
                    <a:pt x="312" y="1416"/>
                  </a:moveTo>
                  <a:lnTo>
                    <a:pt x="300" y="1416"/>
                  </a:lnTo>
                  <a:lnTo>
                    <a:pt x="300" y="1428"/>
                  </a:lnTo>
                  <a:lnTo>
                    <a:pt x="318" y="1428"/>
                  </a:lnTo>
                  <a:lnTo>
                    <a:pt x="318" y="1422"/>
                  </a:lnTo>
                  <a:lnTo>
                    <a:pt x="312" y="1416"/>
                  </a:lnTo>
                  <a:close/>
                  <a:moveTo>
                    <a:pt x="336" y="1200"/>
                  </a:moveTo>
                  <a:lnTo>
                    <a:pt x="336" y="1206"/>
                  </a:lnTo>
                  <a:lnTo>
                    <a:pt x="330" y="1206"/>
                  </a:lnTo>
                  <a:lnTo>
                    <a:pt x="318" y="1212"/>
                  </a:lnTo>
                  <a:lnTo>
                    <a:pt x="342" y="1230"/>
                  </a:lnTo>
                  <a:lnTo>
                    <a:pt x="342" y="1218"/>
                  </a:lnTo>
                  <a:lnTo>
                    <a:pt x="336" y="1206"/>
                  </a:lnTo>
                  <a:lnTo>
                    <a:pt x="336" y="1200"/>
                  </a:lnTo>
                  <a:close/>
                  <a:moveTo>
                    <a:pt x="366" y="1170"/>
                  </a:moveTo>
                  <a:lnTo>
                    <a:pt x="366" y="1182"/>
                  </a:lnTo>
                  <a:lnTo>
                    <a:pt x="360" y="1194"/>
                  </a:lnTo>
                  <a:lnTo>
                    <a:pt x="378" y="1224"/>
                  </a:lnTo>
                  <a:lnTo>
                    <a:pt x="378" y="1200"/>
                  </a:lnTo>
                  <a:lnTo>
                    <a:pt x="372" y="1194"/>
                  </a:lnTo>
                  <a:lnTo>
                    <a:pt x="372" y="1176"/>
                  </a:lnTo>
                  <a:lnTo>
                    <a:pt x="366" y="1170"/>
                  </a:lnTo>
                  <a:close/>
                  <a:moveTo>
                    <a:pt x="36" y="1698"/>
                  </a:moveTo>
                  <a:lnTo>
                    <a:pt x="54" y="1698"/>
                  </a:lnTo>
                  <a:lnTo>
                    <a:pt x="60" y="1692"/>
                  </a:lnTo>
                  <a:lnTo>
                    <a:pt x="72" y="1692"/>
                  </a:lnTo>
                  <a:lnTo>
                    <a:pt x="42" y="1680"/>
                  </a:lnTo>
                  <a:lnTo>
                    <a:pt x="36" y="1686"/>
                  </a:lnTo>
                  <a:lnTo>
                    <a:pt x="36" y="1698"/>
                  </a:lnTo>
                  <a:close/>
                  <a:moveTo>
                    <a:pt x="114" y="1662"/>
                  </a:moveTo>
                  <a:lnTo>
                    <a:pt x="96" y="1632"/>
                  </a:lnTo>
                  <a:lnTo>
                    <a:pt x="96" y="1662"/>
                  </a:lnTo>
                  <a:lnTo>
                    <a:pt x="102" y="1674"/>
                  </a:lnTo>
                  <a:lnTo>
                    <a:pt x="114" y="1680"/>
                  </a:lnTo>
                  <a:lnTo>
                    <a:pt x="120" y="1680"/>
                  </a:lnTo>
                  <a:lnTo>
                    <a:pt x="126" y="1674"/>
                  </a:lnTo>
                  <a:lnTo>
                    <a:pt x="126" y="1662"/>
                  </a:lnTo>
                  <a:lnTo>
                    <a:pt x="114" y="1662"/>
                  </a:lnTo>
                  <a:close/>
                  <a:moveTo>
                    <a:pt x="12" y="1686"/>
                  </a:moveTo>
                  <a:lnTo>
                    <a:pt x="6" y="1686"/>
                  </a:lnTo>
                  <a:lnTo>
                    <a:pt x="0" y="1692"/>
                  </a:lnTo>
                  <a:lnTo>
                    <a:pt x="0" y="1704"/>
                  </a:lnTo>
                  <a:lnTo>
                    <a:pt x="6" y="1710"/>
                  </a:lnTo>
                  <a:lnTo>
                    <a:pt x="12" y="1710"/>
                  </a:lnTo>
                  <a:lnTo>
                    <a:pt x="24" y="1698"/>
                  </a:lnTo>
                  <a:lnTo>
                    <a:pt x="24" y="1686"/>
                  </a:lnTo>
                  <a:lnTo>
                    <a:pt x="12" y="1686"/>
                  </a:lnTo>
                  <a:close/>
                  <a:moveTo>
                    <a:pt x="168" y="1536"/>
                  </a:moveTo>
                  <a:lnTo>
                    <a:pt x="168" y="1542"/>
                  </a:lnTo>
                  <a:lnTo>
                    <a:pt x="180" y="1548"/>
                  </a:lnTo>
                  <a:lnTo>
                    <a:pt x="186" y="1548"/>
                  </a:lnTo>
                  <a:lnTo>
                    <a:pt x="186" y="1536"/>
                  </a:lnTo>
                  <a:lnTo>
                    <a:pt x="180" y="1530"/>
                  </a:lnTo>
                  <a:lnTo>
                    <a:pt x="168" y="1530"/>
                  </a:lnTo>
                  <a:lnTo>
                    <a:pt x="168" y="1536"/>
                  </a:lnTo>
                  <a:close/>
                  <a:moveTo>
                    <a:pt x="264" y="1494"/>
                  </a:moveTo>
                  <a:lnTo>
                    <a:pt x="252" y="1518"/>
                  </a:lnTo>
                  <a:lnTo>
                    <a:pt x="246" y="1536"/>
                  </a:lnTo>
                  <a:lnTo>
                    <a:pt x="246" y="1548"/>
                  </a:lnTo>
                  <a:lnTo>
                    <a:pt x="240" y="1554"/>
                  </a:lnTo>
                  <a:lnTo>
                    <a:pt x="240" y="1560"/>
                  </a:lnTo>
                  <a:lnTo>
                    <a:pt x="258" y="1566"/>
                  </a:lnTo>
                  <a:lnTo>
                    <a:pt x="264" y="1554"/>
                  </a:lnTo>
                  <a:lnTo>
                    <a:pt x="264" y="1548"/>
                  </a:lnTo>
                  <a:lnTo>
                    <a:pt x="270" y="1542"/>
                  </a:lnTo>
                  <a:lnTo>
                    <a:pt x="270" y="1524"/>
                  </a:lnTo>
                  <a:lnTo>
                    <a:pt x="288" y="1506"/>
                  </a:lnTo>
                  <a:lnTo>
                    <a:pt x="282" y="1500"/>
                  </a:lnTo>
                  <a:lnTo>
                    <a:pt x="282" y="1494"/>
                  </a:lnTo>
                  <a:lnTo>
                    <a:pt x="276" y="1488"/>
                  </a:lnTo>
                  <a:lnTo>
                    <a:pt x="264" y="1494"/>
                  </a:lnTo>
                  <a:close/>
                </a:path>
              </a:pathLst>
            </a:cu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2700000" scaled="1"/>
              <a:tileRect/>
            </a:gra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38" name="Italy" descr="© INSCALE GmbH, 05.05.2010&#10;http://www.presentationload.com/"/>
            <p:cNvSpPr>
              <a:spLocks noEditPoints="1"/>
            </p:cNvSpPr>
            <p:nvPr/>
          </p:nvSpPr>
          <p:spPr bwMode="gray">
            <a:xfrm>
              <a:off x="4411666" y="2552701"/>
              <a:ext cx="312738" cy="334962"/>
            </a:xfrm>
            <a:custGeom>
              <a:avLst/>
              <a:gdLst>
                <a:gd name="T0" fmla="*/ 2147483647 w 780"/>
                <a:gd name="T1" fmla="*/ 2147483647 h 828"/>
                <a:gd name="T2" fmla="*/ 2147483647 w 780"/>
                <a:gd name="T3" fmla="*/ 2147483647 h 828"/>
                <a:gd name="T4" fmla="*/ 2147483647 w 780"/>
                <a:gd name="T5" fmla="*/ 2147483647 h 828"/>
                <a:gd name="T6" fmla="*/ 2147483647 w 780"/>
                <a:gd name="T7" fmla="*/ 2147483647 h 828"/>
                <a:gd name="T8" fmla="*/ 2147483647 w 780"/>
                <a:gd name="T9" fmla="*/ 2147483647 h 828"/>
                <a:gd name="T10" fmla="*/ 2147483647 w 780"/>
                <a:gd name="T11" fmla="*/ 2147483647 h 828"/>
                <a:gd name="T12" fmla="*/ 2147483647 w 780"/>
                <a:gd name="T13" fmla="*/ 2147483647 h 828"/>
                <a:gd name="T14" fmla="*/ 2147483647 w 780"/>
                <a:gd name="T15" fmla="*/ 2147483647 h 828"/>
                <a:gd name="T16" fmla="*/ 2147483647 w 780"/>
                <a:gd name="T17" fmla="*/ 2147483647 h 828"/>
                <a:gd name="T18" fmla="*/ 2147483647 w 780"/>
                <a:gd name="T19" fmla="*/ 2147483647 h 828"/>
                <a:gd name="T20" fmla="*/ 2147483647 w 780"/>
                <a:gd name="T21" fmla="*/ 2147483647 h 828"/>
                <a:gd name="T22" fmla="*/ 2147483647 w 780"/>
                <a:gd name="T23" fmla="*/ 2147483647 h 828"/>
                <a:gd name="T24" fmla="*/ 2147483647 w 780"/>
                <a:gd name="T25" fmla="*/ 2147483647 h 828"/>
                <a:gd name="T26" fmla="*/ 2147483647 w 780"/>
                <a:gd name="T27" fmla="*/ 2147483647 h 828"/>
                <a:gd name="T28" fmla="*/ 2147483647 w 780"/>
                <a:gd name="T29" fmla="*/ 2147483647 h 828"/>
                <a:gd name="T30" fmla="*/ 2147483647 w 780"/>
                <a:gd name="T31" fmla="*/ 2147483647 h 828"/>
                <a:gd name="T32" fmla="*/ 2147483647 w 780"/>
                <a:gd name="T33" fmla="*/ 2147483647 h 828"/>
                <a:gd name="T34" fmla="*/ 2147483647 w 780"/>
                <a:gd name="T35" fmla="*/ 2147483647 h 828"/>
                <a:gd name="T36" fmla="*/ 2147483647 w 780"/>
                <a:gd name="T37" fmla="*/ 2147483647 h 828"/>
                <a:gd name="T38" fmla="*/ 2147483647 w 780"/>
                <a:gd name="T39" fmla="*/ 2147483647 h 828"/>
                <a:gd name="T40" fmla="*/ 2147483647 w 780"/>
                <a:gd name="T41" fmla="*/ 2147483647 h 828"/>
                <a:gd name="T42" fmla="*/ 2147483647 w 780"/>
                <a:gd name="T43" fmla="*/ 2147483647 h 828"/>
                <a:gd name="T44" fmla="*/ 2147483647 w 780"/>
                <a:gd name="T45" fmla="*/ 2147483647 h 828"/>
                <a:gd name="T46" fmla="*/ 2147483647 w 780"/>
                <a:gd name="T47" fmla="*/ 2147483647 h 828"/>
                <a:gd name="T48" fmla="*/ 2147483647 w 780"/>
                <a:gd name="T49" fmla="*/ 2147483647 h 828"/>
                <a:gd name="T50" fmla="*/ 2147483647 w 780"/>
                <a:gd name="T51" fmla="*/ 2147483647 h 828"/>
                <a:gd name="T52" fmla="*/ 2147483647 w 780"/>
                <a:gd name="T53" fmla="*/ 2147483647 h 828"/>
                <a:gd name="T54" fmla="*/ 2147483647 w 780"/>
                <a:gd name="T55" fmla="*/ 2147483647 h 828"/>
                <a:gd name="T56" fmla="*/ 2147483647 w 780"/>
                <a:gd name="T57" fmla="*/ 2147483647 h 828"/>
                <a:gd name="T58" fmla="*/ 2147483647 w 780"/>
                <a:gd name="T59" fmla="*/ 2147483647 h 828"/>
                <a:gd name="T60" fmla="*/ 2147483647 w 780"/>
                <a:gd name="T61" fmla="*/ 2147483647 h 828"/>
                <a:gd name="T62" fmla="*/ 2147483647 w 780"/>
                <a:gd name="T63" fmla="*/ 2147483647 h 828"/>
                <a:gd name="T64" fmla="*/ 2147483647 w 780"/>
                <a:gd name="T65" fmla="*/ 2147483647 h 828"/>
                <a:gd name="T66" fmla="*/ 2147483647 w 780"/>
                <a:gd name="T67" fmla="*/ 2147483647 h 828"/>
                <a:gd name="T68" fmla="*/ 2147483647 w 780"/>
                <a:gd name="T69" fmla="*/ 2147483647 h 828"/>
                <a:gd name="T70" fmla="*/ 2147483647 w 780"/>
                <a:gd name="T71" fmla="*/ 2147483647 h 828"/>
                <a:gd name="T72" fmla="*/ 2147483647 w 780"/>
                <a:gd name="T73" fmla="*/ 2147483647 h 828"/>
                <a:gd name="T74" fmla="*/ 2147483647 w 780"/>
                <a:gd name="T75" fmla="*/ 2147483647 h 828"/>
                <a:gd name="T76" fmla="*/ 2147483647 w 780"/>
                <a:gd name="T77" fmla="*/ 2147483647 h 828"/>
                <a:gd name="T78" fmla="*/ 2147483647 w 780"/>
                <a:gd name="T79" fmla="*/ 2147483647 h 828"/>
                <a:gd name="T80" fmla="*/ 2147483647 w 780"/>
                <a:gd name="T81" fmla="*/ 2147483647 h 828"/>
                <a:gd name="T82" fmla="*/ 2147483647 w 780"/>
                <a:gd name="T83" fmla="*/ 2147483647 h 828"/>
                <a:gd name="T84" fmla="*/ 2147483647 w 780"/>
                <a:gd name="T85" fmla="*/ 2147483647 h 828"/>
                <a:gd name="T86" fmla="*/ 2147483647 w 780"/>
                <a:gd name="T87" fmla="*/ 2147483647 h 828"/>
                <a:gd name="T88" fmla="*/ 2147483647 w 780"/>
                <a:gd name="T89" fmla="*/ 2147483647 h 828"/>
                <a:gd name="T90" fmla="*/ 2147483647 w 780"/>
                <a:gd name="T91" fmla="*/ 2147483647 h 828"/>
                <a:gd name="T92" fmla="*/ 2147483647 w 780"/>
                <a:gd name="T93" fmla="*/ 2147483647 h 828"/>
                <a:gd name="T94" fmla="*/ 2147483647 w 780"/>
                <a:gd name="T95" fmla="*/ 2147483647 h 828"/>
                <a:gd name="T96" fmla="*/ 2147483647 w 780"/>
                <a:gd name="T97" fmla="*/ 2147483647 h 828"/>
                <a:gd name="T98" fmla="*/ 2147483647 w 780"/>
                <a:gd name="T99" fmla="*/ 2147483647 h 828"/>
                <a:gd name="T100" fmla="*/ 2147483647 w 780"/>
                <a:gd name="T101" fmla="*/ 2147483647 h 828"/>
                <a:gd name="T102" fmla="*/ 2147483647 w 780"/>
                <a:gd name="T103" fmla="*/ 2147483647 h 828"/>
                <a:gd name="T104" fmla="*/ 2147483647 w 780"/>
                <a:gd name="T105" fmla="*/ 2147483647 h 828"/>
                <a:gd name="T106" fmla="*/ 2147483647 w 780"/>
                <a:gd name="T107" fmla="*/ 2147483647 h 828"/>
                <a:gd name="T108" fmla="*/ 2147483647 w 780"/>
                <a:gd name="T109" fmla="*/ 2147483647 h 828"/>
                <a:gd name="T110" fmla="*/ 2147483647 w 780"/>
                <a:gd name="T111" fmla="*/ 2147483647 h 828"/>
                <a:gd name="T112" fmla="*/ 2147483647 w 780"/>
                <a:gd name="T113" fmla="*/ 2147483647 h 82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80"/>
                <a:gd name="T172" fmla="*/ 0 h 828"/>
                <a:gd name="T173" fmla="*/ 780 w 780"/>
                <a:gd name="T174" fmla="*/ 828 h 82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80" h="828">
                  <a:moveTo>
                    <a:pt x="570" y="720"/>
                  </a:moveTo>
                  <a:lnTo>
                    <a:pt x="558" y="714"/>
                  </a:lnTo>
                  <a:lnTo>
                    <a:pt x="552" y="708"/>
                  </a:lnTo>
                  <a:lnTo>
                    <a:pt x="540" y="708"/>
                  </a:lnTo>
                  <a:lnTo>
                    <a:pt x="534" y="714"/>
                  </a:lnTo>
                  <a:lnTo>
                    <a:pt x="522" y="720"/>
                  </a:lnTo>
                  <a:lnTo>
                    <a:pt x="516" y="726"/>
                  </a:lnTo>
                  <a:lnTo>
                    <a:pt x="468" y="726"/>
                  </a:lnTo>
                  <a:lnTo>
                    <a:pt x="456" y="720"/>
                  </a:lnTo>
                  <a:lnTo>
                    <a:pt x="444" y="708"/>
                  </a:lnTo>
                  <a:lnTo>
                    <a:pt x="438" y="708"/>
                  </a:lnTo>
                  <a:lnTo>
                    <a:pt x="420" y="726"/>
                  </a:lnTo>
                  <a:lnTo>
                    <a:pt x="402" y="714"/>
                  </a:lnTo>
                  <a:lnTo>
                    <a:pt x="396" y="714"/>
                  </a:lnTo>
                  <a:lnTo>
                    <a:pt x="384" y="726"/>
                  </a:lnTo>
                  <a:lnTo>
                    <a:pt x="384" y="738"/>
                  </a:lnTo>
                  <a:lnTo>
                    <a:pt x="396" y="750"/>
                  </a:lnTo>
                  <a:lnTo>
                    <a:pt x="420" y="762"/>
                  </a:lnTo>
                  <a:lnTo>
                    <a:pt x="426" y="762"/>
                  </a:lnTo>
                  <a:lnTo>
                    <a:pt x="444" y="780"/>
                  </a:lnTo>
                  <a:lnTo>
                    <a:pt x="444" y="786"/>
                  </a:lnTo>
                  <a:lnTo>
                    <a:pt x="456" y="786"/>
                  </a:lnTo>
                  <a:lnTo>
                    <a:pt x="468" y="798"/>
                  </a:lnTo>
                  <a:lnTo>
                    <a:pt x="480" y="804"/>
                  </a:lnTo>
                  <a:lnTo>
                    <a:pt x="498" y="798"/>
                  </a:lnTo>
                  <a:lnTo>
                    <a:pt x="504" y="804"/>
                  </a:lnTo>
                  <a:lnTo>
                    <a:pt x="516" y="810"/>
                  </a:lnTo>
                  <a:lnTo>
                    <a:pt x="522" y="822"/>
                  </a:lnTo>
                  <a:lnTo>
                    <a:pt x="534" y="828"/>
                  </a:lnTo>
                  <a:lnTo>
                    <a:pt x="558" y="828"/>
                  </a:lnTo>
                  <a:lnTo>
                    <a:pt x="570" y="816"/>
                  </a:lnTo>
                  <a:lnTo>
                    <a:pt x="570" y="792"/>
                  </a:lnTo>
                  <a:lnTo>
                    <a:pt x="564" y="780"/>
                  </a:lnTo>
                  <a:lnTo>
                    <a:pt x="564" y="768"/>
                  </a:lnTo>
                  <a:lnTo>
                    <a:pt x="570" y="750"/>
                  </a:lnTo>
                  <a:lnTo>
                    <a:pt x="576" y="738"/>
                  </a:lnTo>
                  <a:lnTo>
                    <a:pt x="582" y="732"/>
                  </a:lnTo>
                  <a:lnTo>
                    <a:pt x="582" y="714"/>
                  </a:lnTo>
                  <a:lnTo>
                    <a:pt x="576" y="702"/>
                  </a:lnTo>
                  <a:lnTo>
                    <a:pt x="570" y="720"/>
                  </a:lnTo>
                  <a:close/>
                  <a:moveTo>
                    <a:pt x="180" y="468"/>
                  </a:moveTo>
                  <a:lnTo>
                    <a:pt x="156" y="480"/>
                  </a:lnTo>
                  <a:lnTo>
                    <a:pt x="150" y="486"/>
                  </a:lnTo>
                  <a:lnTo>
                    <a:pt x="138" y="492"/>
                  </a:lnTo>
                  <a:lnTo>
                    <a:pt x="132" y="498"/>
                  </a:lnTo>
                  <a:lnTo>
                    <a:pt x="126" y="498"/>
                  </a:lnTo>
                  <a:lnTo>
                    <a:pt x="114" y="492"/>
                  </a:lnTo>
                  <a:lnTo>
                    <a:pt x="102" y="480"/>
                  </a:lnTo>
                  <a:lnTo>
                    <a:pt x="96" y="498"/>
                  </a:lnTo>
                  <a:lnTo>
                    <a:pt x="102" y="504"/>
                  </a:lnTo>
                  <a:lnTo>
                    <a:pt x="114" y="510"/>
                  </a:lnTo>
                  <a:lnTo>
                    <a:pt x="120" y="522"/>
                  </a:lnTo>
                  <a:lnTo>
                    <a:pt x="120" y="540"/>
                  </a:lnTo>
                  <a:lnTo>
                    <a:pt x="114" y="558"/>
                  </a:lnTo>
                  <a:lnTo>
                    <a:pt x="114" y="570"/>
                  </a:lnTo>
                  <a:lnTo>
                    <a:pt x="126" y="582"/>
                  </a:lnTo>
                  <a:lnTo>
                    <a:pt x="114" y="588"/>
                  </a:lnTo>
                  <a:lnTo>
                    <a:pt x="120" y="636"/>
                  </a:lnTo>
                  <a:lnTo>
                    <a:pt x="108" y="636"/>
                  </a:lnTo>
                  <a:lnTo>
                    <a:pt x="126" y="654"/>
                  </a:lnTo>
                  <a:lnTo>
                    <a:pt x="138" y="654"/>
                  </a:lnTo>
                  <a:lnTo>
                    <a:pt x="144" y="642"/>
                  </a:lnTo>
                  <a:lnTo>
                    <a:pt x="156" y="630"/>
                  </a:lnTo>
                  <a:lnTo>
                    <a:pt x="156" y="618"/>
                  </a:lnTo>
                  <a:lnTo>
                    <a:pt x="168" y="630"/>
                  </a:lnTo>
                  <a:lnTo>
                    <a:pt x="180" y="636"/>
                  </a:lnTo>
                  <a:lnTo>
                    <a:pt x="186" y="636"/>
                  </a:lnTo>
                  <a:lnTo>
                    <a:pt x="192" y="630"/>
                  </a:lnTo>
                  <a:lnTo>
                    <a:pt x="198" y="618"/>
                  </a:lnTo>
                  <a:lnTo>
                    <a:pt x="198" y="594"/>
                  </a:lnTo>
                  <a:lnTo>
                    <a:pt x="204" y="582"/>
                  </a:lnTo>
                  <a:lnTo>
                    <a:pt x="204" y="558"/>
                  </a:lnTo>
                  <a:lnTo>
                    <a:pt x="198" y="552"/>
                  </a:lnTo>
                  <a:lnTo>
                    <a:pt x="192" y="552"/>
                  </a:lnTo>
                  <a:lnTo>
                    <a:pt x="192" y="546"/>
                  </a:lnTo>
                  <a:lnTo>
                    <a:pt x="198" y="540"/>
                  </a:lnTo>
                  <a:lnTo>
                    <a:pt x="204" y="540"/>
                  </a:lnTo>
                  <a:lnTo>
                    <a:pt x="210" y="534"/>
                  </a:lnTo>
                  <a:lnTo>
                    <a:pt x="210" y="522"/>
                  </a:lnTo>
                  <a:lnTo>
                    <a:pt x="204" y="510"/>
                  </a:lnTo>
                  <a:lnTo>
                    <a:pt x="204" y="492"/>
                  </a:lnTo>
                  <a:lnTo>
                    <a:pt x="198" y="480"/>
                  </a:lnTo>
                  <a:lnTo>
                    <a:pt x="186" y="474"/>
                  </a:lnTo>
                  <a:lnTo>
                    <a:pt x="180" y="468"/>
                  </a:lnTo>
                  <a:close/>
                  <a:moveTo>
                    <a:pt x="774" y="546"/>
                  </a:moveTo>
                  <a:lnTo>
                    <a:pt x="768" y="534"/>
                  </a:lnTo>
                  <a:lnTo>
                    <a:pt x="756" y="528"/>
                  </a:lnTo>
                  <a:lnTo>
                    <a:pt x="738" y="510"/>
                  </a:lnTo>
                  <a:lnTo>
                    <a:pt x="678" y="480"/>
                  </a:lnTo>
                  <a:lnTo>
                    <a:pt x="672" y="480"/>
                  </a:lnTo>
                  <a:lnTo>
                    <a:pt x="660" y="474"/>
                  </a:lnTo>
                  <a:lnTo>
                    <a:pt x="648" y="474"/>
                  </a:lnTo>
                  <a:lnTo>
                    <a:pt x="630" y="468"/>
                  </a:lnTo>
                  <a:lnTo>
                    <a:pt x="606" y="456"/>
                  </a:lnTo>
                  <a:lnTo>
                    <a:pt x="606" y="450"/>
                  </a:lnTo>
                  <a:lnTo>
                    <a:pt x="612" y="438"/>
                  </a:lnTo>
                  <a:lnTo>
                    <a:pt x="624" y="426"/>
                  </a:lnTo>
                  <a:lnTo>
                    <a:pt x="624" y="420"/>
                  </a:lnTo>
                  <a:lnTo>
                    <a:pt x="618" y="414"/>
                  </a:lnTo>
                  <a:lnTo>
                    <a:pt x="612" y="414"/>
                  </a:lnTo>
                  <a:lnTo>
                    <a:pt x="594" y="408"/>
                  </a:lnTo>
                  <a:lnTo>
                    <a:pt x="552" y="408"/>
                  </a:lnTo>
                  <a:lnTo>
                    <a:pt x="540" y="402"/>
                  </a:lnTo>
                  <a:lnTo>
                    <a:pt x="534" y="396"/>
                  </a:lnTo>
                  <a:lnTo>
                    <a:pt x="516" y="384"/>
                  </a:lnTo>
                  <a:lnTo>
                    <a:pt x="492" y="360"/>
                  </a:lnTo>
                  <a:lnTo>
                    <a:pt x="480" y="342"/>
                  </a:lnTo>
                  <a:lnTo>
                    <a:pt x="474" y="336"/>
                  </a:lnTo>
                  <a:lnTo>
                    <a:pt x="468" y="324"/>
                  </a:lnTo>
                  <a:lnTo>
                    <a:pt x="468" y="312"/>
                  </a:lnTo>
                  <a:lnTo>
                    <a:pt x="450" y="276"/>
                  </a:lnTo>
                  <a:lnTo>
                    <a:pt x="438" y="270"/>
                  </a:lnTo>
                  <a:lnTo>
                    <a:pt x="432" y="264"/>
                  </a:lnTo>
                  <a:lnTo>
                    <a:pt x="420" y="258"/>
                  </a:lnTo>
                  <a:lnTo>
                    <a:pt x="414" y="252"/>
                  </a:lnTo>
                  <a:lnTo>
                    <a:pt x="378" y="222"/>
                  </a:lnTo>
                  <a:lnTo>
                    <a:pt x="372" y="210"/>
                  </a:lnTo>
                  <a:lnTo>
                    <a:pt x="360" y="198"/>
                  </a:lnTo>
                  <a:lnTo>
                    <a:pt x="360" y="186"/>
                  </a:lnTo>
                  <a:lnTo>
                    <a:pt x="366" y="180"/>
                  </a:lnTo>
                  <a:lnTo>
                    <a:pt x="384" y="180"/>
                  </a:lnTo>
                  <a:lnTo>
                    <a:pt x="384" y="174"/>
                  </a:lnTo>
                  <a:lnTo>
                    <a:pt x="372" y="162"/>
                  </a:lnTo>
                  <a:lnTo>
                    <a:pt x="366" y="150"/>
                  </a:lnTo>
                  <a:lnTo>
                    <a:pt x="366" y="138"/>
                  </a:lnTo>
                  <a:lnTo>
                    <a:pt x="402" y="120"/>
                  </a:lnTo>
                  <a:lnTo>
                    <a:pt x="408" y="114"/>
                  </a:lnTo>
                  <a:lnTo>
                    <a:pt x="414" y="114"/>
                  </a:lnTo>
                  <a:lnTo>
                    <a:pt x="438" y="108"/>
                  </a:lnTo>
                  <a:lnTo>
                    <a:pt x="444" y="72"/>
                  </a:lnTo>
                  <a:lnTo>
                    <a:pt x="432" y="66"/>
                  </a:lnTo>
                  <a:lnTo>
                    <a:pt x="438" y="60"/>
                  </a:lnTo>
                  <a:lnTo>
                    <a:pt x="438" y="42"/>
                  </a:lnTo>
                  <a:lnTo>
                    <a:pt x="384" y="42"/>
                  </a:lnTo>
                  <a:lnTo>
                    <a:pt x="378" y="24"/>
                  </a:lnTo>
                  <a:lnTo>
                    <a:pt x="366" y="24"/>
                  </a:lnTo>
                  <a:lnTo>
                    <a:pt x="366" y="6"/>
                  </a:lnTo>
                  <a:lnTo>
                    <a:pt x="360" y="0"/>
                  </a:lnTo>
                  <a:lnTo>
                    <a:pt x="342" y="0"/>
                  </a:lnTo>
                  <a:lnTo>
                    <a:pt x="336" y="6"/>
                  </a:lnTo>
                  <a:lnTo>
                    <a:pt x="336" y="12"/>
                  </a:lnTo>
                  <a:lnTo>
                    <a:pt x="294" y="12"/>
                  </a:lnTo>
                  <a:lnTo>
                    <a:pt x="282" y="30"/>
                  </a:lnTo>
                  <a:lnTo>
                    <a:pt x="270" y="24"/>
                  </a:lnTo>
                  <a:lnTo>
                    <a:pt x="252" y="24"/>
                  </a:lnTo>
                  <a:lnTo>
                    <a:pt x="246" y="42"/>
                  </a:lnTo>
                  <a:lnTo>
                    <a:pt x="222" y="42"/>
                  </a:lnTo>
                  <a:lnTo>
                    <a:pt x="222" y="48"/>
                  </a:lnTo>
                  <a:lnTo>
                    <a:pt x="234" y="60"/>
                  </a:lnTo>
                  <a:lnTo>
                    <a:pt x="228" y="72"/>
                  </a:lnTo>
                  <a:lnTo>
                    <a:pt x="210" y="60"/>
                  </a:lnTo>
                  <a:lnTo>
                    <a:pt x="192" y="66"/>
                  </a:lnTo>
                  <a:lnTo>
                    <a:pt x="180" y="48"/>
                  </a:lnTo>
                  <a:lnTo>
                    <a:pt x="174" y="72"/>
                  </a:lnTo>
                  <a:lnTo>
                    <a:pt x="162" y="84"/>
                  </a:lnTo>
                  <a:lnTo>
                    <a:pt x="162" y="102"/>
                  </a:lnTo>
                  <a:lnTo>
                    <a:pt x="138" y="78"/>
                  </a:lnTo>
                  <a:lnTo>
                    <a:pt x="132" y="78"/>
                  </a:lnTo>
                  <a:lnTo>
                    <a:pt x="132" y="72"/>
                  </a:lnTo>
                  <a:lnTo>
                    <a:pt x="126" y="66"/>
                  </a:lnTo>
                  <a:lnTo>
                    <a:pt x="126" y="60"/>
                  </a:lnTo>
                  <a:lnTo>
                    <a:pt x="120" y="54"/>
                  </a:lnTo>
                  <a:lnTo>
                    <a:pt x="108" y="54"/>
                  </a:lnTo>
                  <a:lnTo>
                    <a:pt x="102" y="60"/>
                  </a:lnTo>
                  <a:lnTo>
                    <a:pt x="102" y="78"/>
                  </a:lnTo>
                  <a:lnTo>
                    <a:pt x="84" y="96"/>
                  </a:lnTo>
                  <a:lnTo>
                    <a:pt x="78" y="96"/>
                  </a:lnTo>
                  <a:lnTo>
                    <a:pt x="66" y="84"/>
                  </a:lnTo>
                  <a:lnTo>
                    <a:pt x="54" y="84"/>
                  </a:lnTo>
                  <a:lnTo>
                    <a:pt x="42" y="96"/>
                  </a:lnTo>
                  <a:lnTo>
                    <a:pt x="30" y="96"/>
                  </a:lnTo>
                  <a:lnTo>
                    <a:pt x="30" y="102"/>
                  </a:lnTo>
                  <a:lnTo>
                    <a:pt x="24" y="102"/>
                  </a:lnTo>
                  <a:lnTo>
                    <a:pt x="18" y="108"/>
                  </a:lnTo>
                  <a:lnTo>
                    <a:pt x="42" y="132"/>
                  </a:lnTo>
                  <a:lnTo>
                    <a:pt x="42" y="138"/>
                  </a:lnTo>
                  <a:lnTo>
                    <a:pt x="24" y="156"/>
                  </a:lnTo>
                  <a:lnTo>
                    <a:pt x="0" y="156"/>
                  </a:lnTo>
                  <a:lnTo>
                    <a:pt x="12" y="174"/>
                  </a:lnTo>
                  <a:lnTo>
                    <a:pt x="24" y="174"/>
                  </a:lnTo>
                  <a:lnTo>
                    <a:pt x="30" y="180"/>
                  </a:lnTo>
                  <a:lnTo>
                    <a:pt x="30" y="192"/>
                  </a:lnTo>
                  <a:lnTo>
                    <a:pt x="24" y="198"/>
                  </a:lnTo>
                  <a:lnTo>
                    <a:pt x="24" y="204"/>
                  </a:lnTo>
                  <a:lnTo>
                    <a:pt x="18" y="210"/>
                  </a:lnTo>
                  <a:lnTo>
                    <a:pt x="18" y="216"/>
                  </a:lnTo>
                  <a:lnTo>
                    <a:pt x="24" y="222"/>
                  </a:lnTo>
                  <a:lnTo>
                    <a:pt x="36" y="228"/>
                  </a:lnTo>
                  <a:lnTo>
                    <a:pt x="42" y="228"/>
                  </a:lnTo>
                  <a:lnTo>
                    <a:pt x="42" y="234"/>
                  </a:lnTo>
                  <a:lnTo>
                    <a:pt x="66" y="234"/>
                  </a:lnTo>
                  <a:lnTo>
                    <a:pt x="72" y="240"/>
                  </a:lnTo>
                  <a:lnTo>
                    <a:pt x="72" y="246"/>
                  </a:lnTo>
                  <a:lnTo>
                    <a:pt x="54" y="264"/>
                  </a:lnTo>
                  <a:lnTo>
                    <a:pt x="54" y="270"/>
                  </a:lnTo>
                  <a:lnTo>
                    <a:pt x="66" y="270"/>
                  </a:lnTo>
                  <a:lnTo>
                    <a:pt x="90" y="258"/>
                  </a:lnTo>
                  <a:lnTo>
                    <a:pt x="120" y="228"/>
                  </a:lnTo>
                  <a:lnTo>
                    <a:pt x="144" y="216"/>
                  </a:lnTo>
                  <a:lnTo>
                    <a:pt x="156" y="216"/>
                  </a:lnTo>
                  <a:lnTo>
                    <a:pt x="168" y="222"/>
                  </a:lnTo>
                  <a:lnTo>
                    <a:pt x="204" y="234"/>
                  </a:lnTo>
                  <a:lnTo>
                    <a:pt x="216" y="240"/>
                  </a:lnTo>
                  <a:lnTo>
                    <a:pt x="228" y="252"/>
                  </a:lnTo>
                  <a:lnTo>
                    <a:pt x="234" y="264"/>
                  </a:lnTo>
                  <a:lnTo>
                    <a:pt x="234" y="276"/>
                  </a:lnTo>
                  <a:lnTo>
                    <a:pt x="240" y="282"/>
                  </a:lnTo>
                  <a:lnTo>
                    <a:pt x="240" y="288"/>
                  </a:lnTo>
                  <a:lnTo>
                    <a:pt x="252" y="300"/>
                  </a:lnTo>
                  <a:lnTo>
                    <a:pt x="252" y="306"/>
                  </a:lnTo>
                  <a:lnTo>
                    <a:pt x="246" y="318"/>
                  </a:lnTo>
                  <a:lnTo>
                    <a:pt x="246" y="324"/>
                  </a:lnTo>
                  <a:lnTo>
                    <a:pt x="258" y="336"/>
                  </a:lnTo>
                  <a:lnTo>
                    <a:pt x="282" y="348"/>
                  </a:lnTo>
                  <a:lnTo>
                    <a:pt x="288" y="354"/>
                  </a:lnTo>
                  <a:lnTo>
                    <a:pt x="294" y="354"/>
                  </a:lnTo>
                  <a:lnTo>
                    <a:pt x="300" y="372"/>
                  </a:lnTo>
                  <a:lnTo>
                    <a:pt x="330" y="372"/>
                  </a:lnTo>
                  <a:lnTo>
                    <a:pt x="348" y="390"/>
                  </a:lnTo>
                  <a:lnTo>
                    <a:pt x="354" y="402"/>
                  </a:lnTo>
                  <a:lnTo>
                    <a:pt x="366" y="414"/>
                  </a:lnTo>
                  <a:lnTo>
                    <a:pt x="378" y="420"/>
                  </a:lnTo>
                  <a:lnTo>
                    <a:pt x="384" y="432"/>
                  </a:lnTo>
                  <a:lnTo>
                    <a:pt x="420" y="468"/>
                  </a:lnTo>
                  <a:lnTo>
                    <a:pt x="456" y="468"/>
                  </a:lnTo>
                  <a:lnTo>
                    <a:pt x="462" y="474"/>
                  </a:lnTo>
                  <a:lnTo>
                    <a:pt x="468" y="486"/>
                  </a:lnTo>
                  <a:lnTo>
                    <a:pt x="492" y="498"/>
                  </a:lnTo>
                  <a:lnTo>
                    <a:pt x="510" y="504"/>
                  </a:lnTo>
                  <a:lnTo>
                    <a:pt x="528" y="504"/>
                  </a:lnTo>
                  <a:lnTo>
                    <a:pt x="540" y="510"/>
                  </a:lnTo>
                  <a:lnTo>
                    <a:pt x="546" y="510"/>
                  </a:lnTo>
                  <a:lnTo>
                    <a:pt x="552" y="522"/>
                  </a:lnTo>
                  <a:lnTo>
                    <a:pt x="552" y="534"/>
                  </a:lnTo>
                  <a:lnTo>
                    <a:pt x="564" y="558"/>
                  </a:lnTo>
                  <a:lnTo>
                    <a:pt x="570" y="564"/>
                  </a:lnTo>
                  <a:lnTo>
                    <a:pt x="582" y="564"/>
                  </a:lnTo>
                  <a:lnTo>
                    <a:pt x="594" y="558"/>
                  </a:lnTo>
                  <a:lnTo>
                    <a:pt x="600" y="558"/>
                  </a:lnTo>
                  <a:lnTo>
                    <a:pt x="600" y="570"/>
                  </a:lnTo>
                  <a:lnTo>
                    <a:pt x="606" y="582"/>
                  </a:lnTo>
                  <a:lnTo>
                    <a:pt x="606" y="606"/>
                  </a:lnTo>
                  <a:lnTo>
                    <a:pt x="612" y="618"/>
                  </a:lnTo>
                  <a:lnTo>
                    <a:pt x="630" y="636"/>
                  </a:lnTo>
                  <a:lnTo>
                    <a:pt x="630" y="666"/>
                  </a:lnTo>
                  <a:lnTo>
                    <a:pt x="612" y="666"/>
                  </a:lnTo>
                  <a:lnTo>
                    <a:pt x="612" y="690"/>
                  </a:lnTo>
                  <a:lnTo>
                    <a:pt x="606" y="696"/>
                  </a:lnTo>
                  <a:lnTo>
                    <a:pt x="600" y="708"/>
                  </a:lnTo>
                  <a:lnTo>
                    <a:pt x="594" y="714"/>
                  </a:lnTo>
                  <a:lnTo>
                    <a:pt x="594" y="732"/>
                  </a:lnTo>
                  <a:lnTo>
                    <a:pt x="606" y="732"/>
                  </a:lnTo>
                  <a:lnTo>
                    <a:pt x="618" y="726"/>
                  </a:lnTo>
                  <a:lnTo>
                    <a:pt x="624" y="726"/>
                  </a:lnTo>
                  <a:lnTo>
                    <a:pt x="636" y="702"/>
                  </a:lnTo>
                  <a:lnTo>
                    <a:pt x="654" y="696"/>
                  </a:lnTo>
                  <a:lnTo>
                    <a:pt x="654" y="666"/>
                  </a:lnTo>
                  <a:lnTo>
                    <a:pt x="666" y="654"/>
                  </a:lnTo>
                  <a:lnTo>
                    <a:pt x="678" y="654"/>
                  </a:lnTo>
                  <a:lnTo>
                    <a:pt x="684" y="648"/>
                  </a:lnTo>
                  <a:lnTo>
                    <a:pt x="696" y="648"/>
                  </a:lnTo>
                  <a:lnTo>
                    <a:pt x="696" y="636"/>
                  </a:lnTo>
                  <a:lnTo>
                    <a:pt x="690" y="630"/>
                  </a:lnTo>
                  <a:lnTo>
                    <a:pt x="690" y="618"/>
                  </a:lnTo>
                  <a:lnTo>
                    <a:pt x="678" y="606"/>
                  </a:lnTo>
                  <a:lnTo>
                    <a:pt x="666" y="606"/>
                  </a:lnTo>
                  <a:lnTo>
                    <a:pt x="648" y="588"/>
                  </a:lnTo>
                  <a:lnTo>
                    <a:pt x="654" y="582"/>
                  </a:lnTo>
                  <a:lnTo>
                    <a:pt x="660" y="570"/>
                  </a:lnTo>
                  <a:lnTo>
                    <a:pt x="666" y="552"/>
                  </a:lnTo>
                  <a:lnTo>
                    <a:pt x="672" y="540"/>
                  </a:lnTo>
                  <a:lnTo>
                    <a:pt x="684" y="528"/>
                  </a:lnTo>
                  <a:lnTo>
                    <a:pt x="690" y="534"/>
                  </a:lnTo>
                  <a:lnTo>
                    <a:pt x="702" y="534"/>
                  </a:lnTo>
                  <a:lnTo>
                    <a:pt x="708" y="540"/>
                  </a:lnTo>
                  <a:lnTo>
                    <a:pt x="738" y="540"/>
                  </a:lnTo>
                  <a:lnTo>
                    <a:pt x="738" y="552"/>
                  </a:lnTo>
                  <a:lnTo>
                    <a:pt x="744" y="558"/>
                  </a:lnTo>
                  <a:lnTo>
                    <a:pt x="744" y="564"/>
                  </a:lnTo>
                  <a:lnTo>
                    <a:pt x="750" y="576"/>
                  </a:lnTo>
                  <a:lnTo>
                    <a:pt x="762" y="576"/>
                  </a:lnTo>
                  <a:lnTo>
                    <a:pt x="774" y="570"/>
                  </a:lnTo>
                  <a:lnTo>
                    <a:pt x="780" y="564"/>
                  </a:lnTo>
                  <a:lnTo>
                    <a:pt x="780" y="558"/>
                  </a:lnTo>
                  <a:lnTo>
                    <a:pt x="774" y="546"/>
                  </a:lnTo>
                  <a:close/>
                </a:path>
              </a:pathLst>
            </a:custGeom>
            <a:solidFill>
              <a:srgbClr val="005995"/>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39" name="Israel" descr="© INSCALE GmbH, 05.05.2010&#10;http://www.presentationload.com/"/>
            <p:cNvSpPr>
              <a:spLocks/>
            </p:cNvSpPr>
            <p:nvPr/>
          </p:nvSpPr>
          <p:spPr bwMode="gray">
            <a:xfrm>
              <a:off x="5165730" y="2994028"/>
              <a:ext cx="41275" cy="128587"/>
            </a:xfrm>
            <a:custGeom>
              <a:avLst/>
              <a:gdLst>
                <a:gd name="T0" fmla="*/ 0 w 102"/>
                <a:gd name="T1" fmla="*/ 2147483647 h 324"/>
                <a:gd name="T2" fmla="*/ 2147483647 w 102"/>
                <a:gd name="T3" fmla="*/ 2147483647 h 324"/>
                <a:gd name="T4" fmla="*/ 2147483647 w 102"/>
                <a:gd name="T5" fmla="*/ 2147483647 h 324"/>
                <a:gd name="T6" fmla="*/ 2147483647 w 102"/>
                <a:gd name="T7" fmla="*/ 2147483647 h 324"/>
                <a:gd name="T8" fmla="*/ 2147483647 w 102"/>
                <a:gd name="T9" fmla="*/ 2147483647 h 324"/>
                <a:gd name="T10" fmla="*/ 2147483647 w 102"/>
                <a:gd name="T11" fmla="*/ 2147483647 h 324"/>
                <a:gd name="T12" fmla="*/ 2147483647 w 102"/>
                <a:gd name="T13" fmla="*/ 2147483647 h 324"/>
                <a:gd name="T14" fmla="*/ 2147483647 w 102"/>
                <a:gd name="T15" fmla="*/ 2147483647 h 324"/>
                <a:gd name="T16" fmla="*/ 2147483647 w 102"/>
                <a:gd name="T17" fmla="*/ 2147483647 h 324"/>
                <a:gd name="T18" fmla="*/ 2147483647 w 102"/>
                <a:gd name="T19" fmla="*/ 2147483647 h 324"/>
                <a:gd name="T20" fmla="*/ 2147483647 w 102"/>
                <a:gd name="T21" fmla="*/ 2147483647 h 324"/>
                <a:gd name="T22" fmla="*/ 2147483647 w 102"/>
                <a:gd name="T23" fmla="*/ 2147483647 h 324"/>
                <a:gd name="T24" fmla="*/ 2147483647 w 102"/>
                <a:gd name="T25" fmla="*/ 2147483647 h 324"/>
                <a:gd name="T26" fmla="*/ 2147483647 w 102"/>
                <a:gd name="T27" fmla="*/ 2147483647 h 324"/>
                <a:gd name="T28" fmla="*/ 2147483647 w 102"/>
                <a:gd name="T29" fmla="*/ 2147483647 h 324"/>
                <a:gd name="T30" fmla="*/ 2147483647 w 102"/>
                <a:gd name="T31" fmla="*/ 2147483647 h 324"/>
                <a:gd name="T32" fmla="*/ 2147483647 w 102"/>
                <a:gd name="T33" fmla="*/ 2147483647 h 324"/>
                <a:gd name="T34" fmla="*/ 2147483647 w 102"/>
                <a:gd name="T35" fmla="*/ 2147483647 h 324"/>
                <a:gd name="T36" fmla="*/ 2147483647 w 102"/>
                <a:gd name="T37" fmla="*/ 2147483647 h 324"/>
                <a:gd name="T38" fmla="*/ 2147483647 w 102"/>
                <a:gd name="T39" fmla="*/ 2147483647 h 324"/>
                <a:gd name="T40" fmla="*/ 2147483647 w 102"/>
                <a:gd name="T41" fmla="*/ 2147483647 h 324"/>
                <a:gd name="T42" fmla="*/ 2147483647 w 102"/>
                <a:gd name="T43" fmla="*/ 2147483647 h 324"/>
                <a:gd name="T44" fmla="*/ 2147483647 w 102"/>
                <a:gd name="T45" fmla="*/ 2147483647 h 324"/>
                <a:gd name="T46" fmla="*/ 2147483647 w 102"/>
                <a:gd name="T47" fmla="*/ 2147483647 h 324"/>
                <a:gd name="T48" fmla="*/ 2147483647 w 102"/>
                <a:gd name="T49" fmla="*/ 0 h 324"/>
                <a:gd name="T50" fmla="*/ 2147483647 w 102"/>
                <a:gd name="T51" fmla="*/ 2147483647 h 324"/>
                <a:gd name="T52" fmla="*/ 2147483647 w 102"/>
                <a:gd name="T53" fmla="*/ 2147483647 h 324"/>
                <a:gd name="T54" fmla="*/ 2147483647 w 102"/>
                <a:gd name="T55" fmla="*/ 2147483647 h 324"/>
                <a:gd name="T56" fmla="*/ 2147483647 w 102"/>
                <a:gd name="T57" fmla="*/ 2147483647 h 324"/>
                <a:gd name="T58" fmla="*/ 2147483647 w 102"/>
                <a:gd name="T59" fmla="*/ 2147483647 h 324"/>
                <a:gd name="T60" fmla="*/ 2147483647 w 102"/>
                <a:gd name="T61" fmla="*/ 2147483647 h 324"/>
                <a:gd name="T62" fmla="*/ 2147483647 w 102"/>
                <a:gd name="T63" fmla="*/ 2147483647 h 324"/>
                <a:gd name="T64" fmla="*/ 2147483647 w 102"/>
                <a:gd name="T65" fmla="*/ 2147483647 h 324"/>
                <a:gd name="T66" fmla="*/ 2147483647 w 102"/>
                <a:gd name="T67" fmla="*/ 2147483647 h 324"/>
                <a:gd name="T68" fmla="*/ 2147483647 w 102"/>
                <a:gd name="T69" fmla="*/ 2147483647 h 324"/>
                <a:gd name="T70" fmla="*/ 2147483647 w 102"/>
                <a:gd name="T71" fmla="*/ 2147483647 h 324"/>
                <a:gd name="T72" fmla="*/ 2147483647 w 102"/>
                <a:gd name="T73" fmla="*/ 2147483647 h 324"/>
                <a:gd name="T74" fmla="*/ 2147483647 w 102"/>
                <a:gd name="T75" fmla="*/ 2147483647 h 324"/>
                <a:gd name="T76" fmla="*/ 2147483647 w 102"/>
                <a:gd name="T77" fmla="*/ 2147483647 h 324"/>
                <a:gd name="T78" fmla="*/ 0 w 102"/>
                <a:gd name="T79" fmla="*/ 2147483647 h 32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02"/>
                <a:gd name="T121" fmla="*/ 0 h 324"/>
                <a:gd name="T122" fmla="*/ 102 w 102"/>
                <a:gd name="T123" fmla="*/ 324 h 32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02" h="324">
                  <a:moveTo>
                    <a:pt x="0" y="168"/>
                  </a:moveTo>
                  <a:lnTo>
                    <a:pt x="54" y="312"/>
                  </a:lnTo>
                  <a:lnTo>
                    <a:pt x="60" y="324"/>
                  </a:lnTo>
                  <a:lnTo>
                    <a:pt x="60" y="306"/>
                  </a:lnTo>
                  <a:lnTo>
                    <a:pt x="66" y="294"/>
                  </a:lnTo>
                  <a:lnTo>
                    <a:pt x="66" y="234"/>
                  </a:lnTo>
                  <a:lnTo>
                    <a:pt x="72" y="228"/>
                  </a:lnTo>
                  <a:lnTo>
                    <a:pt x="78" y="216"/>
                  </a:lnTo>
                  <a:lnTo>
                    <a:pt x="84" y="210"/>
                  </a:lnTo>
                  <a:lnTo>
                    <a:pt x="90" y="198"/>
                  </a:lnTo>
                  <a:lnTo>
                    <a:pt x="90" y="186"/>
                  </a:lnTo>
                  <a:lnTo>
                    <a:pt x="78" y="174"/>
                  </a:lnTo>
                  <a:lnTo>
                    <a:pt x="78" y="162"/>
                  </a:lnTo>
                  <a:lnTo>
                    <a:pt x="72" y="156"/>
                  </a:lnTo>
                  <a:lnTo>
                    <a:pt x="66" y="162"/>
                  </a:lnTo>
                  <a:lnTo>
                    <a:pt x="66" y="168"/>
                  </a:lnTo>
                  <a:lnTo>
                    <a:pt x="60" y="168"/>
                  </a:lnTo>
                  <a:lnTo>
                    <a:pt x="54" y="174"/>
                  </a:lnTo>
                  <a:lnTo>
                    <a:pt x="48" y="168"/>
                  </a:lnTo>
                  <a:lnTo>
                    <a:pt x="48" y="96"/>
                  </a:lnTo>
                  <a:lnTo>
                    <a:pt x="66" y="78"/>
                  </a:lnTo>
                  <a:lnTo>
                    <a:pt x="84" y="78"/>
                  </a:lnTo>
                  <a:lnTo>
                    <a:pt x="90" y="60"/>
                  </a:lnTo>
                  <a:lnTo>
                    <a:pt x="84" y="18"/>
                  </a:lnTo>
                  <a:lnTo>
                    <a:pt x="102" y="0"/>
                  </a:lnTo>
                  <a:lnTo>
                    <a:pt x="78" y="6"/>
                  </a:lnTo>
                  <a:lnTo>
                    <a:pt x="78" y="18"/>
                  </a:lnTo>
                  <a:lnTo>
                    <a:pt x="72" y="30"/>
                  </a:lnTo>
                  <a:lnTo>
                    <a:pt x="66" y="36"/>
                  </a:lnTo>
                  <a:lnTo>
                    <a:pt x="60" y="36"/>
                  </a:lnTo>
                  <a:lnTo>
                    <a:pt x="54" y="30"/>
                  </a:lnTo>
                  <a:lnTo>
                    <a:pt x="42" y="54"/>
                  </a:lnTo>
                  <a:lnTo>
                    <a:pt x="30" y="60"/>
                  </a:lnTo>
                  <a:lnTo>
                    <a:pt x="36" y="72"/>
                  </a:lnTo>
                  <a:lnTo>
                    <a:pt x="36" y="84"/>
                  </a:lnTo>
                  <a:lnTo>
                    <a:pt x="42" y="90"/>
                  </a:lnTo>
                  <a:lnTo>
                    <a:pt x="42" y="96"/>
                  </a:lnTo>
                  <a:lnTo>
                    <a:pt x="18" y="138"/>
                  </a:lnTo>
                  <a:lnTo>
                    <a:pt x="18" y="156"/>
                  </a:lnTo>
                  <a:lnTo>
                    <a:pt x="0" y="168"/>
                  </a:lnTo>
                  <a:close/>
                </a:path>
              </a:pathLst>
            </a:custGeom>
            <a:solidFill>
              <a:srgbClr val="FFC000"/>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40" name="Ireland" descr="© INSCALE GmbH, 05.05.2010&#10;http://www.presentationload.com/"/>
            <p:cNvSpPr>
              <a:spLocks/>
            </p:cNvSpPr>
            <p:nvPr/>
          </p:nvSpPr>
          <p:spPr bwMode="gray">
            <a:xfrm>
              <a:off x="4000503" y="2298700"/>
              <a:ext cx="112713" cy="119063"/>
            </a:xfrm>
            <a:custGeom>
              <a:avLst/>
              <a:gdLst>
                <a:gd name="T0" fmla="*/ 2147483647 w 282"/>
                <a:gd name="T1" fmla="*/ 2147483647 h 300"/>
                <a:gd name="T2" fmla="*/ 2147483647 w 282"/>
                <a:gd name="T3" fmla="*/ 2147483647 h 300"/>
                <a:gd name="T4" fmla="*/ 2147483647 w 282"/>
                <a:gd name="T5" fmla="*/ 2147483647 h 300"/>
                <a:gd name="T6" fmla="*/ 2147483647 w 282"/>
                <a:gd name="T7" fmla="*/ 2147483647 h 300"/>
                <a:gd name="T8" fmla="*/ 2147483647 w 282"/>
                <a:gd name="T9" fmla="*/ 2147483647 h 300"/>
                <a:gd name="T10" fmla="*/ 2147483647 w 282"/>
                <a:gd name="T11" fmla="*/ 2147483647 h 300"/>
                <a:gd name="T12" fmla="*/ 2147483647 w 282"/>
                <a:gd name="T13" fmla="*/ 2147483647 h 300"/>
                <a:gd name="T14" fmla="*/ 2147483647 w 282"/>
                <a:gd name="T15" fmla="*/ 2147483647 h 300"/>
                <a:gd name="T16" fmla="*/ 2147483647 w 282"/>
                <a:gd name="T17" fmla="*/ 2147483647 h 300"/>
                <a:gd name="T18" fmla="*/ 2147483647 w 282"/>
                <a:gd name="T19" fmla="*/ 2147483647 h 300"/>
                <a:gd name="T20" fmla="*/ 2147483647 w 282"/>
                <a:gd name="T21" fmla="*/ 2147483647 h 300"/>
                <a:gd name="T22" fmla="*/ 2147483647 w 282"/>
                <a:gd name="T23" fmla="*/ 2147483647 h 300"/>
                <a:gd name="T24" fmla="*/ 2147483647 w 282"/>
                <a:gd name="T25" fmla="*/ 0 h 300"/>
                <a:gd name="T26" fmla="*/ 2147483647 w 282"/>
                <a:gd name="T27" fmla="*/ 2147483647 h 300"/>
                <a:gd name="T28" fmla="*/ 2147483647 w 282"/>
                <a:gd name="T29" fmla="*/ 2147483647 h 300"/>
                <a:gd name="T30" fmla="*/ 2147483647 w 282"/>
                <a:gd name="T31" fmla="*/ 2147483647 h 300"/>
                <a:gd name="T32" fmla="*/ 2147483647 w 282"/>
                <a:gd name="T33" fmla="*/ 2147483647 h 300"/>
                <a:gd name="T34" fmla="*/ 2147483647 w 282"/>
                <a:gd name="T35" fmla="*/ 2147483647 h 300"/>
                <a:gd name="T36" fmla="*/ 2147483647 w 282"/>
                <a:gd name="T37" fmla="*/ 2147483647 h 300"/>
                <a:gd name="T38" fmla="*/ 2147483647 w 282"/>
                <a:gd name="T39" fmla="*/ 2147483647 h 300"/>
                <a:gd name="T40" fmla="*/ 2147483647 w 282"/>
                <a:gd name="T41" fmla="*/ 2147483647 h 300"/>
                <a:gd name="T42" fmla="*/ 2147483647 w 282"/>
                <a:gd name="T43" fmla="*/ 2147483647 h 300"/>
                <a:gd name="T44" fmla="*/ 2147483647 w 282"/>
                <a:gd name="T45" fmla="*/ 2147483647 h 300"/>
                <a:gd name="T46" fmla="*/ 2147483647 w 282"/>
                <a:gd name="T47" fmla="*/ 2147483647 h 300"/>
                <a:gd name="T48" fmla="*/ 2147483647 w 282"/>
                <a:gd name="T49" fmla="*/ 2147483647 h 300"/>
                <a:gd name="T50" fmla="*/ 2147483647 w 282"/>
                <a:gd name="T51" fmla="*/ 2147483647 h 300"/>
                <a:gd name="T52" fmla="*/ 2147483647 w 282"/>
                <a:gd name="T53" fmla="*/ 2147483647 h 300"/>
                <a:gd name="T54" fmla="*/ 2147483647 w 282"/>
                <a:gd name="T55" fmla="*/ 2147483647 h 300"/>
                <a:gd name="T56" fmla="*/ 2147483647 w 282"/>
                <a:gd name="T57" fmla="*/ 2147483647 h 300"/>
                <a:gd name="T58" fmla="*/ 2147483647 w 282"/>
                <a:gd name="T59" fmla="*/ 2147483647 h 300"/>
                <a:gd name="T60" fmla="*/ 2147483647 w 282"/>
                <a:gd name="T61" fmla="*/ 2147483647 h 300"/>
                <a:gd name="T62" fmla="*/ 2147483647 w 282"/>
                <a:gd name="T63" fmla="*/ 2147483647 h 300"/>
                <a:gd name="T64" fmla="*/ 2147483647 w 282"/>
                <a:gd name="T65" fmla="*/ 2147483647 h 300"/>
                <a:gd name="T66" fmla="*/ 2147483647 w 282"/>
                <a:gd name="T67" fmla="*/ 2147483647 h 300"/>
                <a:gd name="T68" fmla="*/ 2147483647 w 282"/>
                <a:gd name="T69" fmla="*/ 2147483647 h 300"/>
                <a:gd name="T70" fmla="*/ 2147483647 w 282"/>
                <a:gd name="T71" fmla="*/ 2147483647 h 300"/>
                <a:gd name="T72" fmla="*/ 2147483647 w 282"/>
                <a:gd name="T73" fmla="*/ 2147483647 h 300"/>
                <a:gd name="T74" fmla="*/ 2147483647 w 282"/>
                <a:gd name="T75" fmla="*/ 2147483647 h 300"/>
                <a:gd name="T76" fmla="*/ 2147483647 w 282"/>
                <a:gd name="T77" fmla="*/ 2147483647 h 300"/>
                <a:gd name="T78" fmla="*/ 2147483647 w 282"/>
                <a:gd name="T79" fmla="*/ 2147483647 h 300"/>
                <a:gd name="T80" fmla="*/ 0 w 282"/>
                <a:gd name="T81" fmla="*/ 2147483647 h 300"/>
                <a:gd name="T82" fmla="*/ 2147483647 w 282"/>
                <a:gd name="T83" fmla="*/ 2147483647 h 300"/>
                <a:gd name="T84" fmla="*/ 2147483647 w 282"/>
                <a:gd name="T85" fmla="*/ 2147483647 h 300"/>
                <a:gd name="T86" fmla="*/ 2147483647 w 282"/>
                <a:gd name="T87" fmla="*/ 2147483647 h 300"/>
                <a:gd name="T88" fmla="*/ 2147483647 w 282"/>
                <a:gd name="T89" fmla="*/ 2147483647 h 300"/>
                <a:gd name="T90" fmla="*/ 2147483647 w 282"/>
                <a:gd name="T91" fmla="*/ 2147483647 h 300"/>
                <a:gd name="T92" fmla="*/ 2147483647 w 282"/>
                <a:gd name="T93" fmla="*/ 2147483647 h 300"/>
                <a:gd name="T94" fmla="*/ 2147483647 w 282"/>
                <a:gd name="T95" fmla="*/ 2147483647 h 300"/>
                <a:gd name="T96" fmla="*/ 2147483647 w 282"/>
                <a:gd name="T97" fmla="*/ 2147483647 h 300"/>
                <a:gd name="T98" fmla="*/ 2147483647 w 282"/>
                <a:gd name="T99" fmla="*/ 2147483647 h 300"/>
                <a:gd name="T100" fmla="*/ 2147483647 w 282"/>
                <a:gd name="T101" fmla="*/ 2147483647 h 300"/>
                <a:gd name="T102" fmla="*/ 2147483647 w 282"/>
                <a:gd name="T103" fmla="*/ 2147483647 h 300"/>
                <a:gd name="T104" fmla="*/ 2147483647 w 282"/>
                <a:gd name="T105" fmla="*/ 2147483647 h 300"/>
                <a:gd name="T106" fmla="*/ 2147483647 w 282"/>
                <a:gd name="T107" fmla="*/ 2147483647 h 300"/>
                <a:gd name="T108" fmla="*/ 2147483647 w 282"/>
                <a:gd name="T109" fmla="*/ 2147483647 h 300"/>
                <a:gd name="T110" fmla="*/ 2147483647 w 282"/>
                <a:gd name="T111" fmla="*/ 2147483647 h 3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82"/>
                <a:gd name="T169" fmla="*/ 0 h 300"/>
                <a:gd name="T170" fmla="*/ 282 w 282"/>
                <a:gd name="T171" fmla="*/ 300 h 3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82" h="300">
                  <a:moveTo>
                    <a:pt x="276" y="156"/>
                  </a:moveTo>
                  <a:lnTo>
                    <a:pt x="276" y="144"/>
                  </a:lnTo>
                  <a:lnTo>
                    <a:pt x="270" y="132"/>
                  </a:lnTo>
                  <a:lnTo>
                    <a:pt x="264" y="126"/>
                  </a:lnTo>
                  <a:lnTo>
                    <a:pt x="264" y="114"/>
                  </a:lnTo>
                  <a:lnTo>
                    <a:pt x="258" y="108"/>
                  </a:lnTo>
                  <a:lnTo>
                    <a:pt x="258" y="102"/>
                  </a:lnTo>
                  <a:lnTo>
                    <a:pt x="276" y="102"/>
                  </a:lnTo>
                  <a:lnTo>
                    <a:pt x="282" y="96"/>
                  </a:lnTo>
                  <a:lnTo>
                    <a:pt x="246" y="90"/>
                  </a:lnTo>
                  <a:lnTo>
                    <a:pt x="228" y="66"/>
                  </a:lnTo>
                  <a:lnTo>
                    <a:pt x="204" y="90"/>
                  </a:lnTo>
                  <a:lnTo>
                    <a:pt x="192" y="90"/>
                  </a:lnTo>
                  <a:lnTo>
                    <a:pt x="168" y="78"/>
                  </a:lnTo>
                  <a:lnTo>
                    <a:pt x="162" y="72"/>
                  </a:lnTo>
                  <a:lnTo>
                    <a:pt x="174" y="60"/>
                  </a:lnTo>
                  <a:lnTo>
                    <a:pt x="180" y="60"/>
                  </a:lnTo>
                  <a:lnTo>
                    <a:pt x="186" y="54"/>
                  </a:lnTo>
                  <a:lnTo>
                    <a:pt x="192" y="54"/>
                  </a:lnTo>
                  <a:lnTo>
                    <a:pt x="192" y="42"/>
                  </a:lnTo>
                  <a:lnTo>
                    <a:pt x="234" y="18"/>
                  </a:lnTo>
                  <a:lnTo>
                    <a:pt x="240" y="12"/>
                  </a:lnTo>
                  <a:lnTo>
                    <a:pt x="240" y="6"/>
                  </a:lnTo>
                  <a:lnTo>
                    <a:pt x="234" y="6"/>
                  </a:lnTo>
                  <a:lnTo>
                    <a:pt x="228" y="0"/>
                  </a:lnTo>
                  <a:lnTo>
                    <a:pt x="222" y="0"/>
                  </a:lnTo>
                  <a:lnTo>
                    <a:pt x="210" y="6"/>
                  </a:lnTo>
                  <a:lnTo>
                    <a:pt x="204" y="18"/>
                  </a:lnTo>
                  <a:lnTo>
                    <a:pt x="198" y="6"/>
                  </a:lnTo>
                  <a:lnTo>
                    <a:pt x="174" y="6"/>
                  </a:lnTo>
                  <a:lnTo>
                    <a:pt x="162" y="12"/>
                  </a:lnTo>
                  <a:lnTo>
                    <a:pt x="156" y="12"/>
                  </a:lnTo>
                  <a:lnTo>
                    <a:pt x="150" y="18"/>
                  </a:lnTo>
                  <a:lnTo>
                    <a:pt x="150" y="30"/>
                  </a:lnTo>
                  <a:lnTo>
                    <a:pt x="144" y="36"/>
                  </a:lnTo>
                  <a:lnTo>
                    <a:pt x="144" y="42"/>
                  </a:lnTo>
                  <a:lnTo>
                    <a:pt x="126" y="42"/>
                  </a:lnTo>
                  <a:lnTo>
                    <a:pt x="120" y="48"/>
                  </a:lnTo>
                  <a:lnTo>
                    <a:pt x="120" y="54"/>
                  </a:lnTo>
                  <a:lnTo>
                    <a:pt x="138" y="54"/>
                  </a:lnTo>
                  <a:lnTo>
                    <a:pt x="144" y="60"/>
                  </a:lnTo>
                  <a:lnTo>
                    <a:pt x="150" y="60"/>
                  </a:lnTo>
                  <a:lnTo>
                    <a:pt x="150" y="66"/>
                  </a:lnTo>
                  <a:lnTo>
                    <a:pt x="144" y="72"/>
                  </a:lnTo>
                  <a:lnTo>
                    <a:pt x="132" y="72"/>
                  </a:lnTo>
                  <a:lnTo>
                    <a:pt x="132" y="78"/>
                  </a:lnTo>
                  <a:lnTo>
                    <a:pt x="126" y="84"/>
                  </a:lnTo>
                  <a:lnTo>
                    <a:pt x="102" y="84"/>
                  </a:lnTo>
                  <a:lnTo>
                    <a:pt x="102" y="90"/>
                  </a:lnTo>
                  <a:lnTo>
                    <a:pt x="90" y="78"/>
                  </a:lnTo>
                  <a:lnTo>
                    <a:pt x="42" y="78"/>
                  </a:lnTo>
                  <a:lnTo>
                    <a:pt x="42" y="102"/>
                  </a:lnTo>
                  <a:lnTo>
                    <a:pt x="54" y="102"/>
                  </a:lnTo>
                  <a:lnTo>
                    <a:pt x="54" y="108"/>
                  </a:lnTo>
                  <a:lnTo>
                    <a:pt x="60" y="114"/>
                  </a:lnTo>
                  <a:lnTo>
                    <a:pt x="42" y="126"/>
                  </a:lnTo>
                  <a:lnTo>
                    <a:pt x="36" y="126"/>
                  </a:lnTo>
                  <a:lnTo>
                    <a:pt x="30" y="132"/>
                  </a:lnTo>
                  <a:lnTo>
                    <a:pt x="30" y="138"/>
                  </a:lnTo>
                  <a:lnTo>
                    <a:pt x="42" y="150"/>
                  </a:lnTo>
                  <a:lnTo>
                    <a:pt x="54" y="156"/>
                  </a:lnTo>
                  <a:lnTo>
                    <a:pt x="60" y="162"/>
                  </a:lnTo>
                  <a:lnTo>
                    <a:pt x="72" y="162"/>
                  </a:lnTo>
                  <a:lnTo>
                    <a:pt x="78" y="156"/>
                  </a:lnTo>
                  <a:lnTo>
                    <a:pt x="96" y="156"/>
                  </a:lnTo>
                  <a:lnTo>
                    <a:pt x="96" y="168"/>
                  </a:lnTo>
                  <a:lnTo>
                    <a:pt x="90" y="174"/>
                  </a:lnTo>
                  <a:lnTo>
                    <a:pt x="72" y="174"/>
                  </a:lnTo>
                  <a:lnTo>
                    <a:pt x="72" y="192"/>
                  </a:lnTo>
                  <a:lnTo>
                    <a:pt x="54" y="192"/>
                  </a:lnTo>
                  <a:lnTo>
                    <a:pt x="48" y="198"/>
                  </a:lnTo>
                  <a:lnTo>
                    <a:pt x="48" y="210"/>
                  </a:lnTo>
                  <a:lnTo>
                    <a:pt x="42" y="222"/>
                  </a:lnTo>
                  <a:lnTo>
                    <a:pt x="42" y="234"/>
                  </a:lnTo>
                  <a:lnTo>
                    <a:pt x="18" y="234"/>
                  </a:lnTo>
                  <a:lnTo>
                    <a:pt x="12" y="240"/>
                  </a:lnTo>
                  <a:lnTo>
                    <a:pt x="6" y="240"/>
                  </a:lnTo>
                  <a:lnTo>
                    <a:pt x="6" y="246"/>
                  </a:lnTo>
                  <a:lnTo>
                    <a:pt x="12" y="246"/>
                  </a:lnTo>
                  <a:lnTo>
                    <a:pt x="18" y="252"/>
                  </a:lnTo>
                  <a:lnTo>
                    <a:pt x="6" y="252"/>
                  </a:lnTo>
                  <a:lnTo>
                    <a:pt x="0" y="258"/>
                  </a:lnTo>
                  <a:lnTo>
                    <a:pt x="0" y="270"/>
                  </a:lnTo>
                  <a:lnTo>
                    <a:pt x="42" y="270"/>
                  </a:lnTo>
                  <a:lnTo>
                    <a:pt x="24" y="288"/>
                  </a:lnTo>
                  <a:lnTo>
                    <a:pt x="30" y="282"/>
                  </a:lnTo>
                  <a:lnTo>
                    <a:pt x="48" y="282"/>
                  </a:lnTo>
                  <a:lnTo>
                    <a:pt x="48" y="288"/>
                  </a:lnTo>
                  <a:lnTo>
                    <a:pt x="42" y="288"/>
                  </a:lnTo>
                  <a:lnTo>
                    <a:pt x="36" y="294"/>
                  </a:lnTo>
                  <a:lnTo>
                    <a:pt x="30" y="294"/>
                  </a:lnTo>
                  <a:lnTo>
                    <a:pt x="36" y="300"/>
                  </a:lnTo>
                  <a:lnTo>
                    <a:pt x="60" y="300"/>
                  </a:lnTo>
                  <a:lnTo>
                    <a:pt x="96" y="288"/>
                  </a:lnTo>
                  <a:lnTo>
                    <a:pt x="108" y="282"/>
                  </a:lnTo>
                  <a:lnTo>
                    <a:pt x="120" y="270"/>
                  </a:lnTo>
                  <a:lnTo>
                    <a:pt x="120" y="264"/>
                  </a:lnTo>
                  <a:lnTo>
                    <a:pt x="132" y="270"/>
                  </a:lnTo>
                  <a:lnTo>
                    <a:pt x="138" y="270"/>
                  </a:lnTo>
                  <a:lnTo>
                    <a:pt x="150" y="264"/>
                  </a:lnTo>
                  <a:lnTo>
                    <a:pt x="162" y="252"/>
                  </a:lnTo>
                  <a:lnTo>
                    <a:pt x="180" y="246"/>
                  </a:lnTo>
                  <a:lnTo>
                    <a:pt x="204" y="246"/>
                  </a:lnTo>
                  <a:lnTo>
                    <a:pt x="210" y="240"/>
                  </a:lnTo>
                  <a:lnTo>
                    <a:pt x="252" y="240"/>
                  </a:lnTo>
                  <a:lnTo>
                    <a:pt x="246" y="222"/>
                  </a:lnTo>
                  <a:lnTo>
                    <a:pt x="264" y="222"/>
                  </a:lnTo>
                  <a:lnTo>
                    <a:pt x="264" y="198"/>
                  </a:lnTo>
                  <a:lnTo>
                    <a:pt x="270" y="192"/>
                  </a:lnTo>
                  <a:lnTo>
                    <a:pt x="270" y="180"/>
                  </a:lnTo>
                  <a:lnTo>
                    <a:pt x="276" y="168"/>
                  </a:lnTo>
                  <a:lnTo>
                    <a:pt x="276" y="156"/>
                  </a:lnTo>
                  <a:close/>
                </a:path>
              </a:pathLst>
            </a:custGeom>
            <a:solidFill>
              <a:srgbClr val="005995"/>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41" name="Iraq" descr="© INSCALE GmbH, 05.05.2010&#10;http://www.presentationload.com/"/>
            <p:cNvSpPr>
              <a:spLocks/>
            </p:cNvSpPr>
            <p:nvPr/>
          </p:nvSpPr>
          <p:spPr bwMode="gray">
            <a:xfrm>
              <a:off x="5283205" y="2868613"/>
              <a:ext cx="276225" cy="265113"/>
            </a:xfrm>
            <a:custGeom>
              <a:avLst/>
              <a:gdLst>
                <a:gd name="T0" fmla="*/ 2147483647 w 684"/>
                <a:gd name="T1" fmla="*/ 2147483647 h 660"/>
                <a:gd name="T2" fmla="*/ 2147483647 w 684"/>
                <a:gd name="T3" fmla="*/ 2147483647 h 660"/>
                <a:gd name="T4" fmla="*/ 2147483647 w 684"/>
                <a:gd name="T5" fmla="*/ 2147483647 h 660"/>
                <a:gd name="T6" fmla="*/ 2147483647 w 684"/>
                <a:gd name="T7" fmla="*/ 2147483647 h 660"/>
                <a:gd name="T8" fmla="*/ 2147483647 w 684"/>
                <a:gd name="T9" fmla="*/ 2147483647 h 660"/>
                <a:gd name="T10" fmla="*/ 2147483647 w 684"/>
                <a:gd name="T11" fmla="*/ 2147483647 h 660"/>
                <a:gd name="T12" fmla="*/ 2147483647 w 684"/>
                <a:gd name="T13" fmla="*/ 2147483647 h 660"/>
                <a:gd name="T14" fmla="*/ 2147483647 w 684"/>
                <a:gd name="T15" fmla="*/ 2147483647 h 660"/>
                <a:gd name="T16" fmla="*/ 2147483647 w 684"/>
                <a:gd name="T17" fmla="*/ 2147483647 h 660"/>
                <a:gd name="T18" fmla="*/ 2147483647 w 684"/>
                <a:gd name="T19" fmla="*/ 2147483647 h 660"/>
                <a:gd name="T20" fmla="*/ 2147483647 w 684"/>
                <a:gd name="T21" fmla="*/ 2147483647 h 660"/>
                <a:gd name="T22" fmla="*/ 2147483647 w 684"/>
                <a:gd name="T23" fmla="*/ 2147483647 h 660"/>
                <a:gd name="T24" fmla="*/ 2147483647 w 684"/>
                <a:gd name="T25" fmla="*/ 2147483647 h 660"/>
                <a:gd name="T26" fmla="*/ 2147483647 w 684"/>
                <a:gd name="T27" fmla="*/ 2147483647 h 660"/>
                <a:gd name="T28" fmla="*/ 2147483647 w 684"/>
                <a:gd name="T29" fmla="*/ 2147483647 h 660"/>
                <a:gd name="T30" fmla="*/ 2147483647 w 684"/>
                <a:gd name="T31" fmla="*/ 2147483647 h 660"/>
                <a:gd name="T32" fmla="*/ 2147483647 w 684"/>
                <a:gd name="T33" fmla="*/ 2147483647 h 660"/>
                <a:gd name="T34" fmla="*/ 2147483647 w 684"/>
                <a:gd name="T35" fmla="*/ 2147483647 h 660"/>
                <a:gd name="T36" fmla="*/ 2147483647 w 684"/>
                <a:gd name="T37" fmla="*/ 2147483647 h 660"/>
                <a:gd name="T38" fmla="*/ 2147483647 w 684"/>
                <a:gd name="T39" fmla="*/ 2147483647 h 660"/>
                <a:gd name="T40" fmla="*/ 2147483647 w 684"/>
                <a:gd name="T41" fmla="*/ 2147483647 h 660"/>
                <a:gd name="T42" fmla="*/ 2147483647 w 684"/>
                <a:gd name="T43" fmla="*/ 2147483647 h 660"/>
                <a:gd name="T44" fmla="*/ 2147483647 w 684"/>
                <a:gd name="T45" fmla="*/ 2147483647 h 660"/>
                <a:gd name="T46" fmla="*/ 2147483647 w 684"/>
                <a:gd name="T47" fmla="*/ 2147483647 h 660"/>
                <a:gd name="T48" fmla="*/ 2147483647 w 684"/>
                <a:gd name="T49" fmla="*/ 2147483647 h 660"/>
                <a:gd name="T50" fmla="*/ 2147483647 w 684"/>
                <a:gd name="T51" fmla="*/ 2147483647 h 660"/>
                <a:gd name="T52" fmla="*/ 2147483647 w 684"/>
                <a:gd name="T53" fmla="*/ 0 h 660"/>
                <a:gd name="T54" fmla="*/ 2147483647 w 684"/>
                <a:gd name="T55" fmla="*/ 2147483647 h 660"/>
                <a:gd name="T56" fmla="*/ 2147483647 w 684"/>
                <a:gd name="T57" fmla="*/ 2147483647 h 660"/>
                <a:gd name="T58" fmla="*/ 2147483647 w 684"/>
                <a:gd name="T59" fmla="*/ 0 h 660"/>
                <a:gd name="T60" fmla="*/ 2147483647 w 684"/>
                <a:gd name="T61" fmla="*/ 2147483647 h 660"/>
                <a:gd name="T62" fmla="*/ 2147483647 w 684"/>
                <a:gd name="T63" fmla="*/ 2147483647 h 660"/>
                <a:gd name="T64" fmla="*/ 2147483647 w 684"/>
                <a:gd name="T65" fmla="*/ 2147483647 h 660"/>
                <a:gd name="T66" fmla="*/ 2147483647 w 684"/>
                <a:gd name="T67" fmla="*/ 2147483647 h 660"/>
                <a:gd name="T68" fmla="*/ 2147483647 w 684"/>
                <a:gd name="T69" fmla="*/ 2147483647 h 660"/>
                <a:gd name="T70" fmla="*/ 2147483647 w 684"/>
                <a:gd name="T71" fmla="*/ 2147483647 h 660"/>
                <a:gd name="T72" fmla="*/ 2147483647 w 684"/>
                <a:gd name="T73" fmla="*/ 2147483647 h 660"/>
                <a:gd name="T74" fmla="*/ 2147483647 w 684"/>
                <a:gd name="T75" fmla="*/ 2147483647 h 660"/>
                <a:gd name="T76" fmla="*/ 2147483647 w 684"/>
                <a:gd name="T77" fmla="*/ 2147483647 h 660"/>
                <a:gd name="T78" fmla="*/ 2147483647 w 684"/>
                <a:gd name="T79" fmla="*/ 2147483647 h 660"/>
                <a:gd name="T80" fmla="*/ 2147483647 w 684"/>
                <a:gd name="T81" fmla="*/ 2147483647 h 660"/>
                <a:gd name="T82" fmla="*/ 2147483647 w 684"/>
                <a:gd name="T83" fmla="*/ 2147483647 h 660"/>
                <a:gd name="T84" fmla="*/ 2147483647 w 684"/>
                <a:gd name="T85" fmla="*/ 2147483647 h 660"/>
                <a:gd name="T86" fmla="*/ 0 w 684"/>
                <a:gd name="T87" fmla="*/ 2147483647 h 660"/>
                <a:gd name="T88" fmla="*/ 2147483647 w 684"/>
                <a:gd name="T89" fmla="*/ 2147483647 h 660"/>
                <a:gd name="T90" fmla="*/ 2147483647 w 684"/>
                <a:gd name="T91" fmla="*/ 2147483647 h 660"/>
                <a:gd name="T92" fmla="*/ 2147483647 w 684"/>
                <a:gd name="T93" fmla="*/ 2147483647 h 660"/>
                <a:gd name="T94" fmla="*/ 2147483647 w 684"/>
                <a:gd name="T95" fmla="*/ 2147483647 h 660"/>
                <a:gd name="T96" fmla="*/ 2147483647 w 684"/>
                <a:gd name="T97" fmla="*/ 2147483647 h 660"/>
                <a:gd name="T98" fmla="*/ 2147483647 w 684"/>
                <a:gd name="T99" fmla="*/ 2147483647 h 660"/>
                <a:gd name="T100" fmla="*/ 2147483647 w 684"/>
                <a:gd name="T101" fmla="*/ 2147483647 h 660"/>
                <a:gd name="T102" fmla="*/ 2147483647 w 684"/>
                <a:gd name="T103" fmla="*/ 2147483647 h 660"/>
                <a:gd name="T104" fmla="*/ 2147483647 w 684"/>
                <a:gd name="T105" fmla="*/ 2147483647 h 660"/>
                <a:gd name="T106" fmla="*/ 2147483647 w 684"/>
                <a:gd name="T107" fmla="*/ 2147483647 h 660"/>
                <a:gd name="T108" fmla="*/ 2147483647 w 684"/>
                <a:gd name="T109" fmla="*/ 2147483647 h 660"/>
                <a:gd name="T110" fmla="*/ 2147483647 w 684"/>
                <a:gd name="T111" fmla="*/ 2147483647 h 660"/>
                <a:gd name="T112" fmla="*/ 2147483647 w 684"/>
                <a:gd name="T113" fmla="*/ 2147483647 h 660"/>
                <a:gd name="T114" fmla="*/ 2147483647 w 684"/>
                <a:gd name="T115" fmla="*/ 2147483647 h 6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84"/>
                <a:gd name="T175" fmla="*/ 0 h 660"/>
                <a:gd name="T176" fmla="*/ 684 w 684"/>
                <a:gd name="T177" fmla="*/ 660 h 6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84" h="660">
                  <a:moveTo>
                    <a:pt x="678" y="564"/>
                  </a:moveTo>
                  <a:lnTo>
                    <a:pt x="666" y="552"/>
                  </a:lnTo>
                  <a:lnTo>
                    <a:pt x="654" y="546"/>
                  </a:lnTo>
                  <a:lnTo>
                    <a:pt x="648" y="516"/>
                  </a:lnTo>
                  <a:lnTo>
                    <a:pt x="642" y="516"/>
                  </a:lnTo>
                  <a:lnTo>
                    <a:pt x="636" y="510"/>
                  </a:lnTo>
                  <a:lnTo>
                    <a:pt x="624" y="504"/>
                  </a:lnTo>
                  <a:lnTo>
                    <a:pt x="618" y="498"/>
                  </a:lnTo>
                  <a:lnTo>
                    <a:pt x="618" y="462"/>
                  </a:lnTo>
                  <a:lnTo>
                    <a:pt x="624" y="450"/>
                  </a:lnTo>
                  <a:lnTo>
                    <a:pt x="624" y="438"/>
                  </a:lnTo>
                  <a:lnTo>
                    <a:pt x="594" y="402"/>
                  </a:lnTo>
                  <a:lnTo>
                    <a:pt x="588" y="390"/>
                  </a:lnTo>
                  <a:lnTo>
                    <a:pt x="582" y="384"/>
                  </a:lnTo>
                  <a:lnTo>
                    <a:pt x="564" y="384"/>
                  </a:lnTo>
                  <a:lnTo>
                    <a:pt x="546" y="366"/>
                  </a:lnTo>
                  <a:lnTo>
                    <a:pt x="534" y="360"/>
                  </a:lnTo>
                  <a:lnTo>
                    <a:pt x="528" y="354"/>
                  </a:lnTo>
                  <a:lnTo>
                    <a:pt x="504" y="354"/>
                  </a:lnTo>
                  <a:lnTo>
                    <a:pt x="504" y="312"/>
                  </a:lnTo>
                  <a:lnTo>
                    <a:pt x="498" y="312"/>
                  </a:lnTo>
                  <a:lnTo>
                    <a:pt x="492" y="306"/>
                  </a:lnTo>
                  <a:lnTo>
                    <a:pt x="468" y="294"/>
                  </a:lnTo>
                  <a:lnTo>
                    <a:pt x="456" y="282"/>
                  </a:lnTo>
                  <a:lnTo>
                    <a:pt x="444" y="276"/>
                  </a:lnTo>
                  <a:lnTo>
                    <a:pt x="438" y="270"/>
                  </a:lnTo>
                  <a:lnTo>
                    <a:pt x="438" y="264"/>
                  </a:lnTo>
                  <a:lnTo>
                    <a:pt x="444" y="252"/>
                  </a:lnTo>
                  <a:lnTo>
                    <a:pt x="450" y="246"/>
                  </a:lnTo>
                  <a:lnTo>
                    <a:pt x="438" y="234"/>
                  </a:lnTo>
                  <a:lnTo>
                    <a:pt x="438" y="228"/>
                  </a:lnTo>
                  <a:lnTo>
                    <a:pt x="450" y="216"/>
                  </a:lnTo>
                  <a:lnTo>
                    <a:pt x="462" y="216"/>
                  </a:lnTo>
                  <a:lnTo>
                    <a:pt x="462" y="186"/>
                  </a:lnTo>
                  <a:lnTo>
                    <a:pt x="468" y="186"/>
                  </a:lnTo>
                  <a:lnTo>
                    <a:pt x="480" y="174"/>
                  </a:lnTo>
                  <a:lnTo>
                    <a:pt x="480" y="168"/>
                  </a:lnTo>
                  <a:lnTo>
                    <a:pt x="474" y="156"/>
                  </a:lnTo>
                  <a:lnTo>
                    <a:pt x="462" y="144"/>
                  </a:lnTo>
                  <a:lnTo>
                    <a:pt x="462" y="138"/>
                  </a:lnTo>
                  <a:lnTo>
                    <a:pt x="480" y="120"/>
                  </a:lnTo>
                  <a:lnTo>
                    <a:pt x="480" y="114"/>
                  </a:lnTo>
                  <a:lnTo>
                    <a:pt x="468" y="114"/>
                  </a:lnTo>
                  <a:lnTo>
                    <a:pt x="456" y="120"/>
                  </a:lnTo>
                  <a:lnTo>
                    <a:pt x="450" y="126"/>
                  </a:lnTo>
                  <a:lnTo>
                    <a:pt x="438" y="108"/>
                  </a:lnTo>
                  <a:lnTo>
                    <a:pt x="414" y="102"/>
                  </a:lnTo>
                  <a:lnTo>
                    <a:pt x="414" y="84"/>
                  </a:lnTo>
                  <a:lnTo>
                    <a:pt x="402" y="72"/>
                  </a:lnTo>
                  <a:lnTo>
                    <a:pt x="378" y="24"/>
                  </a:lnTo>
                  <a:lnTo>
                    <a:pt x="378" y="12"/>
                  </a:lnTo>
                  <a:lnTo>
                    <a:pt x="336" y="24"/>
                  </a:lnTo>
                  <a:lnTo>
                    <a:pt x="336" y="6"/>
                  </a:lnTo>
                  <a:lnTo>
                    <a:pt x="330" y="0"/>
                  </a:lnTo>
                  <a:lnTo>
                    <a:pt x="306" y="0"/>
                  </a:lnTo>
                  <a:lnTo>
                    <a:pt x="306" y="6"/>
                  </a:lnTo>
                  <a:lnTo>
                    <a:pt x="300" y="12"/>
                  </a:lnTo>
                  <a:lnTo>
                    <a:pt x="288" y="12"/>
                  </a:lnTo>
                  <a:lnTo>
                    <a:pt x="276" y="0"/>
                  </a:lnTo>
                  <a:lnTo>
                    <a:pt x="234" y="0"/>
                  </a:lnTo>
                  <a:lnTo>
                    <a:pt x="234" y="12"/>
                  </a:lnTo>
                  <a:lnTo>
                    <a:pt x="228" y="18"/>
                  </a:lnTo>
                  <a:lnTo>
                    <a:pt x="216" y="24"/>
                  </a:lnTo>
                  <a:lnTo>
                    <a:pt x="204" y="36"/>
                  </a:lnTo>
                  <a:lnTo>
                    <a:pt x="198" y="48"/>
                  </a:lnTo>
                  <a:lnTo>
                    <a:pt x="192" y="54"/>
                  </a:lnTo>
                  <a:lnTo>
                    <a:pt x="180" y="54"/>
                  </a:lnTo>
                  <a:lnTo>
                    <a:pt x="168" y="60"/>
                  </a:lnTo>
                  <a:lnTo>
                    <a:pt x="156" y="60"/>
                  </a:lnTo>
                  <a:lnTo>
                    <a:pt x="150" y="66"/>
                  </a:lnTo>
                  <a:lnTo>
                    <a:pt x="144" y="78"/>
                  </a:lnTo>
                  <a:lnTo>
                    <a:pt x="144" y="90"/>
                  </a:lnTo>
                  <a:lnTo>
                    <a:pt x="150" y="102"/>
                  </a:lnTo>
                  <a:lnTo>
                    <a:pt x="156" y="108"/>
                  </a:lnTo>
                  <a:lnTo>
                    <a:pt x="156" y="120"/>
                  </a:lnTo>
                  <a:lnTo>
                    <a:pt x="162" y="132"/>
                  </a:lnTo>
                  <a:lnTo>
                    <a:pt x="162" y="162"/>
                  </a:lnTo>
                  <a:lnTo>
                    <a:pt x="156" y="174"/>
                  </a:lnTo>
                  <a:lnTo>
                    <a:pt x="150" y="192"/>
                  </a:lnTo>
                  <a:lnTo>
                    <a:pt x="150" y="198"/>
                  </a:lnTo>
                  <a:lnTo>
                    <a:pt x="168" y="216"/>
                  </a:lnTo>
                  <a:lnTo>
                    <a:pt x="168" y="222"/>
                  </a:lnTo>
                  <a:lnTo>
                    <a:pt x="162" y="228"/>
                  </a:lnTo>
                  <a:lnTo>
                    <a:pt x="138" y="240"/>
                  </a:lnTo>
                  <a:lnTo>
                    <a:pt x="78" y="264"/>
                  </a:lnTo>
                  <a:lnTo>
                    <a:pt x="66" y="270"/>
                  </a:lnTo>
                  <a:lnTo>
                    <a:pt x="6" y="318"/>
                  </a:lnTo>
                  <a:lnTo>
                    <a:pt x="0" y="318"/>
                  </a:lnTo>
                  <a:lnTo>
                    <a:pt x="0" y="324"/>
                  </a:lnTo>
                  <a:lnTo>
                    <a:pt x="24" y="366"/>
                  </a:lnTo>
                  <a:lnTo>
                    <a:pt x="24" y="384"/>
                  </a:lnTo>
                  <a:lnTo>
                    <a:pt x="48" y="402"/>
                  </a:lnTo>
                  <a:lnTo>
                    <a:pt x="48" y="414"/>
                  </a:lnTo>
                  <a:lnTo>
                    <a:pt x="60" y="426"/>
                  </a:lnTo>
                  <a:lnTo>
                    <a:pt x="126" y="426"/>
                  </a:lnTo>
                  <a:lnTo>
                    <a:pt x="156" y="456"/>
                  </a:lnTo>
                  <a:lnTo>
                    <a:pt x="168" y="462"/>
                  </a:lnTo>
                  <a:lnTo>
                    <a:pt x="180" y="474"/>
                  </a:lnTo>
                  <a:lnTo>
                    <a:pt x="228" y="498"/>
                  </a:lnTo>
                  <a:lnTo>
                    <a:pt x="234" y="504"/>
                  </a:lnTo>
                  <a:lnTo>
                    <a:pt x="246" y="510"/>
                  </a:lnTo>
                  <a:lnTo>
                    <a:pt x="438" y="654"/>
                  </a:lnTo>
                  <a:lnTo>
                    <a:pt x="522" y="654"/>
                  </a:lnTo>
                  <a:lnTo>
                    <a:pt x="570" y="660"/>
                  </a:lnTo>
                  <a:lnTo>
                    <a:pt x="564" y="660"/>
                  </a:lnTo>
                  <a:lnTo>
                    <a:pt x="570" y="654"/>
                  </a:lnTo>
                  <a:lnTo>
                    <a:pt x="588" y="618"/>
                  </a:lnTo>
                  <a:lnTo>
                    <a:pt x="588" y="606"/>
                  </a:lnTo>
                  <a:lnTo>
                    <a:pt x="594" y="600"/>
                  </a:lnTo>
                  <a:lnTo>
                    <a:pt x="600" y="588"/>
                  </a:lnTo>
                  <a:lnTo>
                    <a:pt x="648" y="588"/>
                  </a:lnTo>
                  <a:lnTo>
                    <a:pt x="654" y="594"/>
                  </a:lnTo>
                  <a:lnTo>
                    <a:pt x="678" y="582"/>
                  </a:lnTo>
                  <a:lnTo>
                    <a:pt x="684" y="576"/>
                  </a:lnTo>
                  <a:lnTo>
                    <a:pt x="678" y="570"/>
                  </a:lnTo>
                  <a:lnTo>
                    <a:pt x="678" y="564"/>
                  </a:lnTo>
                  <a:close/>
                </a:path>
              </a:pathLst>
            </a:custGeom>
            <a:solidFill>
              <a:srgbClr val="FFC000"/>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42" name="Iran" descr="© INSCALE GmbH, 05.05.2010&#10;http://www.presentationload.com/"/>
            <p:cNvSpPr>
              <a:spLocks/>
            </p:cNvSpPr>
            <p:nvPr/>
          </p:nvSpPr>
          <p:spPr bwMode="gray">
            <a:xfrm>
              <a:off x="5400679" y="2787650"/>
              <a:ext cx="579437" cy="474662"/>
            </a:xfrm>
            <a:custGeom>
              <a:avLst/>
              <a:gdLst>
                <a:gd name="T0" fmla="*/ 2147483647 w 1440"/>
                <a:gd name="T1" fmla="*/ 2147483647 h 1182"/>
                <a:gd name="T2" fmla="*/ 2147483647 w 1440"/>
                <a:gd name="T3" fmla="*/ 2147483647 h 1182"/>
                <a:gd name="T4" fmla="*/ 2147483647 w 1440"/>
                <a:gd name="T5" fmla="*/ 2147483647 h 1182"/>
                <a:gd name="T6" fmla="*/ 2147483647 w 1440"/>
                <a:gd name="T7" fmla="*/ 2147483647 h 1182"/>
                <a:gd name="T8" fmla="*/ 2147483647 w 1440"/>
                <a:gd name="T9" fmla="*/ 2147483647 h 1182"/>
                <a:gd name="T10" fmla="*/ 2147483647 w 1440"/>
                <a:gd name="T11" fmla="*/ 2147483647 h 1182"/>
                <a:gd name="T12" fmla="*/ 2147483647 w 1440"/>
                <a:gd name="T13" fmla="*/ 2147483647 h 1182"/>
                <a:gd name="T14" fmla="*/ 2147483647 w 1440"/>
                <a:gd name="T15" fmla="*/ 2147483647 h 1182"/>
                <a:gd name="T16" fmla="*/ 2147483647 w 1440"/>
                <a:gd name="T17" fmla="*/ 2147483647 h 1182"/>
                <a:gd name="T18" fmla="*/ 2147483647 w 1440"/>
                <a:gd name="T19" fmla="*/ 2147483647 h 1182"/>
                <a:gd name="T20" fmla="*/ 2147483647 w 1440"/>
                <a:gd name="T21" fmla="*/ 2147483647 h 1182"/>
                <a:gd name="T22" fmla="*/ 2147483647 w 1440"/>
                <a:gd name="T23" fmla="*/ 2147483647 h 1182"/>
                <a:gd name="T24" fmla="*/ 2147483647 w 1440"/>
                <a:gd name="T25" fmla="*/ 2147483647 h 1182"/>
                <a:gd name="T26" fmla="*/ 2147483647 w 1440"/>
                <a:gd name="T27" fmla="*/ 2147483647 h 1182"/>
                <a:gd name="T28" fmla="*/ 2147483647 w 1440"/>
                <a:gd name="T29" fmla="*/ 2147483647 h 1182"/>
                <a:gd name="T30" fmla="*/ 2147483647 w 1440"/>
                <a:gd name="T31" fmla="*/ 2147483647 h 1182"/>
                <a:gd name="T32" fmla="*/ 2147483647 w 1440"/>
                <a:gd name="T33" fmla="*/ 2147483647 h 1182"/>
                <a:gd name="T34" fmla="*/ 2147483647 w 1440"/>
                <a:gd name="T35" fmla="*/ 2147483647 h 1182"/>
                <a:gd name="T36" fmla="*/ 2147483647 w 1440"/>
                <a:gd name="T37" fmla="*/ 2147483647 h 1182"/>
                <a:gd name="T38" fmla="*/ 2147483647 w 1440"/>
                <a:gd name="T39" fmla="*/ 2147483647 h 1182"/>
                <a:gd name="T40" fmla="*/ 2147483647 w 1440"/>
                <a:gd name="T41" fmla="*/ 2147483647 h 1182"/>
                <a:gd name="T42" fmla="*/ 2147483647 w 1440"/>
                <a:gd name="T43" fmla="*/ 2147483647 h 1182"/>
                <a:gd name="T44" fmla="*/ 2147483647 w 1440"/>
                <a:gd name="T45" fmla="*/ 2147483647 h 1182"/>
                <a:gd name="T46" fmla="*/ 2147483647 w 1440"/>
                <a:gd name="T47" fmla="*/ 2147483647 h 1182"/>
                <a:gd name="T48" fmla="*/ 2147483647 w 1440"/>
                <a:gd name="T49" fmla="*/ 2147483647 h 1182"/>
                <a:gd name="T50" fmla="*/ 2147483647 w 1440"/>
                <a:gd name="T51" fmla="*/ 2147483647 h 1182"/>
                <a:gd name="T52" fmla="*/ 2147483647 w 1440"/>
                <a:gd name="T53" fmla="*/ 2147483647 h 1182"/>
                <a:gd name="T54" fmla="*/ 2147483647 w 1440"/>
                <a:gd name="T55" fmla="*/ 2147483647 h 1182"/>
                <a:gd name="T56" fmla="*/ 2147483647 w 1440"/>
                <a:gd name="T57" fmla="*/ 2147483647 h 1182"/>
                <a:gd name="T58" fmla="*/ 2147483647 w 1440"/>
                <a:gd name="T59" fmla="*/ 2147483647 h 1182"/>
                <a:gd name="T60" fmla="*/ 2147483647 w 1440"/>
                <a:gd name="T61" fmla="*/ 0 h 1182"/>
                <a:gd name="T62" fmla="*/ 2147483647 w 1440"/>
                <a:gd name="T63" fmla="*/ 2147483647 h 1182"/>
                <a:gd name="T64" fmla="*/ 2147483647 w 1440"/>
                <a:gd name="T65" fmla="*/ 2147483647 h 1182"/>
                <a:gd name="T66" fmla="*/ 2147483647 w 1440"/>
                <a:gd name="T67" fmla="*/ 2147483647 h 1182"/>
                <a:gd name="T68" fmla="*/ 2147483647 w 1440"/>
                <a:gd name="T69" fmla="*/ 2147483647 h 1182"/>
                <a:gd name="T70" fmla="*/ 2147483647 w 1440"/>
                <a:gd name="T71" fmla="*/ 2147483647 h 1182"/>
                <a:gd name="T72" fmla="*/ 2147483647 w 1440"/>
                <a:gd name="T73" fmla="*/ 2147483647 h 1182"/>
                <a:gd name="T74" fmla="*/ 2147483647 w 1440"/>
                <a:gd name="T75" fmla="*/ 2147483647 h 1182"/>
                <a:gd name="T76" fmla="*/ 2147483647 w 1440"/>
                <a:gd name="T77" fmla="*/ 2147483647 h 1182"/>
                <a:gd name="T78" fmla="*/ 2147483647 w 1440"/>
                <a:gd name="T79" fmla="*/ 2147483647 h 1182"/>
                <a:gd name="T80" fmla="*/ 2147483647 w 1440"/>
                <a:gd name="T81" fmla="*/ 2147483647 h 1182"/>
                <a:gd name="T82" fmla="*/ 2147483647 w 1440"/>
                <a:gd name="T83" fmla="*/ 2147483647 h 1182"/>
                <a:gd name="T84" fmla="*/ 2147483647 w 1440"/>
                <a:gd name="T85" fmla="*/ 2147483647 h 1182"/>
                <a:gd name="T86" fmla="*/ 2147483647 w 1440"/>
                <a:gd name="T87" fmla="*/ 2147483647 h 1182"/>
                <a:gd name="T88" fmla="*/ 2147483647 w 1440"/>
                <a:gd name="T89" fmla="*/ 2147483647 h 1182"/>
                <a:gd name="T90" fmla="*/ 2147483647 w 1440"/>
                <a:gd name="T91" fmla="*/ 2147483647 h 1182"/>
                <a:gd name="T92" fmla="*/ 2147483647 w 1440"/>
                <a:gd name="T93" fmla="*/ 2147483647 h 1182"/>
                <a:gd name="T94" fmla="*/ 2147483647 w 1440"/>
                <a:gd name="T95" fmla="*/ 2147483647 h 1182"/>
                <a:gd name="T96" fmla="*/ 2147483647 w 1440"/>
                <a:gd name="T97" fmla="*/ 2147483647 h 1182"/>
                <a:gd name="T98" fmla="*/ 2147483647 w 1440"/>
                <a:gd name="T99" fmla="*/ 2147483647 h 1182"/>
                <a:gd name="T100" fmla="*/ 2147483647 w 1440"/>
                <a:gd name="T101" fmla="*/ 2147483647 h 1182"/>
                <a:gd name="T102" fmla="*/ 2147483647 w 1440"/>
                <a:gd name="T103" fmla="*/ 2147483647 h 1182"/>
                <a:gd name="T104" fmla="*/ 2147483647 w 1440"/>
                <a:gd name="T105" fmla="*/ 2147483647 h 1182"/>
                <a:gd name="T106" fmla="*/ 2147483647 w 1440"/>
                <a:gd name="T107" fmla="*/ 2147483647 h 1182"/>
                <a:gd name="T108" fmla="*/ 2147483647 w 1440"/>
                <a:gd name="T109" fmla="*/ 2147483647 h 1182"/>
                <a:gd name="T110" fmla="*/ 2147483647 w 1440"/>
                <a:gd name="T111" fmla="*/ 2147483647 h 118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440"/>
                <a:gd name="T169" fmla="*/ 0 h 1182"/>
                <a:gd name="T170" fmla="*/ 1440 w 1440"/>
                <a:gd name="T171" fmla="*/ 1182 h 118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440" h="1182">
                  <a:moveTo>
                    <a:pt x="1338" y="1176"/>
                  </a:moveTo>
                  <a:lnTo>
                    <a:pt x="1338" y="1170"/>
                  </a:lnTo>
                  <a:lnTo>
                    <a:pt x="1332" y="1158"/>
                  </a:lnTo>
                  <a:lnTo>
                    <a:pt x="1332" y="1128"/>
                  </a:lnTo>
                  <a:lnTo>
                    <a:pt x="1344" y="1116"/>
                  </a:lnTo>
                  <a:lnTo>
                    <a:pt x="1344" y="1110"/>
                  </a:lnTo>
                  <a:lnTo>
                    <a:pt x="1350" y="1104"/>
                  </a:lnTo>
                  <a:lnTo>
                    <a:pt x="1356" y="1086"/>
                  </a:lnTo>
                  <a:lnTo>
                    <a:pt x="1368" y="1086"/>
                  </a:lnTo>
                  <a:lnTo>
                    <a:pt x="1374" y="1080"/>
                  </a:lnTo>
                  <a:lnTo>
                    <a:pt x="1374" y="1074"/>
                  </a:lnTo>
                  <a:lnTo>
                    <a:pt x="1380" y="1074"/>
                  </a:lnTo>
                  <a:lnTo>
                    <a:pt x="1380" y="1068"/>
                  </a:lnTo>
                  <a:lnTo>
                    <a:pt x="1386" y="1062"/>
                  </a:lnTo>
                  <a:lnTo>
                    <a:pt x="1398" y="1056"/>
                  </a:lnTo>
                  <a:lnTo>
                    <a:pt x="1428" y="1056"/>
                  </a:lnTo>
                  <a:lnTo>
                    <a:pt x="1428" y="1062"/>
                  </a:lnTo>
                  <a:lnTo>
                    <a:pt x="1434" y="1062"/>
                  </a:lnTo>
                  <a:lnTo>
                    <a:pt x="1440" y="1056"/>
                  </a:lnTo>
                  <a:lnTo>
                    <a:pt x="1440" y="1044"/>
                  </a:lnTo>
                  <a:lnTo>
                    <a:pt x="1434" y="1026"/>
                  </a:lnTo>
                  <a:lnTo>
                    <a:pt x="1428" y="1014"/>
                  </a:lnTo>
                  <a:lnTo>
                    <a:pt x="1422" y="1008"/>
                  </a:lnTo>
                  <a:lnTo>
                    <a:pt x="1404" y="1008"/>
                  </a:lnTo>
                  <a:lnTo>
                    <a:pt x="1404" y="996"/>
                  </a:lnTo>
                  <a:lnTo>
                    <a:pt x="1398" y="984"/>
                  </a:lnTo>
                  <a:lnTo>
                    <a:pt x="1398" y="960"/>
                  </a:lnTo>
                  <a:lnTo>
                    <a:pt x="1392" y="960"/>
                  </a:lnTo>
                  <a:lnTo>
                    <a:pt x="1398" y="930"/>
                  </a:lnTo>
                  <a:lnTo>
                    <a:pt x="1374" y="930"/>
                  </a:lnTo>
                  <a:lnTo>
                    <a:pt x="1362" y="912"/>
                  </a:lnTo>
                  <a:lnTo>
                    <a:pt x="1350" y="918"/>
                  </a:lnTo>
                  <a:lnTo>
                    <a:pt x="1332" y="918"/>
                  </a:lnTo>
                  <a:lnTo>
                    <a:pt x="1326" y="912"/>
                  </a:lnTo>
                  <a:lnTo>
                    <a:pt x="1314" y="894"/>
                  </a:lnTo>
                  <a:lnTo>
                    <a:pt x="1308" y="876"/>
                  </a:lnTo>
                  <a:lnTo>
                    <a:pt x="1296" y="864"/>
                  </a:lnTo>
                  <a:lnTo>
                    <a:pt x="1284" y="846"/>
                  </a:lnTo>
                  <a:lnTo>
                    <a:pt x="1278" y="840"/>
                  </a:lnTo>
                  <a:lnTo>
                    <a:pt x="1272" y="828"/>
                  </a:lnTo>
                  <a:lnTo>
                    <a:pt x="1248" y="804"/>
                  </a:lnTo>
                  <a:lnTo>
                    <a:pt x="1242" y="804"/>
                  </a:lnTo>
                  <a:lnTo>
                    <a:pt x="1242" y="792"/>
                  </a:lnTo>
                  <a:lnTo>
                    <a:pt x="1260" y="774"/>
                  </a:lnTo>
                  <a:lnTo>
                    <a:pt x="1266" y="762"/>
                  </a:lnTo>
                  <a:lnTo>
                    <a:pt x="1272" y="756"/>
                  </a:lnTo>
                  <a:lnTo>
                    <a:pt x="1296" y="708"/>
                  </a:lnTo>
                  <a:lnTo>
                    <a:pt x="1284" y="684"/>
                  </a:lnTo>
                  <a:lnTo>
                    <a:pt x="1278" y="678"/>
                  </a:lnTo>
                  <a:lnTo>
                    <a:pt x="1242" y="678"/>
                  </a:lnTo>
                  <a:lnTo>
                    <a:pt x="1230" y="672"/>
                  </a:lnTo>
                  <a:lnTo>
                    <a:pt x="1224" y="672"/>
                  </a:lnTo>
                  <a:lnTo>
                    <a:pt x="1218" y="666"/>
                  </a:lnTo>
                  <a:lnTo>
                    <a:pt x="1218" y="612"/>
                  </a:lnTo>
                  <a:lnTo>
                    <a:pt x="1212" y="606"/>
                  </a:lnTo>
                  <a:lnTo>
                    <a:pt x="1200" y="582"/>
                  </a:lnTo>
                  <a:lnTo>
                    <a:pt x="1188" y="564"/>
                  </a:lnTo>
                  <a:lnTo>
                    <a:pt x="1176" y="540"/>
                  </a:lnTo>
                  <a:lnTo>
                    <a:pt x="1182" y="528"/>
                  </a:lnTo>
                  <a:lnTo>
                    <a:pt x="1200" y="510"/>
                  </a:lnTo>
                  <a:lnTo>
                    <a:pt x="1200" y="504"/>
                  </a:lnTo>
                  <a:lnTo>
                    <a:pt x="1194" y="498"/>
                  </a:lnTo>
                  <a:lnTo>
                    <a:pt x="1170" y="498"/>
                  </a:lnTo>
                  <a:lnTo>
                    <a:pt x="1170" y="468"/>
                  </a:lnTo>
                  <a:lnTo>
                    <a:pt x="1158" y="456"/>
                  </a:lnTo>
                  <a:lnTo>
                    <a:pt x="1158" y="450"/>
                  </a:lnTo>
                  <a:lnTo>
                    <a:pt x="1164" y="444"/>
                  </a:lnTo>
                  <a:lnTo>
                    <a:pt x="1176" y="438"/>
                  </a:lnTo>
                  <a:lnTo>
                    <a:pt x="1182" y="432"/>
                  </a:lnTo>
                  <a:lnTo>
                    <a:pt x="1188" y="432"/>
                  </a:lnTo>
                  <a:lnTo>
                    <a:pt x="1176" y="414"/>
                  </a:lnTo>
                  <a:lnTo>
                    <a:pt x="1200" y="408"/>
                  </a:lnTo>
                  <a:lnTo>
                    <a:pt x="1200" y="402"/>
                  </a:lnTo>
                  <a:lnTo>
                    <a:pt x="1194" y="396"/>
                  </a:lnTo>
                  <a:lnTo>
                    <a:pt x="1194" y="372"/>
                  </a:lnTo>
                  <a:lnTo>
                    <a:pt x="1188" y="360"/>
                  </a:lnTo>
                  <a:lnTo>
                    <a:pt x="1188" y="354"/>
                  </a:lnTo>
                  <a:lnTo>
                    <a:pt x="1194" y="342"/>
                  </a:lnTo>
                  <a:lnTo>
                    <a:pt x="1200" y="336"/>
                  </a:lnTo>
                  <a:lnTo>
                    <a:pt x="1188" y="306"/>
                  </a:lnTo>
                  <a:lnTo>
                    <a:pt x="1194" y="282"/>
                  </a:lnTo>
                  <a:lnTo>
                    <a:pt x="1182" y="282"/>
                  </a:lnTo>
                  <a:lnTo>
                    <a:pt x="1182" y="246"/>
                  </a:lnTo>
                  <a:lnTo>
                    <a:pt x="1116" y="252"/>
                  </a:lnTo>
                  <a:lnTo>
                    <a:pt x="1110" y="246"/>
                  </a:lnTo>
                  <a:lnTo>
                    <a:pt x="1104" y="234"/>
                  </a:lnTo>
                  <a:lnTo>
                    <a:pt x="1092" y="228"/>
                  </a:lnTo>
                  <a:lnTo>
                    <a:pt x="1080" y="216"/>
                  </a:lnTo>
                  <a:lnTo>
                    <a:pt x="1068" y="216"/>
                  </a:lnTo>
                  <a:lnTo>
                    <a:pt x="1062" y="210"/>
                  </a:lnTo>
                  <a:lnTo>
                    <a:pt x="1056" y="210"/>
                  </a:lnTo>
                  <a:lnTo>
                    <a:pt x="1050" y="204"/>
                  </a:lnTo>
                  <a:lnTo>
                    <a:pt x="1044" y="192"/>
                  </a:lnTo>
                  <a:lnTo>
                    <a:pt x="1044" y="186"/>
                  </a:lnTo>
                  <a:lnTo>
                    <a:pt x="1038" y="180"/>
                  </a:lnTo>
                  <a:lnTo>
                    <a:pt x="1032" y="180"/>
                  </a:lnTo>
                  <a:lnTo>
                    <a:pt x="1020" y="174"/>
                  </a:lnTo>
                  <a:lnTo>
                    <a:pt x="1002" y="174"/>
                  </a:lnTo>
                  <a:lnTo>
                    <a:pt x="990" y="168"/>
                  </a:lnTo>
                  <a:lnTo>
                    <a:pt x="972" y="168"/>
                  </a:lnTo>
                  <a:lnTo>
                    <a:pt x="972" y="174"/>
                  </a:lnTo>
                  <a:lnTo>
                    <a:pt x="960" y="168"/>
                  </a:lnTo>
                  <a:lnTo>
                    <a:pt x="954" y="162"/>
                  </a:lnTo>
                  <a:lnTo>
                    <a:pt x="942" y="156"/>
                  </a:lnTo>
                  <a:lnTo>
                    <a:pt x="936" y="150"/>
                  </a:lnTo>
                  <a:lnTo>
                    <a:pt x="906" y="150"/>
                  </a:lnTo>
                  <a:lnTo>
                    <a:pt x="906" y="138"/>
                  </a:lnTo>
                  <a:lnTo>
                    <a:pt x="894" y="126"/>
                  </a:lnTo>
                  <a:lnTo>
                    <a:pt x="834" y="126"/>
                  </a:lnTo>
                  <a:lnTo>
                    <a:pt x="834" y="132"/>
                  </a:lnTo>
                  <a:lnTo>
                    <a:pt x="828" y="138"/>
                  </a:lnTo>
                  <a:lnTo>
                    <a:pt x="816" y="132"/>
                  </a:lnTo>
                  <a:lnTo>
                    <a:pt x="780" y="132"/>
                  </a:lnTo>
                  <a:lnTo>
                    <a:pt x="768" y="138"/>
                  </a:lnTo>
                  <a:lnTo>
                    <a:pt x="750" y="156"/>
                  </a:lnTo>
                  <a:lnTo>
                    <a:pt x="738" y="162"/>
                  </a:lnTo>
                  <a:lnTo>
                    <a:pt x="732" y="168"/>
                  </a:lnTo>
                  <a:lnTo>
                    <a:pt x="732" y="180"/>
                  </a:lnTo>
                  <a:lnTo>
                    <a:pt x="720" y="186"/>
                  </a:lnTo>
                  <a:lnTo>
                    <a:pt x="708" y="198"/>
                  </a:lnTo>
                  <a:lnTo>
                    <a:pt x="678" y="198"/>
                  </a:lnTo>
                  <a:lnTo>
                    <a:pt x="690" y="210"/>
                  </a:lnTo>
                  <a:lnTo>
                    <a:pt x="690" y="222"/>
                  </a:lnTo>
                  <a:lnTo>
                    <a:pt x="696" y="228"/>
                  </a:lnTo>
                  <a:lnTo>
                    <a:pt x="696" y="234"/>
                  </a:lnTo>
                  <a:lnTo>
                    <a:pt x="690" y="240"/>
                  </a:lnTo>
                  <a:lnTo>
                    <a:pt x="678" y="240"/>
                  </a:lnTo>
                  <a:lnTo>
                    <a:pt x="666" y="234"/>
                  </a:lnTo>
                  <a:lnTo>
                    <a:pt x="660" y="228"/>
                  </a:lnTo>
                  <a:lnTo>
                    <a:pt x="654" y="228"/>
                  </a:lnTo>
                  <a:lnTo>
                    <a:pt x="648" y="234"/>
                  </a:lnTo>
                  <a:lnTo>
                    <a:pt x="624" y="234"/>
                  </a:lnTo>
                  <a:lnTo>
                    <a:pt x="612" y="240"/>
                  </a:lnTo>
                  <a:lnTo>
                    <a:pt x="600" y="240"/>
                  </a:lnTo>
                  <a:lnTo>
                    <a:pt x="582" y="246"/>
                  </a:lnTo>
                  <a:lnTo>
                    <a:pt x="558" y="258"/>
                  </a:lnTo>
                  <a:lnTo>
                    <a:pt x="546" y="252"/>
                  </a:lnTo>
                  <a:lnTo>
                    <a:pt x="534" y="252"/>
                  </a:lnTo>
                  <a:lnTo>
                    <a:pt x="522" y="246"/>
                  </a:lnTo>
                  <a:lnTo>
                    <a:pt x="498" y="246"/>
                  </a:lnTo>
                  <a:lnTo>
                    <a:pt x="480" y="240"/>
                  </a:lnTo>
                  <a:lnTo>
                    <a:pt x="468" y="228"/>
                  </a:lnTo>
                  <a:lnTo>
                    <a:pt x="456" y="222"/>
                  </a:lnTo>
                  <a:lnTo>
                    <a:pt x="444" y="210"/>
                  </a:lnTo>
                  <a:lnTo>
                    <a:pt x="438" y="198"/>
                  </a:lnTo>
                  <a:lnTo>
                    <a:pt x="432" y="192"/>
                  </a:lnTo>
                  <a:lnTo>
                    <a:pt x="432" y="186"/>
                  </a:lnTo>
                  <a:lnTo>
                    <a:pt x="378" y="186"/>
                  </a:lnTo>
                  <a:lnTo>
                    <a:pt x="354" y="162"/>
                  </a:lnTo>
                  <a:lnTo>
                    <a:pt x="336" y="126"/>
                  </a:lnTo>
                  <a:lnTo>
                    <a:pt x="330" y="120"/>
                  </a:lnTo>
                  <a:lnTo>
                    <a:pt x="330" y="114"/>
                  </a:lnTo>
                  <a:lnTo>
                    <a:pt x="312" y="114"/>
                  </a:lnTo>
                  <a:lnTo>
                    <a:pt x="312" y="108"/>
                  </a:lnTo>
                  <a:lnTo>
                    <a:pt x="306" y="102"/>
                  </a:lnTo>
                  <a:lnTo>
                    <a:pt x="300" y="102"/>
                  </a:lnTo>
                  <a:lnTo>
                    <a:pt x="294" y="96"/>
                  </a:lnTo>
                  <a:lnTo>
                    <a:pt x="282" y="90"/>
                  </a:lnTo>
                  <a:lnTo>
                    <a:pt x="270" y="78"/>
                  </a:lnTo>
                  <a:lnTo>
                    <a:pt x="270" y="72"/>
                  </a:lnTo>
                  <a:lnTo>
                    <a:pt x="282" y="72"/>
                  </a:lnTo>
                  <a:lnTo>
                    <a:pt x="288" y="66"/>
                  </a:lnTo>
                  <a:lnTo>
                    <a:pt x="288" y="60"/>
                  </a:lnTo>
                  <a:lnTo>
                    <a:pt x="282" y="54"/>
                  </a:lnTo>
                  <a:lnTo>
                    <a:pt x="276" y="54"/>
                  </a:lnTo>
                  <a:lnTo>
                    <a:pt x="276" y="42"/>
                  </a:lnTo>
                  <a:lnTo>
                    <a:pt x="282" y="36"/>
                  </a:lnTo>
                  <a:lnTo>
                    <a:pt x="282" y="18"/>
                  </a:lnTo>
                  <a:lnTo>
                    <a:pt x="276" y="12"/>
                  </a:lnTo>
                  <a:lnTo>
                    <a:pt x="270" y="0"/>
                  </a:lnTo>
                  <a:lnTo>
                    <a:pt x="258" y="0"/>
                  </a:lnTo>
                  <a:lnTo>
                    <a:pt x="246" y="6"/>
                  </a:lnTo>
                  <a:lnTo>
                    <a:pt x="234" y="18"/>
                  </a:lnTo>
                  <a:lnTo>
                    <a:pt x="222" y="24"/>
                  </a:lnTo>
                  <a:lnTo>
                    <a:pt x="204" y="36"/>
                  </a:lnTo>
                  <a:lnTo>
                    <a:pt x="192" y="48"/>
                  </a:lnTo>
                  <a:lnTo>
                    <a:pt x="192" y="54"/>
                  </a:lnTo>
                  <a:lnTo>
                    <a:pt x="186" y="60"/>
                  </a:lnTo>
                  <a:lnTo>
                    <a:pt x="180" y="72"/>
                  </a:lnTo>
                  <a:lnTo>
                    <a:pt x="132" y="72"/>
                  </a:lnTo>
                  <a:lnTo>
                    <a:pt x="96" y="60"/>
                  </a:lnTo>
                  <a:lnTo>
                    <a:pt x="84" y="54"/>
                  </a:lnTo>
                  <a:lnTo>
                    <a:pt x="66" y="36"/>
                  </a:lnTo>
                  <a:lnTo>
                    <a:pt x="54" y="12"/>
                  </a:lnTo>
                  <a:lnTo>
                    <a:pt x="54" y="6"/>
                  </a:lnTo>
                  <a:lnTo>
                    <a:pt x="48" y="0"/>
                  </a:lnTo>
                  <a:lnTo>
                    <a:pt x="42" y="0"/>
                  </a:lnTo>
                  <a:lnTo>
                    <a:pt x="24" y="18"/>
                  </a:lnTo>
                  <a:lnTo>
                    <a:pt x="24" y="30"/>
                  </a:lnTo>
                  <a:lnTo>
                    <a:pt x="0" y="30"/>
                  </a:lnTo>
                  <a:lnTo>
                    <a:pt x="18" y="54"/>
                  </a:lnTo>
                  <a:lnTo>
                    <a:pt x="18" y="84"/>
                  </a:lnTo>
                  <a:lnTo>
                    <a:pt x="30" y="96"/>
                  </a:lnTo>
                  <a:lnTo>
                    <a:pt x="30" y="108"/>
                  </a:lnTo>
                  <a:lnTo>
                    <a:pt x="36" y="114"/>
                  </a:lnTo>
                  <a:lnTo>
                    <a:pt x="42" y="114"/>
                  </a:lnTo>
                  <a:lnTo>
                    <a:pt x="36" y="120"/>
                  </a:lnTo>
                  <a:lnTo>
                    <a:pt x="36" y="126"/>
                  </a:lnTo>
                  <a:lnTo>
                    <a:pt x="30" y="138"/>
                  </a:lnTo>
                  <a:lnTo>
                    <a:pt x="24" y="144"/>
                  </a:lnTo>
                  <a:lnTo>
                    <a:pt x="60" y="162"/>
                  </a:lnTo>
                  <a:lnTo>
                    <a:pt x="60" y="192"/>
                  </a:lnTo>
                  <a:lnTo>
                    <a:pt x="84" y="198"/>
                  </a:lnTo>
                  <a:lnTo>
                    <a:pt x="84" y="210"/>
                  </a:lnTo>
                  <a:lnTo>
                    <a:pt x="96" y="246"/>
                  </a:lnTo>
                  <a:lnTo>
                    <a:pt x="108" y="270"/>
                  </a:lnTo>
                  <a:lnTo>
                    <a:pt x="120" y="282"/>
                  </a:lnTo>
                  <a:lnTo>
                    <a:pt x="120" y="300"/>
                  </a:lnTo>
                  <a:lnTo>
                    <a:pt x="144" y="306"/>
                  </a:lnTo>
                  <a:lnTo>
                    <a:pt x="156" y="324"/>
                  </a:lnTo>
                  <a:lnTo>
                    <a:pt x="162" y="318"/>
                  </a:lnTo>
                  <a:lnTo>
                    <a:pt x="174" y="312"/>
                  </a:lnTo>
                  <a:lnTo>
                    <a:pt x="186" y="312"/>
                  </a:lnTo>
                  <a:lnTo>
                    <a:pt x="186" y="318"/>
                  </a:lnTo>
                  <a:lnTo>
                    <a:pt x="168" y="336"/>
                  </a:lnTo>
                  <a:lnTo>
                    <a:pt x="168" y="342"/>
                  </a:lnTo>
                  <a:lnTo>
                    <a:pt x="180" y="354"/>
                  </a:lnTo>
                  <a:lnTo>
                    <a:pt x="186" y="366"/>
                  </a:lnTo>
                  <a:lnTo>
                    <a:pt x="186" y="372"/>
                  </a:lnTo>
                  <a:lnTo>
                    <a:pt x="174" y="384"/>
                  </a:lnTo>
                  <a:lnTo>
                    <a:pt x="168" y="384"/>
                  </a:lnTo>
                  <a:lnTo>
                    <a:pt x="168" y="414"/>
                  </a:lnTo>
                  <a:lnTo>
                    <a:pt x="156" y="414"/>
                  </a:lnTo>
                  <a:lnTo>
                    <a:pt x="144" y="426"/>
                  </a:lnTo>
                  <a:lnTo>
                    <a:pt x="144" y="432"/>
                  </a:lnTo>
                  <a:lnTo>
                    <a:pt x="156" y="444"/>
                  </a:lnTo>
                  <a:lnTo>
                    <a:pt x="150" y="450"/>
                  </a:lnTo>
                  <a:lnTo>
                    <a:pt x="144" y="462"/>
                  </a:lnTo>
                  <a:lnTo>
                    <a:pt x="144" y="468"/>
                  </a:lnTo>
                  <a:lnTo>
                    <a:pt x="150" y="474"/>
                  </a:lnTo>
                  <a:lnTo>
                    <a:pt x="162" y="480"/>
                  </a:lnTo>
                  <a:lnTo>
                    <a:pt x="174" y="492"/>
                  </a:lnTo>
                  <a:lnTo>
                    <a:pt x="198" y="504"/>
                  </a:lnTo>
                  <a:lnTo>
                    <a:pt x="204" y="510"/>
                  </a:lnTo>
                  <a:lnTo>
                    <a:pt x="210" y="510"/>
                  </a:lnTo>
                  <a:lnTo>
                    <a:pt x="210" y="552"/>
                  </a:lnTo>
                  <a:lnTo>
                    <a:pt x="234" y="552"/>
                  </a:lnTo>
                  <a:lnTo>
                    <a:pt x="240" y="558"/>
                  </a:lnTo>
                  <a:lnTo>
                    <a:pt x="252" y="564"/>
                  </a:lnTo>
                  <a:lnTo>
                    <a:pt x="270" y="582"/>
                  </a:lnTo>
                  <a:lnTo>
                    <a:pt x="288" y="582"/>
                  </a:lnTo>
                  <a:lnTo>
                    <a:pt x="294" y="588"/>
                  </a:lnTo>
                  <a:lnTo>
                    <a:pt x="300" y="600"/>
                  </a:lnTo>
                  <a:lnTo>
                    <a:pt x="330" y="636"/>
                  </a:lnTo>
                  <a:lnTo>
                    <a:pt x="330" y="648"/>
                  </a:lnTo>
                  <a:lnTo>
                    <a:pt x="324" y="660"/>
                  </a:lnTo>
                  <a:lnTo>
                    <a:pt x="324" y="696"/>
                  </a:lnTo>
                  <a:lnTo>
                    <a:pt x="330" y="702"/>
                  </a:lnTo>
                  <a:lnTo>
                    <a:pt x="342" y="708"/>
                  </a:lnTo>
                  <a:lnTo>
                    <a:pt x="348" y="714"/>
                  </a:lnTo>
                  <a:lnTo>
                    <a:pt x="354" y="714"/>
                  </a:lnTo>
                  <a:lnTo>
                    <a:pt x="360" y="744"/>
                  </a:lnTo>
                  <a:lnTo>
                    <a:pt x="372" y="750"/>
                  </a:lnTo>
                  <a:lnTo>
                    <a:pt x="384" y="762"/>
                  </a:lnTo>
                  <a:lnTo>
                    <a:pt x="384" y="768"/>
                  </a:lnTo>
                  <a:lnTo>
                    <a:pt x="390" y="774"/>
                  </a:lnTo>
                  <a:lnTo>
                    <a:pt x="402" y="780"/>
                  </a:lnTo>
                  <a:lnTo>
                    <a:pt x="408" y="786"/>
                  </a:lnTo>
                  <a:lnTo>
                    <a:pt x="420" y="792"/>
                  </a:lnTo>
                  <a:lnTo>
                    <a:pt x="426" y="786"/>
                  </a:lnTo>
                  <a:lnTo>
                    <a:pt x="426" y="774"/>
                  </a:lnTo>
                  <a:lnTo>
                    <a:pt x="420" y="768"/>
                  </a:lnTo>
                  <a:lnTo>
                    <a:pt x="420" y="762"/>
                  </a:lnTo>
                  <a:lnTo>
                    <a:pt x="426" y="756"/>
                  </a:lnTo>
                  <a:lnTo>
                    <a:pt x="438" y="750"/>
                  </a:lnTo>
                  <a:lnTo>
                    <a:pt x="444" y="756"/>
                  </a:lnTo>
                  <a:lnTo>
                    <a:pt x="450" y="756"/>
                  </a:lnTo>
                  <a:lnTo>
                    <a:pt x="450" y="768"/>
                  </a:lnTo>
                  <a:lnTo>
                    <a:pt x="456" y="780"/>
                  </a:lnTo>
                  <a:lnTo>
                    <a:pt x="474" y="780"/>
                  </a:lnTo>
                  <a:lnTo>
                    <a:pt x="474" y="786"/>
                  </a:lnTo>
                  <a:lnTo>
                    <a:pt x="474" y="780"/>
                  </a:lnTo>
                  <a:lnTo>
                    <a:pt x="480" y="780"/>
                  </a:lnTo>
                  <a:lnTo>
                    <a:pt x="480" y="768"/>
                  </a:lnTo>
                  <a:lnTo>
                    <a:pt x="504" y="768"/>
                  </a:lnTo>
                  <a:lnTo>
                    <a:pt x="504" y="804"/>
                  </a:lnTo>
                  <a:lnTo>
                    <a:pt x="510" y="810"/>
                  </a:lnTo>
                  <a:lnTo>
                    <a:pt x="516" y="810"/>
                  </a:lnTo>
                  <a:lnTo>
                    <a:pt x="528" y="816"/>
                  </a:lnTo>
                  <a:lnTo>
                    <a:pt x="540" y="828"/>
                  </a:lnTo>
                  <a:lnTo>
                    <a:pt x="540" y="846"/>
                  </a:lnTo>
                  <a:lnTo>
                    <a:pt x="552" y="858"/>
                  </a:lnTo>
                  <a:lnTo>
                    <a:pt x="558" y="870"/>
                  </a:lnTo>
                  <a:lnTo>
                    <a:pt x="564" y="876"/>
                  </a:lnTo>
                  <a:lnTo>
                    <a:pt x="570" y="876"/>
                  </a:lnTo>
                  <a:lnTo>
                    <a:pt x="582" y="894"/>
                  </a:lnTo>
                  <a:lnTo>
                    <a:pt x="582" y="906"/>
                  </a:lnTo>
                  <a:lnTo>
                    <a:pt x="594" y="930"/>
                  </a:lnTo>
                  <a:lnTo>
                    <a:pt x="600" y="936"/>
                  </a:lnTo>
                  <a:lnTo>
                    <a:pt x="606" y="936"/>
                  </a:lnTo>
                  <a:lnTo>
                    <a:pt x="612" y="942"/>
                  </a:lnTo>
                  <a:lnTo>
                    <a:pt x="618" y="954"/>
                  </a:lnTo>
                  <a:lnTo>
                    <a:pt x="618" y="960"/>
                  </a:lnTo>
                  <a:lnTo>
                    <a:pt x="648" y="960"/>
                  </a:lnTo>
                  <a:lnTo>
                    <a:pt x="666" y="984"/>
                  </a:lnTo>
                  <a:lnTo>
                    <a:pt x="684" y="978"/>
                  </a:lnTo>
                  <a:lnTo>
                    <a:pt x="702" y="978"/>
                  </a:lnTo>
                  <a:lnTo>
                    <a:pt x="720" y="996"/>
                  </a:lnTo>
                  <a:lnTo>
                    <a:pt x="738" y="1008"/>
                  </a:lnTo>
                  <a:lnTo>
                    <a:pt x="756" y="1026"/>
                  </a:lnTo>
                  <a:lnTo>
                    <a:pt x="792" y="1050"/>
                  </a:lnTo>
                  <a:lnTo>
                    <a:pt x="810" y="1050"/>
                  </a:lnTo>
                  <a:lnTo>
                    <a:pt x="822" y="1056"/>
                  </a:lnTo>
                  <a:lnTo>
                    <a:pt x="834" y="1068"/>
                  </a:lnTo>
                  <a:lnTo>
                    <a:pt x="852" y="1068"/>
                  </a:lnTo>
                  <a:lnTo>
                    <a:pt x="876" y="1056"/>
                  </a:lnTo>
                  <a:lnTo>
                    <a:pt x="876" y="1050"/>
                  </a:lnTo>
                  <a:lnTo>
                    <a:pt x="900" y="1056"/>
                  </a:lnTo>
                  <a:lnTo>
                    <a:pt x="912" y="1032"/>
                  </a:lnTo>
                  <a:lnTo>
                    <a:pt x="930" y="1032"/>
                  </a:lnTo>
                  <a:lnTo>
                    <a:pt x="954" y="1008"/>
                  </a:lnTo>
                  <a:lnTo>
                    <a:pt x="966" y="1020"/>
                  </a:lnTo>
                  <a:lnTo>
                    <a:pt x="972" y="1014"/>
                  </a:lnTo>
                  <a:lnTo>
                    <a:pt x="984" y="1014"/>
                  </a:lnTo>
                  <a:lnTo>
                    <a:pt x="1002" y="1032"/>
                  </a:lnTo>
                  <a:lnTo>
                    <a:pt x="1014" y="1050"/>
                  </a:lnTo>
                  <a:lnTo>
                    <a:pt x="1020" y="1068"/>
                  </a:lnTo>
                  <a:lnTo>
                    <a:pt x="1032" y="1080"/>
                  </a:lnTo>
                  <a:lnTo>
                    <a:pt x="1032" y="1098"/>
                  </a:lnTo>
                  <a:lnTo>
                    <a:pt x="1038" y="1110"/>
                  </a:lnTo>
                  <a:lnTo>
                    <a:pt x="1044" y="1116"/>
                  </a:lnTo>
                  <a:lnTo>
                    <a:pt x="1056" y="1122"/>
                  </a:lnTo>
                  <a:lnTo>
                    <a:pt x="1080" y="1122"/>
                  </a:lnTo>
                  <a:lnTo>
                    <a:pt x="1080" y="1128"/>
                  </a:lnTo>
                  <a:lnTo>
                    <a:pt x="1086" y="1134"/>
                  </a:lnTo>
                  <a:lnTo>
                    <a:pt x="1098" y="1140"/>
                  </a:lnTo>
                  <a:lnTo>
                    <a:pt x="1164" y="1140"/>
                  </a:lnTo>
                  <a:lnTo>
                    <a:pt x="1176" y="1146"/>
                  </a:lnTo>
                  <a:lnTo>
                    <a:pt x="1200" y="1170"/>
                  </a:lnTo>
                  <a:lnTo>
                    <a:pt x="1212" y="1170"/>
                  </a:lnTo>
                  <a:lnTo>
                    <a:pt x="1224" y="1164"/>
                  </a:lnTo>
                  <a:lnTo>
                    <a:pt x="1230" y="1164"/>
                  </a:lnTo>
                  <a:lnTo>
                    <a:pt x="1242" y="1158"/>
                  </a:lnTo>
                  <a:lnTo>
                    <a:pt x="1248" y="1158"/>
                  </a:lnTo>
                  <a:lnTo>
                    <a:pt x="1254" y="1164"/>
                  </a:lnTo>
                  <a:lnTo>
                    <a:pt x="1278" y="1176"/>
                  </a:lnTo>
                  <a:lnTo>
                    <a:pt x="1296" y="1182"/>
                  </a:lnTo>
                  <a:lnTo>
                    <a:pt x="1326" y="1182"/>
                  </a:lnTo>
                  <a:lnTo>
                    <a:pt x="1338" y="1176"/>
                  </a:lnTo>
                  <a:close/>
                </a:path>
              </a:pathLst>
            </a:custGeom>
            <a:solidFill>
              <a:srgbClr val="FFC000"/>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43" name="Indonesia" descr="© INSCALE GmbH, 05.05.2010&#10;http://www.presentationload.com/"/>
            <p:cNvSpPr>
              <a:spLocks noEditPoints="1"/>
            </p:cNvSpPr>
            <p:nvPr/>
          </p:nvSpPr>
          <p:spPr bwMode="gray">
            <a:xfrm>
              <a:off x="6938968" y="3894137"/>
              <a:ext cx="1314451" cy="523874"/>
            </a:xfrm>
            <a:custGeom>
              <a:avLst/>
              <a:gdLst>
                <a:gd name="T0" fmla="*/ 2147483647 w 3264"/>
                <a:gd name="T1" fmla="*/ 2147483647 h 1302"/>
                <a:gd name="T2" fmla="*/ 2147483647 w 3264"/>
                <a:gd name="T3" fmla="*/ 2147483647 h 1302"/>
                <a:gd name="T4" fmla="*/ 2147483647 w 3264"/>
                <a:gd name="T5" fmla="*/ 2147483647 h 1302"/>
                <a:gd name="T6" fmla="*/ 2147483647 w 3264"/>
                <a:gd name="T7" fmla="*/ 2147483647 h 1302"/>
                <a:gd name="T8" fmla="*/ 2147483647 w 3264"/>
                <a:gd name="T9" fmla="*/ 2147483647 h 1302"/>
                <a:gd name="T10" fmla="*/ 2147483647 w 3264"/>
                <a:gd name="T11" fmla="*/ 2147483647 h 1302"/>
                <a:gd name="T12" fmla="*/ 2147483647 w 3264"/>
                <a:gd name="T13" fmla="*/ 2147483647 h 1302"/>
                <a:gd name="T14" fmla="*/ 2147483647 w 3264"/>
                <a:gd name="T15" fmla="*/ 2147483647 h 1302"/>
                <a:gd name="T16" fmla="*/ 2147483647 w 3264"/>
                <a:gd name="T17" fmla="*/ 2147483647 h 1302"/>
                <a:gd name="T18" fmla="*/ 2147483647 w 3264"/>
                <a:gd name="T19" fmla="*/ 2147483647 h 1302"/>
                <a:gd name="T20" fmla="*/ 2147483647 w 3264"/>
                <a:gd name="T21" fmla="*/ 2147483647 h 1302"/>
                <a:gd name="T22" fmla="*/ 2147483647 w 3264"/>
                <a:gd name="T23" fmla="*/ 2147483647 h 1302"/>
                <a:gd name="T24" fmla="*/ 2147483647 w 3264"/>
                <a:gd name="T25" fmla="*/ 2147483647 h 1302"/>
                <a:gd name="T26" fmla="*/ 2147483647 w 3264"/>
                <a:gd name="T27" fmla="*/ 2147483647 h 1302"/>
                <a:gd name="T28" fmla="*/ 2147483647 w 3264"/>
                <a:gd name="T29" fmla="*/ 2147483647 h 1302"/>
                <a:gd name="T30" fmla="*/ 2147483647 w 3264"/>
                <a:gd name="T31" fmla="*/ 2147483647 h 1302"/>
                <a:gd name="T32" fmla="*/ 2147483647 w 3264"/>
                <a:gd name="T33" fmla="*/ 2147483647 h 1302"/>
                <a:gd name="T34" fmla="*/ 2147483647 w 3264"/>
                <a:gd name="T35" fmla="*/ 2147483647 h 1302"/>
                <a:gd name="T36" fmla="*/ 2147483647 w 3264"/>
                <a:gd name="T37" fmla="*/ 2147483647 h 1302"/>
                <a:gd name="T38" fmla="*/ 2147483647 w 3264"/>
                <a:gd name="T39" fmla="*/ 2147483647 h 1302"/>
                <a:gd name="T40" fmla="*/ 2147483647 w 3264"/>
                <a:gd name="T41" fmla="*/ 2147483647 h 1302"/>
                <a:gd name="T42" fmla="*/ 2147483647 w 3264"/>
                <a:gd name="T43" fmla="*/ 2147483647 h 1302"/>
                <a:gd name="T44" fmla="*/ 2147483647 w 3264"/>
                <a:gd name="T45" fmla="*/ 2147483647 h 1302"/>
                <a:gd name="T46" fmla="*/ 2147483647 w 3264"/>
                <a:gd name="T47" fmla="*/ 2147483647 h 1302"/>
                <a:gd name="T48" fmla="*/ 2147483647 w 3264"/>
                <a:gd name="T49" fmla="*/ 2147483647 h 1302"/>
                <a:gd name="T50" fmla="*/ 2147483647 w 3264"/>
                <a:gd name="T51" fmla="*/ 2147483647 h 1302"/>
                <a:gd name="T52" fmla="*/ 2147483647 w 3264"/>
                <a:gd name="T53" fmla="*/ 2147483647 h 1302"/>
                <a:gd name="T54" fmla="*/ 2147483647 w 3264"/>
                <a:gd name="T55" fmla="*/ 2147483647 h 1302"/>
                <a:gd name="T56" fmla="*/ 2147483647 w 3264"/>
                <a:gd name="T57" fmla="*/ 2147483647 h 1302"/>
                <a:gd name="T58" fmla="*/ 2147483647 w 3264"/>
                <a:gd name="T59" fmla="*/ 2147483647 h 1302"/>
                <a:gd name="T60" fmla="*/ 2147483647 w 3264"/>
                <a:gd name="T61" fmla="*/ 2147483647 h 1302"/>
                <a:gd name="T62" fmla="*/ 2147483647 w 3264"/>
                <a:gd name="T63" fmla="*/ 2147483647 h 1302"/>
                <a:gd name="T64" fmla="*/ 2147483647 w 3264"/>
                <a:gd name="T65" fmla="*/ 2147483647 h 1302"/>
                <a:gd name="T66" fmla="*/ 2147483647 w 3264"/>
                <a:gd name="T67" fmla="*/ 2147483647 h 1302"/>
                <a:gd name="T68" fmla="*/ 2147483647 w 3264"/>
                <a:gd name="T69" fmla="*/ 2147483647 h 1302"/>
                <a:gd name="T70" fmla="*/ 2147483647 w 3264"/>
                <a:gd name="T71" fmla="*/ 2147483647 h 1302"/>
                <a:gd name="T72" fmla="*/ 2147483647 w 3264"/>
                <a:gd name="T73" fmla="*/ 2147483647 h 1302"/>
                <a:gd name="T74" fmla="*/ 2147483647 w 3264"/>
                <a:gd name="T75" fmla="*/ 2147483647 h 1302"/>
                <a:gd name="T76" fmla="*/ 2147483647 w 3264"/>
                <a:gd name="T77" fmla="*/ 2147483647 h 1302"/>
                <a:gd name="T78" fmla="*/ 2147483647 w 3264"/>
                <a:gd name="T79" fmla="*/ 2147483647 h 1302"/>
                <a:gd name="T80" fmla="*/ 2147483647 w 3264"/>
                <a:gd name="T81" fmla="*/ 2147483647 h 1302"/>
                <a:gd name="T82" fmla="*/ 2147483647 w 3264"/>
                <a:gd name="T83" fmla="*/ 2147483647 h 1302"/>
                <a:gd name="T84" fmla="*/ 2147483647 w 3264"/>
                <a:gd name="T85" fmla="*/ 2147483647 h 1302"/>
                <a:gd name="T86" fmla="*/ 2147483647 w 3264"/>
                <a:gd name="T87" fmla="*/ 2147483647 h 1302"/>
                <a:gd name="T88" fmla="*/ 2147483647 w 3264"/>
                <a:gd name="T89" fmla="*/ 2147483647 h 1302"/>
                <a:gd name="T90" fmla="*/ 2147483647 w 3264"/>
                <a:gd name="T91" fmla="*/ 2147483647 h 1302"/>
                <a:gd name="T92" fmla="*/ 2147483647 w 3264"/>
                <a:gd name="T93" fmla="*/ 2147483647 h 1302"/>
                <a:gd name="T94" fmla="*/ 2147483647 w 3264"/>
                <a:gd name="T95" fmla="*/ 2147483647 h 1302"/>
                <a:gd name="T96" fmla="*/ 2147483647 w 3264"/>
                <a:gd name="T97" fmla="*/ 2147483647 h 1302"/>
                <a:gd name="T98" fmla="*/ 2147483647 w 3264"/>
                <a:gd name="T99" fmla="*/ 2147483647 h 1302"/>
                <a:gd name="T100" fmla="*/ 2147483647 w 3264"/>
                <a:gd name="T101" fmla="*/ 2147483647 h 1302"/>
                <a:gd name="T102" fmla="*/ 2147483647 w 3264"/>
                <a:gd name="T103" fmla="*/ 2147483647 h 1302"/>
                <a:gd name="T104" fmla="*/ 2147483647 w 3264"/>
                <a:gd name="T105" fmla="*/ 2147483647 h 1302"/>
                <a:gd name="T106" fmla="*/ 2147483647 w 3264"/>
                <a:gd name="T107" fmla="*/ 2147483647 h 1302"/>
                <a:gd name="T108" fmla="*/ 2147483647 w 3264"/>
                <a:gd name="T109" fmla="*/ 2147483647 h 1302"/>
                <a:gd name="T110" fmla="*/ 2147483647 w 3264"/>
                <a:gd name="T111" fmla="*/ 2147483647 h 1302"/>
                <a:gd name="T112" fmla="*/ 2147483647 w 3264"/>
                <a:gd name="T113" fmla="*/ 2147483647 h 1302"/>
                <a:gd name="T114" fmla="*/ 2147483647 w 3264"/>
                <a:gd name="T115" fmla="*/ 2147483647 h 1302"/>
                <a:gd name="T116" fmla="*/ 2147483647 w 3264"/>
                <a:gd name="T117" fmla="*/ 2147483647 h 1302"/>
                <a:gd name="T118" fmla="*/ 2147483647 w 3264"/>
                <a:gd name="T119" fmla="*/ 2147483647 h 1302"/>
                <a:gd name="T120" fmla="*/ 2147483647 w 3264"/>
                <a:gd name="T121" fmla="*/ 2147483647 h 1302"/>
                <a:gd name="T122" fmla="*/ 2147483647 w 3264"/>
                <a:gd name="T123" fmla="*/ 2147483647 h 1302"/>
                <a:gd name="T124" fmla="*/ 2147483647 w 3264"/>
                <a:gd name="T125" fmla="*/ 2147483647 h 130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264"/>
                <a:gd name="T190" fmla="*/ 0 h 1302"/>
                <a:gd name="T191" fmla="*/ 3264 w 3264"/>
                <a:gd name="T192" fmla="*/ 1302 h 130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264" h="1302">
                  <a:moveTo>
                    <a:pt x="1788" y="984"/>
                  </a:moveTo>
                  <a:lnTo>
                    <a:pt x="1806" y="978"/>
                  </a:lnTo>
                  <a:lnTo>
                    <a:pt x="1818" y="954"/>
                  </a:lnTo>
                  <a:lnTo>
                    <a:pt x="1812" y="930"/>
                  </a:lnTo>
                  <a:lnTo>
                    <a:pt x="1788" y="984"/>
                  </a:lnTo>
                  <a:close/>
                  <a:moveTo>
                    <a:pt x="672" y="462"/>
                  </a:moveTo>
                  <a:lnTo>
                    <a:pt x="702" y="480"/>
                  </a:lnTo>
                  <a:lnTo>
                    <a:pt x="702" y="450"/>
                  </a:lnTo>
                  <a:lnTo>
                    <a:pt x="672" y="426"/>
                  </a:lnTo>
                  <a:lnTo>
                    <a:pt x="672" y="462"/>
                  </a:lnTo>
                  <a:close/>
                  <a:moveTo>
                    <a:pt x="678" y="492"/>
                  </a:moveTo>
                  <a:lnTo>
                    <a:pt x="654" y="516"/>
                  </a:lnTo>
                  <a:lnTo>
                    <a:pt x="678" y="546"/>
                  </a:lnTo>
                  <a:lnTo>
                    <a:pt x="678" y="492"/>
                  </a:lnTo>
                  <a:close/>
                  <a:moveTo>
                    <a:pt x="906" y="714"/>
                  </a:moveTo>
                  <a:lnTo>
                    <a:pt x="930" y="732"/>
                  </a:lnTo>
                  <a:lnTo>
                    <a:pt x="936" y="708"/>
                  </a:lnTo>
                  <a:lnTo>
                    <a:pt x="936" y="702"/>
                  </a:lnTo>
                  <a:lnTo>
                    <a:pt x="930" y="696"/>
                  </a:lnTo>
                  <a:lnTo>
                    <a:pt x="930" y="690"/>
                  </a:lnTo>
                  <a:lnTo>
                    <a:pt x="912" y="672"/>
                  </a:lnTo>
                  <a:lnTo>
                    <a:pt x="900" y="666"/>
                  </a:lnTo>
                  <a:lnTo>
                    <a:pt x="888" y="666"/>
                  </a:lnTo>
                  <a:lnTo>
                    <a:pt x="882" y="672"/>
                  </a:lnTo>
                  <a:lnTo>
                    <a:pt x="876" y="684"/>
                  </a:lnTo>
                  <a:lnTo>
                    <a:pt x="882" y="696"/>
                  </a:lnTo>
                  <a:lnTo>
                    <a:pt x="882" y="708"/>
                  </a:lnTo>
                  <a:lnTo>
                    <a:pt x="888" y="720"/>
                  </a:lnTo>
                  <a:lnTo>
                    <a:pt x="906" y="714"/>
                  </a:lnTo>
                  <a:close/>
                  <a:moveTo>
                    <a:pt x="684" y="372"/>
                  </a:moveTo>
                  <a:lnTo>
                    <a:pt x="672" y="360"/>
                  </a:lnTo>
                  <a:lnTo>
                    <a:pt x="660" y="372"/>
                  </a:lnTo>
                  <a:lnTo>
                    <a:pt x="672" y="396"/>
                  </a:lnTo>
                  <a:lnTo>
                    <a:pt x="684" y="396"/>
                  </a:lnTo>
                  <a:lnTo>
                    <a:pt x="684" y="372"/>
                  </a:lnTo>
                  <a:close/>
                  <a:moveTo>
                    <a:pt x="750" y="624"/>
                  </a:moveTo>
                  <a:lnTo>
                    <a:pt x="750" y="630"/>
                  </a:lnTo>
                  <a:lnTo>
                    <a:pt x="756" y="636"/>
                  </a:lnTo>
                  <a:lnTo>
                    <a:pt x="756" y="648"/>
                  </a:lnTo>
                  <a:lnTo>
                    <a:pt x="774" y="684"/>
                  </a:lnTo>
                  <a:lnTo>
                    <a:pt x="786" y="690"/>
                  </a:lnTo>
                  <a:lnTo>
                    <a:pt x="804" y="696"/>
                  </a:lnTo>
                  <a:lnTo>
                    <a:pt x="816" y="702"/>
                  </a:lnTo>
                  <a:lnTo>
                    <a:pt x="834" y="702"/>
                  </a:lnTo>
                  <a:lnTo>
                    <a:pt x="828" y="660"/>
                  </a:lnTo>
                  <a:lnTo>
                    <a:pt x="810" y="648"/>
                  </a:lnTo>
                  <a:lnTo>
                    <a:pt x="810" y="618"/>
                  </a:lnTo>
                  <a:lnTo>
                    <a:pt x="804" y="606"/>
                  </a:lnTo>
                  <a:lnTo>
                    <a:pt x="792" y="600"/>
                  </a:lnTo>
                  <a:lnTo>
                    <a:pt x="786" y="588"/>
                  </a:lnTo>
                  <a:lnTo>
                    <a:pt x="768" y="582"/>
                  </a:lnTo>
                  <a:lnTo>
                    <a:pt x="756" y="576"/>
                  </a:lnTo>
                  <a:lnTo>
                    <a:pt x="732" y="576"/>
                  </a:lnTo>
                  <a:lnTo>
                    <a:pt x="732" y="582"/>
                  </a:lnTo>
                  <a:lnTo>
                    <a:pt x="726" y="588"/>
                  </a:lnTo>
                  <a:lnTo>
                    <a:pt x="726" y="600"/>
                  </a:lnTo>
                  <a:lnTo>
                    <a:pt x="714" y="600"/>
                  </a:lnTo>
                  <a:lnTo>
                    <a:pt x="714" y="606"/>
                  </a:lnTo>
                  <a:lnTo>
                    <a:pt x="708" y="612"/>
                  </a:lnTo>
                  <a:lnTo>
                    <a:pt x="714" y="624"/>
                  </a:lnTo>
                  <a:lnTo>
                    <a:pt x="750" y="624"/>
                  </a:lnTo>
                  <a:close/>
                  <a:moveTo>
                    <a:pt x="246" y="438"/>
                  </a:moveTo>
                  <a:lnTo>
                    <a:pt x="222" y="462"/>
                  </a:lnTo>
                  <a:lnTo>
                    <a:pt x="234" y="492"/>
                  </a:lnTo>
                  <a:lnTo>
                    <a:pt x="234" y="498"/>
                  </a:lnTo>
                  <a:lnTo>
                    <a:pt x="228" y="504"/>
                  </a:lnTo>
                  <a:lnTo>
                    <a:pt x="228" y="510"/>
                  </a:lnTo>
                  <a:lnTo>
                    <a:pt x="240" y="510"/>
                  </a:lnTo>
                  <a:lnTo>
                    <a:pt x="246" y="504"/>
                  </a:lnTo>
                  <a:lnTo>
                    <a:pt x="246" y="468"/>
                  </a:lnTo>
                  <a:lnTo>
                    <a:pt x="252" y="456"/>
                  </a:lnTo>
                  <a:lnTo>
                    <a:pt x="246" y="438"/>
                  </a:lnTo>
                  <a:close/>
                  <a:moveTo>
                    <a:pt x="264" y="534"/>
                  </a:moveTo>
                  <a:lnTo>
                    <a:pt x="258" y="546"/>
                  </a:lnTo>
                  <a:lnTo>
                    <a:pt x="258" y="588"/>
                  </a:lnTo>
                  <a:lnTo>
                    <a:pt x="264" y="600"/>
                  </a:lnTo>
                  <a:lnTo>
                    <a:pt x="276" y="612"/>
                  </a:lnTo>
                  <a:lnTo>
                    <a:pt x="288" y="612"/>
                  </a:lnTo>
                  <a:lnTo>
                    <a:pt x="294" y="606"/>
                  </a:lnTo>
                  <a:lnTo>
                    <a:pt x="294" y="588"/>
                  </a:lnTo>
                  <a:lnTo>
                    <a:pt x="288" y="576"/>
                  </a:lnTo>
                  <a:lnTo>
                    <a:pt x="282" y="558"/>
                  </a:lnTo>
                  <a:lnTo>
                    <a:pt x="282" y="546"/>
                  </a:lnTo>
                  <a:lnTo>
                    <a:pt x="276" y="534"/>
                  </a:lnTo>
                  <a:lnTo>
                    <a:pt x="264" y="534"/>
                  </a:lnTo>
                  <a:close/>
                  <a:moveTo>
                    <a:pt x="48" y="222"/>
                  </a:moveTo>
                  <a:lnTo>
                    <a:pt x="42" y="228"/>
                  </a:lnTo>
                  <a:lnTo>
                    <a:pt x="42" y="246"/>
                  </a:lnTo>
                  <a:lnTo>
                    <a:pt x="48" y="258"/>
                  </a:lnTo>
                  <a:lnTo>
                    <a:pt x="66" y="258"/>
                  </a:lnTo>
                  <a:lnTo>
                    <a:pt x="84" y="276"/>
                  </a:lnTo>
                  <a:lnTo>
                    <a:pt x="90" y="270"/>
                  </a:lnTo>
                  <a:lnTo>
                    <a:pt x="90" y="252"/>
                  </a:lnTo>
                  <a:lnTo>
                    <a:pt x="78" y="246"/>
                  </a:lnTo>
                  <a:lnTo>
                    <a:pt x="72" y="234"/>
                  </a:lnTo>
                  <a:lnTo>
                    <a:pt x="60" y="228"/>
                  </a:lnTo>
                  <a:lnTo>
                    <a:pt x="54" y="222"/>
                  </a:lnTo>
                  <a:lnTo>
                    <a:pt x="48" y="222"/>
                  </a:lnTo>
                  <a:close/>
                  <a:moveTo>
                    <a:pt x="162" y="330"/>
                  </a:moveTo>
                  <a:lnTo>
                    <a:pt x="156" y="330"/>
                  </a:lnTo>
                  <a:lnTo>
                    <a:pt x="144" y="342"/>
                  </a:lnTo>
                  <a:lnTo>
                    <a:pt x="144" y="354"/>
                  </a:lnTo>
                  <a:lnTo>
                    <a:pt x="156" y="366"/>
                  </a:lnTo>
                  <a:lnTo>
                    <a:pt x="162" y="378"/>
                  </a:lnTo>
                  <a:lnTo>
                    <a:pt x="174" y="390"/>
                  </a:lnTo>
                  <a:lnTo>
                    <a:pt x="180" y="402"/>
                  </a:lnTo>
                  <a:lnTo>
                    <a:pt x="192" y="414"/>
                  </a:lnTo>
                  <a:lnTo>
                    <a:pt x="198" y="408"/>
                  </a:lnTo>
                  <a:lnTo>
                    <a:pt x="198" y="402"/>
                  </a:lnTo>
                  <a:lnTo>
                    <a:pt x="204" y="390"/>
                  </a:lnTo>
                  <a:lnTo>
                    <a:pt x="204" y="384"/>
                  </a:lnTo>
                  <a:lnTo>
                    <a:pt x="198" y="372"/>
                  </a:lnTo>
                  <a:lnTo>
                    <a:pt x="198" y="366"/>
                  </a:lnTo>
                  <a:lnTo>
                    <a:pt x="192" y="360"/>
                  </a:lnTo>
                  <a:lnTo>
                    <a:pt x="186" y="348"/>
                  </a:lnTo>
                  <a:lnTo>
                    <a:pt x="180" y="342"/>
                  </a:lnTo>
                  <a:lnTo>
                    <a:pt x="168" y="336"/>
                  </a:lnTo>
                  <a:lnTo>
                    <a:pt x="162" y="330"/>
                  </a:lnTo>
                  <a:close/>
                  <a:moveTo>
                    <a:pt x="2574" y="486"/>
                  </a:moveTo>
                  <a:lnTo>
                    <a:pt x="2574" y="474"/>
                  </a:lnTo>
                  <a:lnTo>
                    <a:pt x="2568" y="474"/>
                  </a:lnTo>
                  <a:lnTo>
                    <a:pt x="2556" y="468"/>
                  </a:lnTo>
                  <a:lnTo>
                    <a:pt x="2520" y="468"/>
                  </a:lnTo>
                  <a:lnTo>
                    <a:pt x="2514" y="474"/>
                  </a:lnTo>
                  <a:lnTo>
                    <a:pt x="2520" y="498"/>
                  </a:lnTo>
                  <a:lnTo>
                    <a:pt x="2526" y="498"/>
                  </a:lnTo>
                  <a:lnTo>
                    <a:pt x="2538" y="492"/>
                  </a:lnTo>
                  <a:lnTo>
                    <a:pt x="2562" y="492"/>
                  </a:lnTo>
                  <a:lnTo>
                    <a:pt x="2568" y="486"/>
                  </a:lnTo>
                  <a:lnTo>
                    <a:pt x="2574" y="486"/>
                  </a:lnTo>
                  <a:close/>
                  <a:moveTo>
                    <a:pt x="336" y="648"/>
                  </a:moveTo>
                  <a:lnTo>
                    <a:pt x="342" y="648"/>
                  </a:lnTo>
                  <a:lnTo>
                    <a:pt x="342" y="636"/>
                  </a:lnTo>
                  <a:lnTo>
                    <a:pt x="330" y="624"/>
                  </a:lnTo>
                  <a:lnTo>
                    <a:pt x="318" y="624"/>
                  </a:lnTo>
                  <a:lnTo>
                    <a:pt x="318" y="636"/>
                  </a:lnTo>
                  <a:lnTo>
                    <a:pt x="330" y="648"/>
                  </a:lnTo>
                  <a:lnTo>
                    <a:pt x="336" y="648"/>
                  </a:lnTo>
                  <a:close/>
                  <a:moveTo>
                    <a:pt x="2472" y="654"/>
                  </a:moveTo>
                  <a:lnTo>
                    <a:pt x="2484" y="648"/>
                  </a:lnTo>
                  <a:lnTo>
                    <a:pt x="2502" y="630"/>
                  </a:lnTo>
                  <a:lnTo>
                    <a:pt x="2502" y="618"/>
                  </a:lnTo>
                  <a:lnTo>
                    <a:pt x="2430" y="612"/>
                  </a:lnTo>
                  <a:lnTo>
                    <a:pt x="2430" y="624"/>
                  </a:lnTo>
                  <a:lnTo>
                    <a:pt x="2436" y="630"/>
                  </a:lnTo>
                  <a:lnTo>
                    <a:pt x="2442" y="642"/>
                  </a:lnTo>
                  <a:lnTo>
                    <a:pt x="2448" y="648"/>
                  </a:lnTo>
                  <a:lnTo>
                    <a:pt x="2460" y="654"/>
                  </a:lnTo>
                  <a:lnTo>
                    <a:pt x="2472" y="654"/>
                  </a:lnTo>
                  <a:close/>
                  <a:moveTo>
                    <a:pt x="2406" y="288"/>
                  </a:moveTo>
                  <a:lnTo>
                    <a:pt x="2418" y="276"/>
                  </a:lnTo>
                  <a:lnTo>
                    <a:pt x="2418" y="264"/>
                  </a:lnTo>
                  <a:lnTo>
                    <a:pt x="2412" y="258"/>
                  </a:lnTo>
                  <a:lnTo>
                    <a:pt x="2400" y="252"/>
                  </a:lnTo>
                  <a:lnTo>
                    <a:pt x="2376" y="252"/>
                  </a:lnTo>
                  <a:lnTo>
                    <a:pt x="2370" y="258"/>
                  </a:lnTo>
                  <a:lnTo>
                    <a:pt x="2370" y="264"/>
                  </a:lnTo>
                  <a:lnTo>
                    <a:pt x="2394" y="288"/>
                  </a:lnTo>
                  <a:lnTo>
                    <a:pt x="2406" y="288"/>
                  </a:lnTo>
                  <a:close/>
                  <a:moveTo>
                    <a:pt x="2868" y="528"/>
                  </a:moveTo>
                  <a:lnTo>
                    <a:pt x="2886" y="534"/>
                  </a:lnTo>
                  <a:lnTo>
                    <a:pt x="2892" y="534"/>
                  </a:lnTo>
                  <a:lnTo>
                    <a:pt x="2898" y="528"/>
                  </a:lnTo>
                  <a:lnTo>
                    <a:pt x="2898" y="522"/>
                  </a:lnTo>
                  <a:lnTo>
                    <a:pt x="2874" y="510"/>
                  </a:lnTo>
                  <a:lnTo>
                    <a:pt x="2868" y="516"/>
                  </a:lnTo>
                  <a:lnTo>
                    <a:pt x="2862" y="516"/>
                  </a:lnTo>
                  <a:lnTo>
                    <a:pt x="2862" y="522"/>
                  </a:lnTo>
                  <a:lnTo>
                    <a:pt x="2868" y="528"/>
                  </a:lnTo>
                  <a:close/>
                  <a:moveTo>
                    <a:pt x="2916" y="618"/>
                  </a:moveTo>
                  <a:lnTo>
                    <a:pt x="2928" y="618"/>
                  </a:lnTo>
                  <a:lnTo>
                    <a:pt x="2940" y="612"/>
                  </a:lnTo>
                  <a:lnTo>
                    <a:pt x="2958" y="612"/>
                  </a:lnTo>
                  <a:lnTo>
                    <a:pt x="2964" y="606"/>
                  </a:lnTo>
                  <a:lnTo>
                    <a:pt x="2970" y="606"/>
                  </a:lnTo>
                  <a:lnTo>
                    <a:pt x="2964" y="606"/>
                  </a:lnTo>
                  <a:lnTo>
                    <a:pt x="2958" y="600"/>
                  </a:lnTo>
                  <a:lnTo>
                    <a:pt x="2946" y="594"/>
                  </a:lnTo>
                  <a:lnTo>
                    <a:pt x="2934" y="594"/>
                  </a:lnTo>
                  <a:lnTo>
                    <a:pt x="2928" y="588"/>
                  </a:lnTo>
                  <a:lnTo>
                    <a:pt x="2922" y="588"/>
                  </a:lnTo>
                  <a:lnTo>
                    <a:pt x="2910" y="594"/>
                  </a:lnTo>
                  <a:lnTo>
                    <a:pt x="2892" y="594"/>
                  </a:lnTo>
                  <a:lnTo>
                    <a:pt x="2886" y="600"/>
                  </a:lnTo>
                  <a:lnTo>
                    <a:pt x="2880" y="600"/>
                  </a:lnTo>
                  <a:lnTo>
                    <a:pt x="2892" y="606"/>
                  </a:lnTo>
                  <a:lnTo>
                    <a:pt x="2898" y="612"/>
                  </a:lnTo>
                  <a:lnTo>
                    <a:pt x="2910" y="618"/>
                  </a:lnTo>
                  <a:lnTo>
                    <a:pt x="2916" y="618"/>
                  </a:lnTo>
                  <a:close/>
                  <a:moveTo>
                    <a:pt x="1710" y="552"/>
                  </a:moveTo>
                  <a:lnTo>
                    <a:pt x="1710" y="564"/>
                  </a:lnTo>
                  <a:lnTo>
                    <a:pt x="1716" y="570"/>
                  </a:lnTo>
                  <a:lnTo>
                    <a:pt x="1716" y="582"/>
                  </a:lnTo>
                  <a:lnTo>
                    <a:pt x="1722" y="594"/>
                  </a:lnTo>
                  <a:lnTo>
                    <a:pt x="1722" y="612"/>
                  </a:lnTo>
                  <a:lnTo>
                    <a:pt x="1716" y="618"/>
                  </a:lnTo>
                  <a:lnTo>
                    <a:pt x="1692" y="630"/>
                  </a:lnTo>
                  <a:lnTo>
                    <a:pt x="1686" y="636"/>
                  </a:lnTo>
                  <a:lnTo>
                    <a:pt x="1674" y="642"/>
                  </a:lnTo>
                  <a:lnTo>
                    <a:pt x="1674" y="678"/>
                  </a:lnTo>
                  <a:lnTo>
                    <a:pt x="1680" y="684"/>
                  </a:lnTo>
                  <a:lnTo>
                    <a:pt x="1686" y="696"/>
                  </a:lnTo>
                  <a:lnTo>
                    <a:pt x="1674" y="708"/>
                  </a:lnTo>
                  <a:lnTo>
                    <a:pt x="1674" y="720"/>
                  </a:lnTo>
                  <a:lnTo>
                    <a:pt x="1680" y="726"/>
                  </a:lnTo>
                  <a:lnTo>
                    <a:pt x="1692" y="732"/>
                  </a:lnTo>
                  <a:lnTo>
                    <a:pt x="1698" y="726"/>
                  </a:lnTo>
                  <a:lnTo>
                    <a:pt x="1722" y="726"/>
                  </a:lnTo>
                  <a:lnTo>
                    <a:pt x="1728" y="732"/>
                  </a:lnTo>
                  <a:lnTo>
                    <a:pt x="1728" y="756"/>
                  </a:lnTo>
                  <a:lnTo>
                    <a:pt x="1722" y="762"/>
                  </a:lnTo>
                  <a:lnTo>
                    <a:pt x="1740" y="780"/>
                  </a:lnTo>
                  <a:lnTo>
                    <a:pt x="1728" y="846"/>
                  </a:lnTo>
                  <a:lnTo>
                    <a:pt x="1710" y="864"/>
                  </a:lnTo>
                  <a:lnTo>
                    <a:pt x="1704" y="876"/>
                  </a:lnTo>
                  <a:lnTo>
                    <a:pt x="1704" y="888"/>
                  </a:lnTo>
                  <a:lnTo>
                    <a:pt x="1710" y="906"/>
                  </a:lnTo>
                  <a:lnTo>
                    <a:pt x="1722" y="924"/>
                  </a:lnTo>
                  <a:lnTo>
                    <a:pt x="1746" y="936"/>
                  </a:lnTo>
                  <a:lnTo>
                    <a:pt x="1764" y="930"/>
                  </a:lnTo>
                  <a:lnTo>
                    <a:pt x="1788" y="906"/>
                  </a:lnTo>
                  <a:lnTo>
                    <a:pt x="1788" y="864"/>
                  </a:lnTo>
                  <a:lnTo>
                    <a:pt x="1782" y="858"/>
                  </a:lnTo>
                  <a:lnTo>
                    <a:pt x="1776" y="846"/>
                  </a:lnTo>
                  <a:lnTo>
                    <a:pt x="1800" y="822"/>
                  </a:lnTo>
                  <a:lnTo>
                    <a:pt x="1806" y="804"/>
                  </a:lnTo>
                  <a:lnTo>
                    <a:pt x="1806" y="774"/>
                  </a:lnTo>
                  <a:lnTo>
                    <a:pt x="1812" y="756"/>
                  </a:lnTo>
                  <a:lnTo>
                    <a:pt x="1812" y="726"/>
                  </a:lnTo>
                  <a:lnTo>
                    <a:pt x="1806" y="714"/>
                  </a:lnTo>
                  <a:lnTo>
                    <a:pt x="1800" y="696"/>
                  </a:lnTo>
                  <a:lnTo>
                    <a:pt x="1794" y="684"/>
                  </a:lnTo>
                  <a:lnTo>
                    <a:pt x="1794" y="636"/>
                  </a:lnTo>
                  <a:lnTo>
                    <a:pt x="1800" y="630"/>
                  </a:lnTo>
                  <a:lnTo>
                    <a:pt x="1800" y="624"/>
                  </a:lnTo>
                  <a:lnTo>
                    <a:pt x="1806" y="618"/>
                  </a:lnTo>
                  <a:lnTo>
                    <a:pt x="1812" y="618"/>
                  </a:lnTo>
                  <a:lnTo>
                    <a:pt x="1818" y="624"/>
                  </a:lnTo>
                  <a:lnTo>
                    <a:pt x="1824" y="642"/>
                  </a:lnTo>
                  <a:lnTo>
                    <a:pt x="1830" y="666"/>
                  </a:lnTo>
                  <a:lnTo>
                    <a:pt x="1836" y="684"/>
                  </a:lnTo>
                  <a:lnTo>
                    <a:pt x="1836" y="702"/>
                  </a:lnTo>
                  <a:lnTo>
                    <a:pt x="1866" y="738"/>
                  </a:lnTo>
                  <a:lnTo>
                    <a:pt x="1866" y="792"/>
                  </a:lnTo>
                  <a:lnTo>
                    <a:pt x="1890" y="822"/>
                  </a:lnTo>
                  <a:lnTo>
                    <a:pt x="1890" y="858"/>
                  </a:lnTo>
                  <a:lnTo>
                    <a:pt x="1902" y="930"/>
                  </a:lnTo>
                  <a:lnTo>
                    <a:pt x="1920" y="918"/>
                  </a:lnTo>
                  <a:lnTo>
                    <a:pt x="1962" y="930"/>
                  </a:lnTo>
                  <a:lnTo>
                    <a:pt x="1962" y="870"/>
                  </a:lnTo>
                  <a:lnTo>
                    <a:pt x="1968" y="864"/>
                  </a:lnTo>
                  <a:lnTo>
                    <a:pt x="1974" y="852"/>
                  </a:lnTo>
                  <a:lnTo>
                    <a:pt x="1980" y="876"/>
                  </a:lnTo>
                  <a:lnTo>
                    <a:pt x="1998" y="876"/>
                  </a:lnTo>
                  <a:lnTo>
                    <a:pt x="2004" y="870"/>
                  </a:lnTo>
                  <a:lnTo>
                    <a:pt x="2010" y="858"/>
                  </a:lnTo>
                  <a:lnTo>
                    <a:pt x="2010" y="828"/>
                  </a:lnTo>
                  <a:lnTo>
                    <a:pt x="2004" y="822"/>
                  </a:lnTo>
                  <a:lnTo>
                    <a:pt x="2004" y="816"/>
                  </a:lnTo>
                  <a:lnTo>
                    <a:pt x="1992" y="810"/>
                  </a:lnTo>
                  <a:lnTo>
                    <a:pt x="1986" y="798"/>
                  </a:lnTo>
                  <a:lnTo>
                    <a:pt x="1974" y="792"/>
                  </a:lnTo>
                  <a:lnTo>
                    <a:pt x="1962" y="780"/>
                  </a:lnTo>
                  <a:lnTo>
                    <a:pt x="1956" y="768"/>
                  </a:lnTo>
                  <a:lnTo>
                    <a:pt x="1944" y="756"/>
                  </a:lnTo>
                  <a:lnTo>
                    <a:pt x="1944" y="750"/>
                  </a:lnTo>
                  <a:lnTo>
                    <a:pt x="1956" y="726"/>
                  </a:lnTo>
                  <a:lnTo>
                    <a:pt x="1968" y="720"/>
                  </a:lnTo>
                  <a:lnTo>
                    <a:pt x="1968" y="708"/>
                  </a:lnTo>
                  <a:lnTo>
                    <a:pt x="1962" y="696"/>
                  </a:lnTo>
                  <a:lnTo>
                    <a:pt x="1938" y="684"/>
                  </a:lnTo>
                  <a:lnTo>
                    <a:pt x="1932" y="672"/>
                  </a:lnTo>
                  <a:lnTo>
                    <a:pt x="1932" y="642"/>
                  </a:lnTo>
                  <a:lnTo>
                    <a:pt x="1938" y="636"/>
                  </a:lnTo>
                  <a:lnTo>
                    <a:pt x="1938" y="630"/>
                  </a:lnTo>
                  <a:lnTo>
                    <a:pt x="1926" y="618"/>
                  </a:lnTo>
                  <a:lnTo>
                    <a:pt x="1914" y="612"/>
                  </a:lnTo>
                  <a:lnTo>
                    <a:pt x="1896" y="594"/>
                  </a:lnTo>
                  <a:lnTo>
                    <a:pt x="1884" y="588"/>
                  </a:lnTo>
                  <a:lnTo>
                    <a:pt x="1878" y="582"/>
                  </a:lnTo>
                  <a:lnTo>
                    <a:pt x="1914" y="582"/>
                  </a:lnTo>
                  <a:lnTo>
                    <a:pt x="1926" y="576"/>
                  </a:lnTo>
                  <a:lnTo>
                    <a:pt x="1932" y="570"/>
                  </a:lnTo>
                  <a:lnTo>
                    <a:pt x="1944" y="546"/>
                  </a:lnTo>
                  <a:lnTo>
                    <a:pt x="1950" y="540"/>
                  </a:lnTo>
                  <a:lnTo>
                    <a:pt x="1956" y="528"/>
                  </a:lnTo>
                  <a:lnTo>
                    <a:pt x="1992" y="528"/>
                  </a:lnTo>
                  <a:lnTo>
                    <a:pt x="2004" y="522"/>
                  </a:lnTo>
                  <a:lnTo>
                    <a:pt x="2010" y="522"/>
                  </a:lnTo>
                  <a:lnTo>
                    <a:pt x="2016" y="516"/>
                  </a:lnTo>
                  <a:lnTo>
                    <a:pt x="2016" y="504"/>
                  </a:lnTo>
                  <a:lnTo>
                    <a:pt x="1998" y="486"/>
                  </a:lnTo>
                  <a:lnTo>
                    <a:pt x="1986" y="480"/>
                  </a:lnTo>
                  <a:lnTo>
                    <a:pt x="1974" y="486"/>
                  </a:lnTo>
                  <a:lnTo>
                    <a:pt x="1956" y="504"/>
                  </a:lnTo>
                  <a:lnTo>
                    <a:pt x="1956" y="510"/>
                  </a:lnTo>
                  <a:lnTo>
                    <a:pt x="1944" y="510"/>
                  </a:lnTo>
                  <a:lnTo>
                    <a:pt x="1932" y="504"/>
                  </a:lnTo>
                  <a:lnTo>
                    <a:pt x="1896" y="504"/>
                  </a:lnTo>
                  <a:lnTo>
                    <a:pt x="1890" y="510"/>
                  </a:lnTo>
                  <a:lnTo>
                    <a:pt x="1884" y="522"/>
                  </a:lnTo>
                  <a:lnTo>
                    <a:pt x="1854" y="552"/>
                  </a:lnTo>
                  <a:lnTo>
                    <a:pt x="1848" y="546"/>
                  </a:lnTo>
                  <a:lnTo>
                    <a:pt x="1836" y="540"/>
                  </a:lnTo>
                  <a:lnTo>
                    <a:pt x="1824" y="516"/>
                  </a:lnTo>
                  <a:lnTo>
                    <a:pt x="1788" y="498"/>
                  </a:lnTo>
                  <a:lnTo>
                    <a:pt x="1776" y="498"/>
                  </a:lnTo>
                  <a:lnTo>
                    <a:pt x="1776" y="486"/>
                  </a:lnTo>
                  <a:lnTo>
                    <a:pt x="1782" y="468"/>
                  </a:lnTo>
                  <a:lnTo>
                    <a:pt x="1782" y="456"/>
                  </a:lnTo>
                  <a:lnTo>
                    <a:pt x="1794" y="420"/>
                  </a:lnTo>
                  <a:lnTo>
                    <a:pt x="1806" y="408"/>
                  </a:lnTo>
                  <a:lnTo>
                    <a:pt x="1824" y="408"/>
                  </a:lnTo>
                  <a:lnTo>
                    <a:pt x="1842" y="414"/>
                  </a:lnTo>
                  <a:lnTo>
                    <a:pt x="1896" y="414"/>
                  </a:lnTo>
                  <a:lnTo>
                    <a:pt x="1902" y="408"/>
                  </a:lnTo>
                  <a:lnTo>
                    <a:pt x="1908" y="408"/>
                  </a:lnTo>
                  <a:lnTo>
                    <a:pt x="1908" y="402"/>
                  </a:lnTo>
                  <a:lnTo>
                    <a:pt x="1914" y="396"/>
                  </a:lnTo>
                  <a:lnTo>
                    <a:pt x="1920" y="396"/>
                  </a:lnTo>
                  <a:lnTo>
                    <a:pt x="1944" y="402"/>
                  </a:lnTo>
                  <a:lnTo>
                    <a:pt x="1980" y="420"/>
                  </a:lnTo>
                  <a:lnTo>
                    <a:pt x="2010" y="432"/>
                  </a:lnTo>
                  <a:lnTo>
                    <a:pt x="2034" y="438"/>
                  </a:lnTo>
                  <a:lnTo>
                    <a:pt x="2040" y="438"/>
                  </a:lnTo>
                  <a:lnTo>
                    <a:pt x="2052" y="432"/>
                  </a:lnTo>
                  <a:lnTo>
                    <a:pt x="2064" y="420"/>
                  </a:lnTo>
                  <a:lnTo>
                    <a:pt x="2082" y="420"/>
                  </a:lnTo>
                  <a:lnTo>
                    <a:pt x="2094" y="414"/>
                  </a:lnTo>
                  <a:lnTo>
                    <a:pt x="2106" y="414"/>
                  </a:lnTo>
                  <a:lnTo>
                    <a:pt x="2112" y="408"/>
                  </a:lnTo>
                  <a:lnTo>
                    <a:pt x="2112" y="402"/>
                  </a:lnTo>
                  <a:lnTo>
                    <a:pt x="2106" y="396"/>
                  </a:lnTo>
                  <a:lnTo>
                    <a:pt x="2106" y="390"/>
                  </a:lnTo>
                  <a:lnTo>
                    <a:pt x="2118" y="378"/>
                  </a:lnTo>
                  <a:lnTo>
                    <a:pt x="2142" y="366"/>
                  </a:lnTo>
                  <a:lnTo>
                    <a:pt x="2148" y="360"/>
                  </a:lnTo>
                  <a:lnTo>
                    <a:pt x="2160" y="354"/>
                  </a:lnTo>
                  <a:lnTo>
                    <a:pt x="2148" y="324"/>
                  </a:lnTo>
                  <a:lnTo>
                    <a:pt x="2070" y="360"/>
                  </a:lnTo>
                  <a:lnTo>
                    <a:pt x="2076" y="366"/>
                  </a:lnTo>
                  <a:lnTo>
                    <a:pt x="2076" y="372"/>
                  </a:lnTo>
                  <a:lnTo>
                    <a:pt x="2070" y="378"/>
                  </a:lnTo>
                  <a:lnTo>
                    <a:pt x="2046" y="378"/>
                  </a:lnTo>
                  <a:lnTo>
                    <a:pt x="2022" y="366"/>
                  </a:lnTo>
                  <a:lnTo>
                    <a:pt x="2004" y="366"/>
                  </a:lnTo>
                  <a:lnTo>
                    <a:pt x="1968" y="384"/>
                  </a:lnTo>
                  <a:lnTo>
                    <a:pt x="1950" y="384"/>
                  </a:lnTo>
                  <a:lnTo>
                    <a:pt x="1938" y="378"/>
                  </a:lnTo>
                  <a:lnTo>
                    <a:pt x="1926" y="378"/>
                  </a:lnTo>
                  <a:lnTo>
                    <a:pt x="1902" y="366"/>
                  </a:lnTo>
                  <a:lnTo>
                    <a:pt x="1860" y="366"/>
                  </a:lnTo>
                  <a:lnTo>
                    <a:pt x="1872" y="348"/>
                  </a:lnTo>
                  <a:lnTo>
                    <a:pt x="1860" y="348"/>
                  </a:lnTo>
                  <a:lnTo>
                    <a:pt x="1848" y="342"/>
                  </a:lnTo>
                  <a:lnTo>
                    <a:pt x="1824" y="342"/>
                  </a:lnTo>
                  <a:lnTo>
                    <a:pt x="1824" y="366"/>
                  </a:lnTo>
                  <a:lnTo>
                    <a:pt x="1812" y="378"/>
                  </a:lnTo>
                  <a:lnTo>
                    <a:pt x="1788" y="390"/>
                  </a:lnTo>
                  <a:lnTo>
                    <a:pt x="1764" y="390"/>
                  </a:lnTo>
                  <a:lnTo>
                    <a:pt x="1758" y="396"/>
                  </a:lnTo>
                  <a:lnTo>
                    <a:pt x="1758" y="426"/>
                  </a:lnTo>
                  <a:lnTo>
                    <a:pt x="1740" y="432"/>
                  </a:lnTo>
                  <a:lnTo>
                    <a:pt x="1752" y="498"/>
                  </a:lnTo>
                  <a:lnTo>
                    <a:pt x="1740" y="498"/>
                  </a:lnTo>
                  <a:lnTo>
                    <a:pt x="1734" y="510"/>
                  </a:lnTo>
                  <a:lnTo>
                    <a:pt x="1728" y="516"/>
                  </a:lnTo>
                  <a:lnTo>
                    <a:pt x="1710" y="552"/>
                  </a:lnTo>
                  <a:close/>
                  <a:moveTo>
                    <a:pt x="1986" y="576"/>
                  </a:moveTo>
                  <a:lnTo>
                    <a:pt x="1986" y="594"/>
                  </a:lnTo>
                  <a:lnTo>
                    <a:pt x="1992" y="600"/>
                  </a:lnTo>
                  <a:lnTo>
                    <a:pt x="2004" y="600"/>
                  </a:lnTo>
                  <a:lnTo>
                    <a:pt x="2016" y="588"/>
                  </a:lnTo>
                  <a:lnTo>
                    <a:pt x="2016" y="576"/>
                  </a:lnTo>
                  <a:lnTo>
                    <a:pt x="1986" y="576"/>
                  </a:lnTo>
                  <a:close/>
                  <a:moveTo>
                    <a:pt x="1686" y="1110"/>
                  </a:moveTo>
                  <a:lnTo>
                    <a:pt x="1674" y="1110"/>
                  </a:lnTo>
                  <a:lnTo>
                    <a:pt x="1668" y="1116"/>
                  </a:lnTo>
                  <a:lnTo>
                    <a:pt x="1662" y="1116"/>
                  </a:lnTo>
                  <a:lnTo>
                    <a:pt x="1614" y="1104"/>
                  </a:lnTo>
                  <a:lnTo>
                    <a:pt x="1644" y="1146"/>
                  </a:lnTo>
                  <a:lnTo>
                    <a:pt x="1650" y="1152"/>
                  </a:lnTo>
                  <a:lnTo>
                    <a:pt x="1662" y="1158"/>
                  </a:lnTo>
                  <a:lnTo>
                    <a:pt x="1668" y="1164"/>
                  </a:lnTo>
                  <a:lnTo>
                    <a:pt x="1680" y="1170"/>
                  </a:lnTo>
                  <a:lnTo>
                    <a:pt x="1692" y="1158"/>
                  </a:lnTo>
                  <a:lnTo>
                    <a:pt x="1698" y="1140"/>
                  </a:lnTo>
                  <a:lnTo>
                    <a:pt x="1698" y="1128"/>
                  </a:lnTo>
                  <a:lnTo>
                    <a:pt x="1692" y="1116"/>
                  </a:lnTo>
                  <a:lnTo>
                    <a:pt x="1686" y="1110"/>
                  </a:lnTo>
                  <a:close/>
                  <a:moveTo>
                    <a:pt x="2094" y="1104"/>
                  </a:moveTo>
                  <a:lnTo>
                    <a:pt x="2064" y="1128"/>
                  </a:lnTo>
                  <a:lnTo>
                    <a:pt x="2094" y="1134"/>
                  </a:lnTo>
                  <a:lnTo>
                    <a:pt x="2094" y="1104"/>
                  </a:lnTo>
                  <a:close/>
                  <a:moveTo>
                    <a:pt x="486" y="294"/>
                  </a:moveTo>
                  <a:lnTo>
                    <a:pt x="474" y="288"/>
                  </a:lnTo>
                  <a:lnTo>
                    <a:pt x="468" y="288"/>
                  </a:lnTo>
                  <a:lnTo>
                    <a:pt x="456" y="294"/>
                  </a:lnTo>
                  <a:lnTo>
                    <a:pt x="456" y="312"/>
                  </a:lnTo>
                  <a:lnTo>
                    <a:pt x="468" y="324"/>
                  </a:lnTo>
                  <a:lnTo>
                    <a:pt x="474" y="318"/>
                  </a:lnTo>
                  <a:lnTo>
                    <a:pt x="486" y="318"/>
                  </a:lnTo>
                  <a:lnTo>
                    <a:pt x="486" y="312"/>
                  </a:lnTo>
                  <a:lnTo>
                    <a:pt x="492" y="300"/>
                  </a:lnTo>
                  <a:lnTo>
                    <a:pt x="486" y="294"/>
                  </a:lnTo>
                  <a:close/>
                  <a:moveTo>
                    <a:pt x="2346" y="588"/>
                  </a:moveTo>
                  <a:lnTo>
                    <a:pt x="2340" y="576"/>
                  </a:lnTo>
                  <a:lnTo>
                    <a:pt x="2328" y="570"/>
                  </a:lnTo>
                  <a:lnTo>
                    <a:pt x="2310" y="552"/>
                  </a:lnTo>
                  <a:lnTo>
                    <a:pt x="2304" y="552"/>
                  </a:lnTo>
                  <a:lnTo>
                    <a:pt x="2304" y="600"/>
                  </a:lnTo>
                  <a:lnTo>
                    <a:pt x="2316" y="600"/>
                  </a:lnTo>
                  <a:lnTo>
                    <a:pt x="2328" y="606"/>
                  </a:lnTo>
                  <a:lnTo>
                    <a:pt x="2334" y="606"/>
                  </a:lnTo>
                  <a:lnTo>
                    <a:pt x="2346" y="600"/>
                  </a:lnTo>
                  <a:lnTo>
                    <a:pt x="2346" y="588"/>
                  </a:lnTo>
                  <a:close/>
                  <a:moveTo>
                    <a:pt x="2310" y="474"/>
                  </a:moveTo>
                  <a:lnTo>
                    <a:pt x="2340" y="504"/>
                  </a:lnTo>
                  <a:lnTo>
                    <a:pt x="2358" y="516"/>
                  </a:lnTo>
                  <a:lnTo>
                    <a:pt x="2382" y="528"/>
                  </a:lnTo>
                  <a:lnTo>
                    <a:pt x="2400" y="528"/>
                  </a:lnTo>
                  <a:lnTo>
                    <a:pt x="2400" y="522"/>
                  </a:lnTo>
                  <a:lnTo>
                    <a:pt x="2358" y="480"/>
                  </a:lnTo>
                  <a:lnTo>
                    <a:pt x="2358" y="468"/>
                  </a:lnTo>
                  <a:lnTo>
                    <a:pt x="2364" y="456"/>
                  </a:lnTo>
                  <a:lnTo>
                    <a:pt x="2376" y="450"/>
                  </a:lnTo>
                  <a:lnTo>
                    <a:pt x="2394" y="450"/>
                  </a:lnTo>
                  <a:lnTo>
                    <a:pt x="2406" y="456"/>
                  </a:lnTo>
                  <a:lnTo>
                    <a:pt x="2424" y="444"/>
                  </a:lnTo>
                  <a:lnTo>
                    <a:pt x="2400" y="432"/>
                  </a:lnTo>
                  <a:lnTo>
                    <a:pt x="2412" y="426"/>
                  </a:lnTo>
                  <a:lnTo>
                    <a:pt x="2424" y="402"/>
                  </a:lnTo>
                  <a:lnTo>
                    <a:pt x="2412" y="378"/>
                  </a:lnTo>
                  <a:lnTo>
                    <a:pt x="2400" y="372"/>
                  </a:lnTo>
                  <a:lnTo>
                    <a:pt x="2382" y="372"/>
                  </a:lnTo>
                  <a:lnTo>
                    <a:pt x="2358" y="396"/>
                  </a:lnTo>
                  <a:lnTo>
                    <a:pt x="2346" y="402"/>
                  </a:lnTo>
                  <a:lnTo>
                    <a:pt x="2340" y="408"/>
                  </a:lnTo>
                  <a:lnTo>
                    <a:pt x="2334" y="408"/>
                  </a:lnTo>
                  <a:lnTo>
                    <a:pt x="2328" y="402"/>
                  </a:lnTo>
                  <a:lnTo>
                    <a:pt x="2328" y="366"/>
                  </a:lnTo>
                  <a:lnTo>
                    <a:pt x="2334" y="360"/>
                  </a:lnTo>
                  <a:lnTo>
                    <a:pt x="2346" y="336"/>
                  </a:lnTo>
                  <a:lnTo>
                    <a:pt x="2346" y="318"/>
                  </a:lnTo>
                  <a:lnTo>
                    <a:pt x="2340" y="312"/>
                  </a:lnTo>
                  <a:lnTo>
                    <a:pt x="2358" y="276"/>
                  </a:lnTo>
                  <a:lnTo>
                    <a:pt x="2316" y="312"/>
                  </a:lnTo>
                  <a:lnTo>
                    <a:pt x="2316" y="342"/>
                  </a:lnTo>
                  <a:lnTo>
                    <a:pt x="2304" y="348"/>
                  </a:lnTo>
                  <a:lnTo>
                    <a:pt x="2298" y="354"/>
                  </a:lnTo>
                  <a:lnTo>
                    <a:pt x="2286" y="378"/>
                  </a:lnTo>
                  <a:lnTo>
                    <a:pt x="2286" y="408"/>
                  </a:lnTo>
                  <a:lnTo>
                    <a:pt x="2298" y="420"/>
                  </a:lnTo>
                  <a:lnTo>
                    <a:pt x="2304" y="432"/>
                  </a:lnTo>
                  <a:lnTo>
                    <a:pt x="2310" y="438"/>
                  </a:lnTo>
                  <a:lnTo>
                    <a:pt x="2310" y="444"/>
                  </a:lnTo>
                  <a:lnTo>
                    <a:pt x="2304" y="450"/>
                  </a:lnTo>
                  <a:lnTo>
                    <a:pt x="2304" y="468"/>
                  </a:lnTo>
                  <a:lnTo>
                    <a:pt x="2310" y="474"/>
                  </a:lnTo>
                  <a:close/>
                  <a:moveTo>
                    <a:pt x="2250" y="708"/>
                  </a:moveTo>
                  <a:lnTo>
                    <a:pt x="2238" y="696"/>
                  </a:lnTo>
                  <a:lnTo>
                    <a:pt x="2214" y="708"/>
                  </a:lnTo>
                  <a:lnTo>
                    <a:pt x="2214" y="732"/>
                  </a:lnTo>
                  <a:lnTo>
                    <a:pt x="2220" y="744"/>
                  </a:lnTo>
                  <a:lnTo>
                    <a:pt x="2226" y="750"/>
                  </a:lnTo>
                  <a:lnTo>
                    <a:pt x="2250" y="762"/>
                  </a:lnTo>
                  <a:lnTo>
                    <a:pt x="2274" y="762"/>
                  </a:lnTo>
                  <a:lnTo>
                    <a:pt x="2280" y="750"/>
                  </a:lnTo>
                  <a:lnTo>
                    <a:pt x="2280" y="738"/>
                  </a:lnTo>
                  <a:lnTo>
                    <a:pt x="2274" y="726"/>
                  </a:lnTo>
                  <a:lnTo>
                    <a:pt x="2274" y="714"/>
                  </a:lnTo>
                  <a:lnTo>
                    <a:pt x="2268" y="708"/>
                  </a:lnTo>
                  <a:lnTo>
                    <a:pt x="2268" y="702"/>
                  </a:lnTo>
                  <a:lnTo>
                    <a:pt x="2250" y="708"/>
                  </a:lnTo>
                  <a:close/>
                  <a:moveTo>
                    <a:pt x="2148" y="1104"/>
                  </a:moveTo>
                  <a:lnTo>
                    <a:pt x="2226" y="1092"/>
                  </a:lnTo>
                  <a:lnTo>
                    <a:pt x="2166" y="1074"/>
                  </a:lnTo>
                  <a:lnTo>
                    <a:pt x="2148" y="1104"/>
                  </a:lnTo>
                  <a:close/>
                  <a:moveTo>
                    <a:pt x="2544" y="750"/>
                  </a:moveTo>
                  <a:lnTo>
                    <a:pt x="2520" y="732"/>
                  </a:lnTo>
                  <a:lnTo>
                    <a:pt x="2526" y="714"/>
                  </a:lnTo>
                  <a:lnTo>
                    <a:pt x="2514" y="702"/>
                  </a:lnTo>
                  <a:lnTo>
                    <a:pt x="2508" y="690"/>
                  </a:lnTo>
                  <a:lnTo>
                    <a:pt x="2490" y="684"/>
                  </a:lnTo>
                  <a:lnTo>
                    <a:pt x="2472" y="672"/>
                  </a:lnTo>
                  <a:lnTo>
                    <a:pt x="2442" y="666"/>
                  </a:lnTo>
                  <a:lnTo>
                    <a:pt x="2424" y="666"/>
                  </a:lnTo>
                  <a:lnTo>
                    <a:pt x="2388" y="684"/>
                  </a:lnTo>
                  <a:lnTo>
                    <a:pt x="2358" y="684"/>
                  </a:lnTo>
                  <a:lnTo>
                    <a:pt x="2346" y="696"/>
                  </a:lnTo>
                  <a:lnTo>
                    <a:pt x="2340" y="708"/>
                  </a:lnTo>
                  <a:lnTo>
                    <a:pt x="2340" y="726"/>
                  </a:lnTo>
                  <a:lnTo>
                    <a:pt x="2346" y="732"/>
                  </a:lnTo>
                  <a:lnTo>
                    <a:pt x="2364" y="714"/>
                  </a:lnTo>
                  <a:lnTo>
                    <a:pt x="2364" y="726"/>
                  </a:lnTo>
                  <a:lnTo>
                    <a:pt x="2370" y="738"/>
                  </a:lnTo>
                  <a:lnTo>
                    <a:pt x="2376" y="744"/>
                  </a:lnTo>
                  <a:lnTo>
                    <a:pt x="2388" y="738"/>
                  </a:lnTo>
                  <a:lnTo>
                    <a:pt x="2394" y="732"/>
                  </a:lnTo>
                  <a:lnTo>
                    <a:pt x="2394" y="726"/>
                  </a:lnTo>
                  <a:lnTo>
                    <a:pt x="2400" y="720"/>
                  </a:lnTo>
                  <a:lnTo>
                    <a:pt x="2400" y="714"/>
                  </a:lnTo>
                  <a:lnTo>
                    <a:pt x="2406" y="726"/>
                  </a:lnTo>
                  <a:lnTo>
                    <a:pt x="2418" y="732"/>
                  </a:lnTo>
                  <a:lnTo>
                    <a:pt x="2430" y="732"/>
                  </a:lnTo>
                  <a:lnTo>
                    <a:pt x="2442" y="720"/>
                  </a:lnTo>
                  <a:lnTo>
                    <a:pt x="2454" y="714"/>
                  </a:lnTo>
                  <a:lnTo>
                    <a:pt x="2460" y="708"/>
                  </a:lnTo>
                  <a:lnTo>
                    <a:pt x="2472" y="762"/>
                  </a:lnTo>
                  <a:lnTo>
                    <a:pt x="2502" y="738"/>
                  </a:lnTo>
                  <a:lnTo>
                    <a:pt x="2538" y="774"/>
                  </a:lnTo>
                  <a:lnTo>
                    <a:pt x="2544" y="750"/>
                  </a:lnTo>
                  <a:close/>
                  <a:moveTo>
                    <a:pt x="3264" y="678"/>
                  </a:moveTo>
                  <a:lnTo>
                    <a:pt x="3222" y="648"/>
                  </a:lnTo>
                  <a:lnTo>
                    <a:pt x="3210" y="648"/>
                  </a:lnTo>
                  <a:lnTo>
                    <a:pt x="3198" y="654"/>
                  </a:lnTo>
                  <a:lnTo>
                    <a:pt x="3180" y="654"/>
                  </a:lnTo>
                  <a:lnTo>
                    <a:pt x="3162" y="648"/>
                  </a:lnTo>
                  <a:lnTo>
                    <a:pt x="3126" y="630"/>
                  </a:lnTo>
                  <a:lnTo>
                    <a:pt x="3096" y="612"/>
                  </a:lnTo>
                  <a:lnTo>
                    <a:pt x="3060" y="594"/>
                  </a:lnTo>
                  <a:lnTo>
                    <a:pt x="3042" y="582"/>
                  </a:lnTo>
                  <a:lnTo>
                    <a:pt x="3030" y="582"/>
                  </a:lnTo>
                  <a:lnTo>
                    <a:pt x="3006" y="594"/>
                  </a:lnTo>
                  <a:lnTo>
                    <a:pt x="3000" y="600"/>
                  </a:lnTo>
                  <a:lnTo>
                    <a:pt x="2988" y="606"/>
                  </a:lnTo>
                  <a:lnTo>
                    <a:pt x="3006" y="630"/>
                  </a:lnTo>
                  <a:lnTo>
                    <a:pt x="2928" y="642"/>
                  </a:lnTo>
                  <a:lnTo>
                    <a:pt x="2934" y="666"/>
                  </a:lnTo>
                  <a:lnTo>
                    <a:pt x="2928" y="678"/>
                  </a:lnTo>
                  <a:lnTo>
                    <a:pt x="2922" y="684"/>
                  </a:lnTo>
                  <a:lnTo>
                    <a:pt x="2916" y="696"/>
                  </a:lnTo>
                  <a:lnTo>
                    <a:pt x="2880" y="720"/>
                  </a:lnTo>
                  <a:lnTo>
                    <a:pt x="2862" y="726"/>
                  </a:lnTo>
                  <a:lnTo>
                    <a:pt x="2844" y="726"/>
                  </a:lnTo>
                  <a:lnTo>
                    <a:pt x="2832" y="720"/>
                  </a:lnTo>
                  <a:lnTo>
                    <a:pt x="2826" y="714"/>
                  </a:lnTo>
                  <a:lnTo>
                    <a:pt x="2820" y="702"/>
                  </a:lnTo>
                  <a:lnTo>
                    <a:pt x="2820" y="678"/>
                  </a:lnTo>
                  <a:lnTo>
                    <a:pt x="2814" y="672"/>
                  </a:lnTo>
                  <a:lnTo>
                    <a:pt x="2814" y="660"/>
                  </a:lnTo>
                  <a:lnTo>
                    <a:pt x="2808" y="666"/>
                  </a:lnTo>
                  <a:lnTo>
                    <a:pt x="2808" y="672"/>
                  </a:lnTo>
                  <a:lnTo>
                    <a:pt x="2802" y="684"/>
                  </a:lnTo>
                  <a:lnTo>
                    <a:pt x="2796" y="690"/>
                  </a:lnTo>
                  <a:lnTo>
                    <a:pt x="2796" y="696"/>
                  </a:lnTo>
                  <a:lnTo>
                    <a:pt x="2796" y="690"/>
                  </a:lnTo>
                  <a:lnTo>
                    <a:pt x="2790" y="684"/>
                  </a:lnTo>
                  <a:lnTo>
                    <a:pt x="2790" y="672"/>
                  </a:lnTo>
                  <a:lnTo>
                    <a:pt x="2784" y="660"/>
                  </a:lnTo>
                  <a:lnTo>
                    <a:pt x="2784" y="576"/>
                  </a:lnTo>
                  <a:lnTo>
                    <a:pt x="2778" y="558"/>
                  </a:lnTo>
                  <a:lnTo>
                    <a:pt x="2760" y="522"/>
                  </a:lnTo>
                  <a:lnTo>
                    <a:pt x="2724" y="522"/>
                  </a:lnTo>
                  <a:lnTo>
                    <a:pt x="2718" y="510"/>
                  </a:lnTo>
                  <a:lnTo>
                    <a:pt x="2694" y="498"/>
                  </a:lnTo>
                  <a:lnTo>
                    <a:pt x="2676" y="486"/>
                  </a:lnTo>
                  <a:lnTo>
                    <a:pt x="2652" y="486"/>
                  </a:lnTo>
                  <a:lnTo>
                    <a:pt x="2634" y="498"/>
                  </a:lnTo>
                  <a:lnTo>
                    <a:pt x="2628" y="504"/>
                  </a:lnTo>
                  <a:lnTo>
                    <a:pt x="2616" y="510"/>
                  </a:lnTo>
                  <a:lnTo>
                    <a:pt x="2610" y="522"/>
                  </a:lnTo>
                  <a:lnTo>
                    <a:pt x="2586" y="528"/>
                  </a:lnTo>
                  <a:lnTo>
                    <a:pt x="2580" y="546"/>
                  </a:lnTo>
                  <a:lnTo>
                    <a:pt x="2562" y="558"/>
                  </a:lnTo>
                  <a:lnTo>
                    <a:pt x="2562" y="540"/>
                  </a:lnTo>
                  <a:lnTo>
                    <a:pt x="2556" y="534"/>
                  </a:lnTo>
                  <a:lnTo>
                    <a:pt x="2532" y="534"/>
                  </a:lnTo>
                  <a:lnTo>
                    <a:pt x="2532" y="546"/>
                  </a:lnTo>
                  <a:lnTo>
                    <a:pt x="2544" y="570"/>
                  </a:lnTo>
                  <a:lnTo>
                    <a:pt x="2568" y="582"/>
                  </a:lnTo>
                  <a:lnTo>
                    <a:pt x="2604" y="582"/>
                  </a:lnTo>
                  <a:lnTo>
                    <a:pt x="2616" y="588"/>
                  </a:lnTo>
                  <a:lnTo>
                    <a:pt x="2622" y="594"/>
                  </a:lnTo>
                  <a:lnTo>
                    <a:pt x="2628" y="594"/>
                  </a:lnTo>
                  <a:lnTo>
                    <a:pt x="2628" y="618"/>
                  </a:lnTo>
                  <a:lnTo>
                    <a:pt x="2634" y="630"/>
                  </a:lnTo>
                  <a:lnTo>
                    <a:pt x="2640" y="636"/>
                  </a:lnTo>
                  <a:lnTo>
                    <a:pt x="2652" y="642"/>
                  </a:lnTo>
                  <a:lnTo>
                    <a:pt x="2694" y="642"/>
                  </a:lnTo>
                  <a:lnTo>
                    <a:pt x="2712" y="636"/>
                  </a:lnTo>
                  <a:lnTo>
                    <a:pt x="2754" y="636"/>
                  </a:lnTo>
                  <a:lnTo>
                    <a:pt x="2760" y="642"/>
                  </a:lnTo>
                  <a:lnTo>
                    <a:pt x="2760" y="660"/>
                  </a:lnTo>
                  <a:lnTo>
                    <a:pt x="2700" y="660"/>
                  </a:lnTo>
                  <a:lnTo>
                    <a:pt x="2688" y="666"/>
                  </a:lnTo>
                  <a:lnTo>
                    <a:pt x="2676" y="678"/>
                  </a:lnTo>
                  <a:lnTo>
                    <a:pt x="2640" y="678"/>
                  </a:lnTo>
                  <a:lnTo>
                    <a:pt x="2616" y="690"/>
                  </a:lnTo>
                  <a:lnTo>
                    <a:pt x="2616" y="696"/>
                  </a:lnTo>
                  <a:lnTo>
                    <a:pt x="2622" y="696"/>
                  </a:lnTo>
                  <a:lnTo>
                    <a:pt x="2646" y="708"/>
                  </a:lnTo>
                  <a:lnTo>
                    <a:pt x="2658" y="708"/>
                  </a:lnTo>
                  <a:lnTo>
                    <a:pt x="2676" y="726"/>
                  </a:lnTo>
                  <a:lnTo>
                    <a:pt x="2682" y="738"/>
                  </a:lnTo>
                  <a:lnTo>
                    <a:pt x="2688" y="744"/>
                  </a:lnTo>
                  <a:lnTo>
                    <a:pt x="2682" y="750"/>
                  </a:lnTo>
                  <a:lnTo>
                    <a:pt x="2676" y="762"/>
                  </a:lnTo>
                  <a:lnTo>
                    <a:pt x="2676" y="774"/>
                  </a:lnTo>
                  <a:lnTo>
                    <a:pt x="2670" y="780"/>
                  </a:lnTo>
                  <a:lnTo>
                    <a:pt x="2676" y="792"/>
                  </a:lnTo>
                  <a:lnTo>
                    <a:pt x="2682" y="798"/>
                  </a:lnTo>
                  <a:lnTo>
                    <a:pt x="2694" y="792"/>
                  </a:lnTo>
                  <a:lnTo>
                    <a:pt x="2706" y="780"/>
                  </a:lnTo>
                  <a:lnTo>
                    <a:pt x="2712" y="768"/>
                  </a:lnTo>
                  <a:lnTo>
                    <a:pt x="2718" y="762"/>
                  </a:lnTo>
                  <a:lnTo>
                    <a:pt x="2718" y="750"/>
                  </a:lnTo>
                  <a:lnTo>
                    <a:pt x="2724" y="744"/>
                  </a:lnTo>
                  <a:lnTo>
                    <a:pt x="2736" y="720"/>
                  </a:lnTo>
                  <a:lnTo>
                    <a:pt x="2742" y="714"/>
                  </a:lnTo>
                  <a:lnTo>
                    <a:pt x="2748" y="702"/>
                  </a:lnTo>
                  <a:lnTo>
                    <a:pt x="2748" y="744"/>
                  </a:lnTo>
                  <a:lnTo>
                    <a:pt x="2754" y="750"/>
                  </a:lnTo>
                  <a:lnTo>
                    <a:pt x="2766" y="756"/>
                  </a:lnTo>
                  <a:lnTo>
                    <a:pt x="2772" y="768"/>
                  </a:lnTo>
                  <a:lnTo>
                    <a:pt x="2784" y="774"/>
                  </a:lnTo>
                  <a:lnTo>
                    <a:pt x="2790" y="780"/>
                  </a:lnTo>
                  <a:lnTo>
                    <a:pt x="2814" y="780"/>
                  </a:lnTo>
                  <a:lnTo>
                    <a:pt x="2820" y="774"/>
                  </a:lnTo>
                  <a:lnTo>
                    <a:pt x="2826" y="774"/>
                  </a:lnTo>
                  <a:lnTo>
                    <a:pt x="2814" y="792"/>
                  </a:lnTo>
                  <a:lnTo>
                    <a:pt x="2844" y="822"/>
                  </a:lnTo>
                  <a:lnTo>
                    <a:pt x="2904" y="822"/>
                  </a:lnTo>
                  <a:lnTo>
                    <a:pt x="2940" y="846"/>
                  </a:lnTo>
                  <a:lnTo>
                    <a:pt x="2976" y="864"/>
                  </a:lnTo>
                  <a:lnTo>
                    <a:pt x="3006" y="876"/>
                  </a:lnTo>
                  <a:lnTo>
                    <a:pt x="3036" y="894"/>
                  </a:lnTo>
                  <a:lnTo>
                    <a:pt x="3066" y="924"/>
                  </a:lnTo>
                  <a:lnTo>
                    <a:pt x="3066" y="972"/>
                  </a:lnTo>
                  <a:lnTo>
                    <a:pt x="3090" y="996"/>
                  </a:lnTo>
                  <a:lnTo>
                    <a:pt x="3102" y="1002"/>
                  </a:lnTo>
                  <a:lnTo>
                    <a:pt x="3096" y="1002"/>
                  </a:lnTo>
                  <a:lnTo>
                    <a:pt x="3084" y="1008"/>
                  </a:lnTo>
                  <a:lnTo>
                    <a:pt x="3078" y="1014"/>
                  </a:lnTo>
                  <a:lnTo>
                    <a:pt x="3078" y="1020"/>
                  </a:lnTo>
                  <a:lnTo>
                    <a:pt x="3090" y="1032"/>
                  </a:lnTo>
                  <a:lnTo>
                    <a:pt x="3114" y="1032"/>
                  </a:lnTo>
                  <a:lnTo>
                    <a:pt x="3090" y="1044"/>
                  </a:lnTo>
                  <a:lnTo>
                    <a:pt x="3090" y="1056"/>
                  </a:lnTo>
                  <a:lnTo>
                    <a:pt x="3102" y="1062"/>
                  </a:lnTo>
                  <a:lnTo>
                    <a:pt x="3108" y="1092"/>
                  </a:lnTo>
                  <a:lnTo>
                    <a:pt x="3096" y="1122"/>
                  </a:lnTo>
                  <a:lnTo>
                    <a:pt x="3120" y="1122"/>
                  </a:lnTo>
                  <a:lnTo>
                    <a:pt x="3126" y="1116"/>
                  </a:lnTo>
                  <a:lnTo>
                    <a:pt x="3138" y="1116"/>
                  </a:lnTo>
                  <a:lnTo>
                    <a:pt x="3150" y="1110"/>
                  </a:lnTo>
                  <a:lnTo>
                    <a:pt x="3162" y="1110"/>
                  </a:lnTo>
                  <a:lnTo>
                    <a:pt x="3168" y="1104"/>
                  </a:lnTo>
                  <a:lnTo>
                    <a:pt x="3174" y="1104"/>
                  </a:lnTo>
                  <a:lnTo>
                    <a:pt x="3174" y="1134"/>
                  </a:lnTo>
                  <a:lnTo>
                    <a:pt x="3234" y="1194"/>
                  </a:lnTo>
                  <a:lnTo>
                    <a:pt x="3240" y="1194"/>
                  </a:lnTo>
                  <a:lnTo>
                    <a:pt x="3240" y="1146"/>
                  </a:lnTo>
                  <a:lnTo>
                    <a:pt x="3234" y="1122"/>
                  </a:lnTo>
                  <a:lnTo>
                    <a:pt x="3234" y="1116"/>
                  </a:lnTo>
                  <a:lnTo>
                    <a:pt x="3240" y="1110"/>
                  </a:lnTo>
                  <a:lnTo>
                    <a:pt x="3240" y="1098"/>
                  </a:lnTo>
                  <a:lnTo>
                    <a:pt x="3246" y="1086"/>
                  </a:lnTo>
                  <a:lnTo>
                    <a:pt x="3246" y="1062"/>
                  </a:lnTo>
                  <a:lnTo>
                    <a:pt x="3252" y="1050"/>
                  </a:lnTo>
                  <a:lnTo>
                    <a:pt x="3252" y="1020"/>
                  </a:lnTo>
                  <a:lnTo>
                    <a:pt x="3240" y="1020"/>
                  </a:lnTo>
                  <a:lnTo>
                    <a:pt x="3228" y="1014"/>
                  </a:lnTo>
                  <a:lnTo>
                    <a:pt x="3222" y="1008"/>
                  </a:lnTo>
                  <a:lnTo>
                    <a:pt x="3222" y="1002"/>
                  </a:lnTo>
                  <a:lnTo>
                    <a:pt x="3234" y="990"/>
                  </a:lnTo>
                  <a:lnTo>
                    <a:pt x="3246" y="984"/>
                  </a:lnTo>
                  <a:lnTo>
                    <a:pt x="3252" y="978"/>
                  </a:lnTo>
                  <a:lnTo>
                    <a:pt x="3252" y="864"/>
                  </a:lnTo>
                  <a:lnTo>
                    <a:pt x="3258" y="846"/>
                  </a:lnTo>
                  <a:lnTo>
                    <a:pt x="3258" y="708"/>
                  </a:lnTo>
                  <a:lnTo>
                    <a:pt x="3264" y="678"/>
                  </a:lnTo>
                  <a:close/>
                  <a:moveTo>
                    <a:pt x="336" y="666"/>
                  </a:moveTo>
                  <a:lnTo>
                    <a:pt x="330" y="672"/>
                  </a:lnTo>
                  <a:lnTo>
                    <a:pt x="354" y="696"/>
                  </a:lnTo>
                  <a:lnTo>
                    <a:pt x="360" y="708"/>
                  </a:lnTo>
                  <a:lnTo>
                    <a:pt x="366" y="714"/>
                  </a:lnTo>
                  <a:lnTo>
                    <a:pt x="378" y="714"/>
                  </a:lnTo>
                  <a:lnTo>
                    <a:pt x="378" y="696"/>
                  </a:lnTo>
                  <a:lnTo>
                    <a:pt x="366" y="690"/>
                  </a:lnTo>
                  <a:lnTo>
                    <a:pt x="360" y="678"/>
                  </a:lnTo>
                  <a:lnTo>
                    <a:pt x="348" y="672"/>
                  </a:lnTo>
                  <a:lnTo>
                    <a:pt x="342" y="666"/>
                  </a:lnTo>
                  <a:lnTo>
                    <a:pt x="336" y="666"/>
                  </a:lnTo>
                  <a:close/>
                  <a:moveTo>
                    <a:pt x="2526" y="1104"/>
                  </a:moveTo>
                  <a:lnTo>
                    <a:pt x="2544" y="1116"/>
                  </a:lnTo>
                  <a:lnTo>
                    <a:pt x="2574" y="1092"/>
                  </a:lnTo>
                  <a:lnTo>
                    <a:pt x="2592" y="1092"/>
                  </a:lnTo>
                  <a:lnTo>
                    <a:pt x="2604" y="1080"/>
                  </a:lnTo>
                  <a:lnTo>
                    <a:pt x="2604" y="1062"/>
                  </a:lnTo>
                  <a:lnTo>
                    <a:pt x="2592" y="1056"/>
                  </a:lnTo>
                  <a:lnTo>
                    <a:pt x="2586" y="1056"/>
                  </a:lnTo>
                  <a:lnTo>
                    <a:pt x="2574" y="1062"/>
                  </a:lnTo>
                  <a:lnTo>
                    <a:pt x="2556" y="1068"/>
                  </a:lnTo>
                  <a:lnTo>
                    <a:pt x="2526" y="1098"/>
                  </a:lnTo>
                  <a:lnTo>
                    <a:pt x="2526" y="1104"/>
                  </a:lnTo>
                  <a:close/>
                  <a:moveTo>
                    <a:pt x="3096" y="1068"/>
                  </a:moveTo>
                  <a:lnTo>
                    <a:pt x="3090" y="1068"/>
                  </a:lnTo>
                  <a:lnTo>
                    <a:pt x="3090" y="1062"/>
                  </a:lnTo>
                  <a:lnTo>
                    <a:pt x="3084" y="1062"/>
                  </a:lnTo>
                  <a:lnTo>
                    <a:pt x="3078" y="1056"/>
                  </a:lnTo>
                  <a:lnTo>
                    <a:pt x="3066" y="1056"/>
                  </a:lnTo>
                  <a:lnTo>
                    <a:pt x="3048" y="1062"/>
                  </a:lnTo>
                  <a:lnTo>
                    <a:pt x="3024" y="1086"/>
                  </a:lnTo>
                  <a:lnTo>
                    <a:pt x="3012" y="1122"/>
                  </a:lnTo>
                  <a:lnTo>
                    <a:pt x="3012" y="1134"/>
                  </a:lnTo>
                  <a:lnTo>
                    <a:pt x="3072" y="1128"/>
                  </a:lnTo>
                  <a:lnTo>
                    <a:pt x="3084" y="1128"/>
                  </a:lnTo>
                  <a:lnTo>
                    <a:pt x="3090" y="1122"/>
                  </a:lnTo>
                  <a:lnTo>
                    <a:pt x="3102" y="1092"/>
                  </a:lnTo>
                  <a:lnTo>
                    <a:pt x="3096" y="1068"/>
                  </a:lnTo>
                  <a:close/>
                  <a:moveTo>
                    <a:pt x="2778" y="942"/>
                  </a:moveTo>
                  <a:lnTo>
                    <a:pt x="2766" y="960"/>
                  </a:lnTo>
                  <a:lnTo>
                    <a:pt x="2766" y="1014"/>
                  </a:lnTo>
                  <a:lnTo>
                    <a:pt x="2784" y="1014"/>
                  </a:lnTo>
                  <a:lnTo>
                    <a:pt x="2778" y="996"/>
                  </a:lnTo>
                  <a:lnTo>
                    <a:pt x="2790" y="990"/>
                  </a:lnTo>
                  <a:lnTo>
                    <a:pt x="2790" y="972"/>
                  </a:lnTo>
                  <a:lnTo>
                    <a:pt x="2778" y="972"/>
                  </a:lnTo>
                  <a:lnTo>
                    <a:pt x="2796" y="936"/>
                  </a:lnTo>
                  <a:lnTo>
                    <a:pt x="2814" y="906"/>
                  </a:lnTo>
                  <a:lnTo>
                    <a:pt x="2784" y="912"/>
                  </a:lnTo>
                  <a:lnTo>
                    <a:pt x="2778" y="942"/>
                  </a:lnTo>
                  <a:close/>
                  <a:moveTo>
                    <a:pt x="2136" y="600"/>
                  </a:moveTo>
                  <a:lnTo>
                    <a:pt x="2124" y="594"/>
                  </a:lnTo>
                  <a:lnTo>
                    <a:pt x="2118" y="594"/>
                  </a:lnTo>
                  <a:lnTo>
                    <a:pt x="2106" y="588"/>
                  </a:lnTo>
                  <a:lnTo>
                    <a:pt x="2088" y="588"/>
                  </a:lnTo>
                  <a:lnTo>
                    <a:pt x="2082" y="594"/>
                  </a:lnTo>
                  <a:lnTo>
                    <a:pt x="2082" y="600"/>
                  </a:lnTo>
                  <a:lnTo>
                    <a:pt x="2076" y="606"/>
                  </a:lnTo>
                  <a:lnTo>
                    <a:pt x="2082" y="612"/>
                  </a:lnTo>
                  <a:lnTo>
                    <a:pt x="2094" y="618"/>
                  </a:lnTo>
                  <a:lnTo>
                    <a:pt x="2136" y="618"/>
                  </a:lnTo>
                  <a:lnTo>
                    <a:pt x="2214" y="606"/>
                  </a:lnTo>
                  <a:lnTo>
                    <a:pt x="2136" y="600"/>
                  </a:lnTo>
                  <a:close/>
                  <a:moveTo>
                    <a:pt x="1308" y="1038"/>
                  </a:moveTo>
                  <a:lnTo>
                    <a:pt x="1368" y="1002"/>
                  </a:lnTo>
                  <a:lnTo>
                    <a:pt x="1362" y="990"/>
                  </a:lnTo>
                  <a:lnTo>
                    <a:pt x="1350" y="990"/>
                  </a:lnTo>
                  <a:lnTo>
                    <a:pt x="1332" y="996"/>
                  </a:lnTo>
                  <a:lnTo>
                    <a:pt x="1320" y="996"/>
                  </a:lnTo>
                  <a:lnTo>
                    <a:pt x="1302" y="1002"/>
                  </a:lnTo>
                  <a:lnTo>
                    <a:pt x="1290" y="1008"/>
                  </a:lnTo>
                  <a:lnTo>
                    <a:pt x="1284" y="1014"/>
                  </a:lnTo>
                  <a:lnTo>
                    <a:pt x="1284" y="1032"/>
                  </a:lnTo>
                  <a:lnTo>
                    <a:pt x="1290" y="1038"/>
                  </a:lnTo>
                  <a:lnTo>
                    <a:pt x="1308" y="1038"/>
                  </a:lnTo>
                  <a:close/>
                  <a:moveTo>
                    <a:pt x="1428" y="1116"/>
                  </a:moveTo>
                  <a:lnTo>
                    <a:pt x="1392" y="1116"/>
                  </a:lnTo>
                  <a:lnTo>
                    <a:pt x="1386" y="1146"/>
                  </a:lnTo>
                  <a:lnTo>
                    <a:pt x="1386" y="1152"/>
                  </a:lnTo>
                  <a:lnTo>
                    <a:pt x="1404" y="1170"/>
                  </a:lnTo>
                  <a:lnTo>
                    <a:pt x="1416" y="1176"/>
                  </a:lnTo>
                  <a:lnTo>
                    <a:pt x="1428" y="1164"/>
                  </a:lnTo>
                  <a:lnTo>
                    <a:pt x="1440" y="1140"/>
                  </a:lnTo>
                  <a:lnTo>
                    <a:pt x="1440" y="1128"/>
                  </a:lnTo>
                  <a:lnTo>
                    <a:pt x="1428" y="1116"/>
                  </a:lnTo>
                  <a:close/>
                  <a:moveTo>
                    <a:pt x="708" y="930"/>
                  </a:moveTo>
                  <a:lnTo>
                    <a:pt x="714" y="924"/>
                  </a:lnTo>
                  <a:lnTo>
                    <a:pt x="714" y="900"/>
                  </a:lnTo>
                  <a:lnTo>
                    <a:pt x="744" y="924"/>
                  </a:lnTo>
                  <a:lnTo>
                    <a:pt x="744" y="918"/>
                  </a:lnTo>
                  <a:lnTo>
                    <a:pt x="750" y="912"/>
                  </a:lnTo>
                  <a:lnTo>
                    <a:pt x="750" y="900"/>
                  </a:lnTo>
                  <a:lnTo>
                    <a:pt x="756" y="882"/>
                  </a:lnTo>
                  <a:lnTo>
                    <a:pt x="756" y="840"/>
                  </a:lnTo>
                  <a:lnTo>
                    <a:pt x="762" y="822"/>
                  </a:lnTo>
                  <a:lnTo>
                    <a:pt x="762" y="810"/>
                  </a:lnTo>
                  <a:lnTo>
                    <a:pt x="768" y="792"/>
                  </a:lnTo>
                  <a:lnTo>
                    <a:pt x="768" y="780"/>
                  </a:lnTo>
                  <a:lnTo>
                    <a:pt x="762" y="774"/>
                  </a:lnTo>
                  <a:lnTo>
                    <a:pt x="756" y="762"/>
                  </a:lnTo>
                  <a:lnTo>
                    <a:pt x="756" y="750"/>
                  </a:lnTo>
                  <a:lnTo>
                    <a:pt x="768" y="726"/>
                  </a:lnTo>
                  <a:lnTo>
                    <a:pt x="774" y="720"/>
                  </a:lnTo>
                  <a:lnTo>
                    <a:pt x="774" y="714"/>
                  </a:lnTo>
                  <a:lnTo>
                    <a:pt x="756" y="696"/>
                  </a:lnTo>
                  <a:lnTo>
                    <a:pt x="744" y="654"/>
                  </a:lnTo>
                  <a:lnTo>
                    <a:pt x="702" y="654"/>
                  </a:lnTo>
                  <a:lnTo>
                    <a:pt x="702" y="618"/>
                  </a:lnTo>
                  <a:lnTo>
                    <a:pt x="666" y="618"/>
                  </a:lnTo>
                  <a:lnTo>
                    <a:pt x="660" y="546"/>
                  </a:lnTo>
                  <a:lnTo>
                    <a:pt x="606" y="546"/>
                  </a:lnTo>
                  <a:lnTo>
                    <a:pt x="594" y="534"/>
                  </a:lnTo>
                  <a:lnTo>
                    <a:pt x="594" y="504"/>
                  </a:lnTo>
                  <a:lnTo>
                    <a:pt x="600" y="498"/>
                  </a:lnTo>
                  <a:lnTo>
                    <a:pt x="606" y="486"/>
                  </a:lnTo>
                  <a:lnTo>
                    <a:pt x="582" y="486"/>
                  </a:lnTo>
                  <a:lnTo>
                    <a:pt x="600" y="468"/>
                  </a:lnTo>
                  <a:lnTo>
                    <a:pt x="606" y="456"/>
                  </a:lnTo>
                  <a:lnTo>
                    <a:pt x="612" y="450"/>
                  </a:lnTo>
                  <a:lnTo>
                    <a:pt x="612" y="438"/>
                  </a:lnTo>
                  <a:lnTo>
                    <a:pt x="600" y="426"/>
                  </a:lnTo>
                  <a:lnTo>
                    <a:pt x="588" y="432"/>
                  </a:lnTo>
                  <a:lnTo>
                    <a:pt x="570" y="432"/>
                  </a:lnTo>
                  <a:lnTo>
                    <a:pt x="552" y="438"/>
                  </a:lnTo>
                  <a:lnTo>
                    <a:pt x="540" y="438"/>
                  </a:lnTo>
                  <a:lnTo>
                    <a:pt x="534" y="444"/>
                  </a:lnTo>
                  <a:lnTo>
                    <a:pt x="528" y="444"/>
                  </a:lnTo>
                  <a:lnTo>
                    <a:pt x="534" y="438"/>
                  </a:lnTo>
                  <a:lnTo>
                    <a:pt x="546" y="432"/>
                  </a:lnTo>
                  <a:lnTo>
                    <a:pt x="552" y="420"/>
                  </a:lnTo>
                  <a:lnTo>
                    <a:pt x="558" y="414"/>
                  </a:lnTo>
                  <a:lnTo>
                    <a:pt x="558" y="402"/>
                  </a:lnTo>
                  <a:lnTo>
                    <a:pt x="546" y="396"/>
                  </a:lnTo>
                  <a:lnTo>
                    <a:pt x="534" y="396"/>
                  </a:lnTo>
                  <a:lnTo>
                    <a:pt x="522" y="390"/>
                  </a:lnTo>
                  <a:lnTo>
                    <a:pt x="510" y="390"/>
                  </a:lnTo>
                  <a:lnTo>
                    <a:pt x="516" y="384"/>
                  </a:lnTo>
                  <a:lnTo>
                    <a:pt x="516" y="378"/>
                  </a:lnTo>
                  <a:lnTo>
                    <a:pt x="504" y="354"/>
                  </a:lnTo>
                  <a:lnTo>
                    <a:pt x="492" y="342"/>
                  </a:lnTo>
                  <a:lnTo>
                    <a:pt x="480" y="336"/>
                  </a:lnTo>
                  <a:lnTo>
                    <a:pt x="462" y="330"/>
                  </a:lnTo>
                  <a:lnTo>
                    <a:pt x="456" y="324"/>
                  </a:lnTo>
                  <a:lnTo>
                    <a:pt x="450" y="324"/>
                  </a:lnTo>
                  <a:lnTo>
                    <a:pt x="450" y="318"/>
                  </a:lnTo>
                  <a:lnTo>
                    <a:pt x="444" y="312"/>
                  </a:lnTo>
                  <a:lnTo>
                    <a:pt x="438" y="300"/>
                  </a:lnTo>
                  <a:lnTo>
                    <a:pt x="438" y="288"/>
                  </a:lnTo>
                  <a:lnTo>
                    <a:pt x="426" y="276"/>
                  </a:lnTo>
                  <a:lnTo>
                    <a:pt x="414" y="276"/>
                  </a:lnTo>
                  <a:lnTo>
                    <a:pt x="408" y="282"/>
                  </a:lnTo>
                  <a:lnTo>
                    <a:pt x="414" y="306"/>
                  </a:lnTo>
                  <a:lnTo>
                    <a:pt x="408" y="300"/>
                  </a:lnTo>
                  <a:lnTo>
                    <a:pt x="396" y="294"/>
                  </a:lnTo>
                  <a:lnTo>
                    <a:pt x="360" y="258"/>
                  </a:lnTo>
                  <a:lnTo>
                    <a:pt x="360" y="246"/>
                  </a:lnTo>
                  <a:lnTo>
                    <a:pt x="354" y="240"/>
                  </a:lnTo>
                  <a:lnTo>
                    <a:pt x="348" y="228"/>
                  </a:lnTo>
                  <a:lnTo>
                    <a:pt x="342" y="222"/>
                  </a:lnTo>
                  <a:lnTo>
                    <a:pt x="342" y="216"/>
                  </a:lnTo>
                  <a:lnTo>
                    <a:pt x="330" y="210"/>
                  </a:lnTo>
                  <a:lnTo>
                    <a:pt x="312" y="192"/>
                  </a:lnTo>
                  <a:lnTo>
                    <a:pt x="294" y="186"/>
                  </a:lnTo>
                  <a:lnTo>
                    <a:pt x="288" y="174"/>
                  </a:lnTo>
                  <a:lnTo>
                    <a:pt x="276" y="168"/>
                  </a:lnTo>
                  <a:lnTo>
                    <a:pt x="264" y="156"/>
                  </a:lnTo>
                  <a:lnTo>
                    <a:pt x="252" y="150"/>
                  </a:lnTo>
                  <a:lnTo>
                    <a:pt x="240" y="138"/>
                  </a:lnTo>
                  <a:lnTo>
                    <a:pt x="234" y="126"/>
                  </a:lnTo>
                  <a:lnTo>
                    <a:pt x="222" y="120"/>
                  </a:lnTo>
                  <a:lnTo>
                    <a:pt x="222" y="102"/>
                  </a:lnTo>
                  <a:lnTo>
                    <a:pt x="204" y="84"/>
                  </a:lnTo>
                  <a:lnTo>
                    <a:pt x="198" y="72"/>
                  </a:lnTo>
                  <a:lnTo>
                    <a:pt x="168" y="42"/>
                  </a:lnTo>
                  <a:lnTo>
                    <a:pt x="150" y="42"/>
                  </a:lnTo>
                  <a:lnTo>
                    <a:pt x="66" y="36"/>
                  </a:lnTo>
                  <a:lnTo>
                    <a:pt x="42" y="12"/>
                  </a:lnTo>
                  <a:lnTo>
                    <a:pt x="30" y="6"/>
                  </a:lnTo>
                  <a:lnTo>
                    <a:pt x="24" y="0"/>
                  </a:lnTo>
                  <a:lnTo>
                    <a:pt x="18" y="0"/>
                  </a:lnTo>
                  <a:lnTo>
                    <a:pt x="6" y="6"/>
                  </a:lnTo>
                  <a:lnTo>
                    <a:pt x="0" y="18"/>
                  </a:lnTo>
                  <a:lnTo>
                    <a:pt x="0" y="48"/>
                  </a:lnTo>
                  <a:lnTo>
                    <a:pt x="6" y="60"/>
                  </a:lnTo>
                  <a:lnTo>
                    <a:pt x="18" y="78"/>
                  </a:lnTo>
                  <a:lnTo>
                    <a:pt x="66" y="126"/>
                  </a:lnTo>
                  <a:lnTo>
                    <a:pt x="96" y="150"/>
                  </a:lnTo>
                  <a:lnTo>
                    <a:pt x="126" y="180"/>
                  </a:lnTo>
                  <a:lnTo>
                    <a:pt x="162" y="234"/>
                  </a:lnTo>
                  <a:lnTo>
                    <a:pt x="174" y="228"/>
                  </a:lnTo>
                  <a:lnTo>
                    <a:pt x="174" y="252"/>
                  </a:lnTo>
                  <a:lnTo>
                    <a:pt x="180" y="264"/>
                  </a:lnTo>
                  <a:lnTo>
                    <a:pt x="186" y="270"/>
                  </a:lnTo>
                  <a:lnTo>
                    <a:pt x="198" y="276"/>
                  </a:lnTo>
                  <a:lnTo>
                    <a:pt x="216" y="288"/>
                  </a:lnTo>
                  <a:lnTo>
                    <a:pt x="228" y="300"/>
                  </a:lnTo>
                  <a:lnTo>
                    <a:pt x="246" y="312"/>
                  </a:lnTo>
                  <a:lnTo>
                    <a:pt x="258" y="324"/>
                  </a:lnTo>
                  <a:lnTo>
                    <a:pt x="264" y="336"/>
                  </a:lnTo>
                  <a:lnTo>
                    <a:pt x="276" y="372"/>
                  </a:lnTo>
                  <a:lnTo>
                    <a:pt x="276" y="384"/>
                  </a:lnTo>
                  <a:lnTo>
                    <a:pt x="282" y="390"/>
                  </a:lnTo>
                  <a:lnTo>
                    <a:pt x="282" y="426"/>
                  </a:lnTo>
                  <a:lnTo>
                    <a:pt x="288" y="438"/>
                  </a:lnTo>
                  <a:lnTo>
                    <a:pt x="288" y="444"/>
                  </a:lnTo>
                  <a:lnTo>
                    <a:pt x="294" y="450"/>
                  </a:lnTo>
                  <a:lnTo>
                    <a:pt x="300" y="450"/>
                  </a:lnTo>
                  <a:lnTo>
                    <a:pt x="312" y="444"/>
                  </a:lnTo>
                  <a:lnTo>
                    <a:pt x="324" y="444"/>
                  </a:lnTo>
                  <a:lnTo>
                    <a:pt x="324" y="450"/>
                  </a:lnTo>
                  <a:lnTo>
                    <a:pt x="330" y="462"/>
                  </a:lnTo>
                  <a:lnTo>
                    <a:pt x="330" y="474"/>
                  </a:lnTo>
                  <a:lnTo>
                    <a:pt x="336" y="480"/>
                  </a:lnTo>
                  <a:lnTo>
                    <a:pt x="336" y="486"/>
                  </a:lnTo>
                  <a:lnTo>
                    <a:pt x="378" y="522"/>
                  </a:lnTo>
                  <a:lnTo>
                    <a:pt x="372" y="546"/>
                  </a:lnTo>
                  <a:lnTo>
                    <a:pt x="408" y="606"/>
                  </a:lnTo>
                  <a:lnTo>
                    <a:pt x="402" y="618"/>
                  </a:lnTo>
                  <a:lnTo>
                    <a:pt x="402" y="636"/>
                  </a:lnTo>
                  <a:lnTo>
                    <a:pt x="408" y="648"/>
                  </a:lnTo>
                  <a:lnTo>
                    <a:pt x="438" y="678"/>
                  </a:lnTo>
                  <a:lnTo>
                    <a:pt x="438" y="684"/>
                  </a:lnTo>
                  <a:lnTo>
                    <a:pt x="444" y="690"/>
                  </a:lnTo>
                  <a:lnTo>
                    <a:pt x="462" y="726"/>
                  </a:lnTo>
                  <a:lnTo>
                    <a:pt x="498" y="744"/>
                  </a:lnTo>
                  <a:lnTo>
                    <a:pt x="504" y="750"/>
                  </a:lnTo>
                  <a:lnTo>
                    <a:pt x="510" y="750"/>
                  </a:lnTo>
                  <a:lnTo>
                    <a:pt x="510" y="786"/>
                  </a:lnTo>
                  <a:lnTo>
                    <a:pt x="522" y="792"/>
                  </a:lnTo>
                  <a:lnTo>
                    <a:pt x="528" y="804"/>
                  </a:lnTo>
                  <a:lnTo>
                    <a:pt x="540" y="810"/>
                  </a:lnTo>
                  <a:lnTo>
                    <a:pt x="564" y="834"/>
                  </a:lnTo>
                  <a:lnTo>
                    <a:pt x="576" y="840"/>
                  </a:lnTo>
                  <a:lnTo>
                    <a:pt x="594" y="858"/>
                  </a:lnTo>
                  <a:lnTo>
                    <a:pt x="600" y="858"/>
                  </a:lnTo>
                  <a:lnTo>
                    <a:pt x="606" y="864"/>
                  </a:lnTo>
                  <a:lnTo>
                    <a:pt x="612" y="864"/>
                  </a:lnTo>
                  <a:lnTo>
                    <a:pt x="612" y="870"/>
                  </a:lnTo>
                  <a:lnTo>
                    <a:pt x="618" y="876"/>
                  </a:lnTo>
                  <a:lnTo>
                    <a:pt x="630" y="900"/>
                  </a:lnTo>
                  <a:lnTo>
                    <a:pt x="642" y="912"/>
                  </a:lnTo>
                  <a:lnTo>
                    <a:pt x="654" y="936"/>
                  </a:lnTo>
                  <a:lnTo>
                    <a:pt x="660" y="942"/>
                  </a:lnTo>
                  <a:lnTo>
                    <a:pt x="660" y="906"/>
                  </a:lnTo>
                  <a:lnTo>
                    <a:pt x="672" y="906"/>
                  </a:lnTo>
                  <a:lnTo>
                    <a:pt x="684" y="918"/>
                  </a:lnTo>
                  <a:lnTo>
                    <a:pt x="696" y="924"/>
                  </a:lnTo>
                  <a:lnTo>
                    <a:pt x="702" y="930"/>
                  </a:lnTo>
                  <a:lnTo>
                    <a:pt x="708" y="930"/>
                  </a:lnTo>
                  <a:close/>
                  <a:moveTo>
                    <a:pt x="2118" y="1194"/>
                  </a:moveTo>
                  <a:lnTo>
                    <a:pt x="2106" y="1176"/>
                  </a:lnTo>
                  <a:lnTo>
                    <a:pt x="2088" y="1176"/>
                  </a:lnTo>
                  <a:lnTo>
                    <a:pt x="2064" y="1200"/>
                  </a:lnTo>
                  <a:lnTo>
                    <a:pt x="2064" y="1212"/>
                  </a:lnTo>
                  <a:lnTo>
                    <a:pt x="2052" y="1212"/>
                  </a:lnTo>
                  <a:lnTo>
                    <a:pt x="2040" y="1218"/>
                  </a:lnTo>
                  <a:lnTo>
                    <a:pt x="2010" y="1248"/>
                  </a:lnTo>
                  <a:lnTo>
                    <a:pt x="1998" y="1272"/>
                  </a:lnTo>
                  <a:lnTo>
                    <a:pt x="1992" y="1278"/>
                  </a:lnTo>
                  <a:lnTo>
                    <a:pt x="1992" y="1290"/>
                  </a:lnTo>
                  <a:lnTo>
                    <a:pt x="2004" y="1302"/>
                  </a:lnTo>
                  <a:lnTo>
                    <a:pt x="2022" y="1302"/>
                  </a:lnTo>
                  <a:lnTo>
                    <a:pt x="2052" y="1284"/>
                  </a:lnTo>
                  <a:lnTo>
                    <a:pt x="2082" y="1260"/>
                  </a:lnTo>
                  <a:lnTo>
                    <a:pt x="2106" y="1242"/>
                  </a:lnTo>
                  <a:lnTo>
                    <a:pt x="2100" y="1236"/>
                  </a:lnTo>
                  <a:lnTo>
                    <a:pt x="2100" y="1224"/>
                  </a:lnTo>
                  <a:lnTo>
                    <a:pt x="2112" y="1200"/>
                  </a:lnTo>
                  <a:lnTo>
                    <a:pt x="2118" y="1194"/>
                  </a:lnTo>
                  <a:close/>
                  <a:moveTo>
                    <a:pt x="1374" y="1128"/>
                  </a:moveTo>
                  <a:lnTo>
                    <a:pt x="1374" y="1116"/>
                  </a:lnTo>
                  <a:lnTo>
                    <a:pt x="1368" y="1110"/>
                  </a:lnTo>
                  <a:lnTo>
                    <a:pt x="1344" y="1098"/>
                  </a:lnTo>
                  <a:lnTo>
                    <a:pt x="1332" y="1098"/>
                  </a:lnTo>
                  <a:lnTo>
                    <a:pt x="1320" y="1092"/>
                  </a:lnTo>
                  <a:lnTo>
                    <a:pt x="1314" y="1092"/>
                  </a:lnTo>
                  <a:lnTo>
                    <a:pt x="1302" y="1098"/>
                  </a:lnTo>
                  <a:lnTo>
                    <a:pt x="1296" y="1104"/>
                  </a:lnTo>
                  <a:lnTo>
                    <a:pt x="1296" y="1116"/>
                  </a:lnTo>
                  <a:lnTo>
                    <a:pt x="1290" y="1122"/>
                  </a:lnTo>
                  <a:lnTo>
                    <a:pt x="1290" y="1134"/>
                  </a:lnTo>
                  <a:lnTo>
                    <a:pt x="1254" y="1104"/>
                  </a:lnTo>
                  <a:lnTo>
                    <a:pt x="1260" y="1092"/>
                  </a:lnTo>
                  <a:lnTo>
                    <a:pt x="1260" y="1080"/>
                  </a:lnTo>
                  <a:lnTo>
                    <a:pt x="1266" y="1068"/>
                  </a:lnTo>
                  <a:lnTo>
                    <a:pt x="1266" y="1050"/>
                  </a:lnTo>
                  <a:lnTo>
                    <a:pt x="1260" y="1038"/>
                  </a:lnTo>
                  <a:lnTo>
                    <a:pt x="1254" y="1032"/>
                  </a:lnTo>
                  <a:lnTo>
                    <a:pt x="1242" y="1026"/>
                  </a:lnTo>
                  <a:lnTo>
                    <a:pt x="1188" y="1026"/>
                  </a:lnTo>
                  <a:lnTo>
                    <a:pt x="1158" y="1008"/>
                  </a:lnTo>
                  <a:lnTo>
                    <a:pt x="1158" y="984"/>
                  </a:lnTo>
                  <a:lnTo>
                    <a:pt x="1116" y="984"/>
                  </a:lnTo>
                  <a:lnTo>
                    <a:pt x="1116" y="996"/>
                  </a:lnTo>
                  <a:lnTo>
                    <a:pt x="1110" y="1008"/>
                  </a:lnTo>
                  <a:lnTo>
                    <a:pt x="1110" y="1026"/>
                  </a:lnTo>
                  <a:lnTo>
                    <a:pt x="1086" y="1026"/>
                  </a:lnTo>
                  <a:lnTo>
                    <a:pt x="1074" y="1020"/>
                  </a:lnTo>
                  <a:lnTo>
                    <a:pt x="1056" y="1014"/>
                  </a:lnTo>
                  <a:lnTo>
                    <a:pt x="1044" y="1014"/>
                  </a:lnTo>
                  <a:lnTo>
                    <a:pt x="1032" y="1008"/>
                  </a:lnTo>
                  <a:lnTo>
                    <a:pt x="966" y="1008"/>
                  </a:lnTo>
                  <a:lnTo>
                    <a:pt x="960" y="996"/>
                  </a:lnTo>
                  <a:lnTo>
                    <a:pt x="948" y="990"/>
                  </a:lnTo>
                  <a:lnTo>
                    <a:pt x="942" y="978"/>
                  </a:lnTo>
                  <a:lnTo>
                    <a:pt x="918" y="954"/>
                  </a:lnTo>
                  <a:lnTo>
                    <a:pt x="900" y="954"/>
                  </a:lnTo>
                  <a:lnTo>
                    <a:pt x="888" y="960"/>
                  </a:lnTo>
                  <a:lnTo>
                    <a:pt x="876" y="954"/>
                  </a:lnTo>
                  <a:lnTo>
                    <a:pt x="870" y="948"/>
                  </a:lnTo>
                  <a:lnTo>
                    <a:pt x="858" y="942"/>
                  </a:lnTo>
                  <a:lnTo>
                    <a:pt x="846" y="942"/>
                  </a:lnTo>
                  <a:lnTo>
                    <a:pt x="840" y="936"/>
                  </a:lnTo>
                  <a:lnTo>
                    <a:pt x="822" y="936"/>
                  </a:lnTo>
                  <a:lnTo>
                    <a:pt x="810" y="930"/>
                  </a:lnTo>
                  <a:lnTo>
                    <a:pt x="792" y="930"/>
                  </a:lnTo>
                  <a:lnTo>
                    <a:pt x="786" y="924"/>
                  </a:lnTo>
                  <a:lnTo>
                    <a:pt x="762" y="924"/>
                  </a:lnTo>
                  <a:lnTo>
                    <a:pt x="750" y="930"/>
                  </a:lnTo>
                  <a:lnTo>
                    <a:pt x="738" y="954"/>
                  </a:lnTo>
                  <a:lnTo>
                    <a:pt x="738" y="966"/>
                  </a:lnTo>
                  <a:lnTo>
                    <a:pt x="732" y="978"/>
                  </a:lnTo>
                  <a:lnTo>
                    <a:pt x="720" y="990"/>
                  </a:lnTo>
                  <a:lnTo>
                    <a:pt x="714" y="990"/>
                  </a:lnTo>
                  <a:lnTo>
                    <a:pt x="702" y="1002"/>
                  </a:lnTo>
                  <a:lnTo>
                    <a:pt x="702" y="1014"/>
                  </a:lnTo>
                  <a:lnTo>
                    <a:pt x="738" y="1008"/>
                  </a:lnTo>
                  <a:lnTo>
                    <a:pt x="786" y="1008"/>
                  </a:lnTo>
                  <a:lnTo>
                    <a:pt x="780" y="1014"/>
                  </a:lnTo>
                  <a:lnTo>
                    <a:pt x="768" y="1020"/>
                  </a:lnTo>
                  <a:lnTo>
                    <a:pt x="762" y="1032"/>
                  </a:lnTo>
                  <a:lnTo>
                    <a:pt x="762" y="1044"/>
                  </a:lnTo>
                  <a:lnTo>
                    <a:pt x="774" y="1050"/>
                  </a:lnTo>
                  <a:lnTo>
                    <a:pt x="780" y="1050"/>
                  </a:lnTo>
                  <a:lnTo>
                    <a:pt x="798" y="1044"/>
                  </a:lnTo>
                  <a:lnTo>
                    <a:pt x="810" y="1044"/>
                  </a:lnTo>
                  <a:lnTo>
                    <a:pt x="816" y="1038"/>
                  </a:lnTo>
                  <a:lnTo>
                    <a:pt x="828" y="1032"/>
                  </a:lnTo>
                  <a:lnTo>
                    <a:pt x="840" y="1038"/>
                  </a:lnTo>
                  <a:lnTo>
                    <a:pt x="870" y="1056"/>
                  </a:lnTo>
                  <a:lnTo>
                    <a:pt x="900" y="1068"/>
                  </a:lnTo>
                  <a:lnTo>
                    <a:pt x="924" y="1080"/>
                  </a:lnTo>
                  <a:lnTo>
                    <a:pt x="960" y="1086"/>
                  </a:lnTo>
                  <a:lnTo>
                    <a:pt x="1014" y="1092"/>
                  </a:lnTo>
                  <a:lnTo>
                    <a:pt x="1062" y="1092"/>
                  </a:lnTo>
                  <a:lnTo>
                    <a:pt x="1080" y="1110"/>
                  </a:lnTo>
                  <a:lnTo>
                    <a:pt x="1086" y="1122"/>
                  </a:lnTo>
                  <a:lnTo>
                    <a:pt x="1098" y="1128"/>
                  </a:lnTo>
                  <a:lnTo>
                    <a:pt x="1110" y="1140"/>
                  </a:lnTo>
                  <a:lnTo>
                    <a:pt x="1128" y="1146"/>
                  </a:lnTo>
                  <a:lnTo>
                    <a:pt x="1152" y="1152"/>
                  </a:lnTo>
                  <a:lnTo>
                    <a:pt x="1170" y="1152"/>
                  </a:lnTo>
                  <a:lnTo>
                    <a:pt x="1182" y="1158"/>
                  </a:lnTo>
                  <a:lnTo>
                    <a:pt x="1248" y="1158"/>
                  </a:lnTo>
                  <a:lnTo>
                    <a:pt x="1260" y="1164"/>
                  </a:lnTo>
                  <a:lnTo>
                    <a:pt x="1278" y="1170"/>
                  </a:lnTo>
                  <a:lnTo>
                    <a:pt x="1290" y="1182"/>
                  </a:lnTo>
                  <a:lnTo>
                    <a:pt x="1302" y="1188"/>
                  </a:lnTo>
                  <a:lnTo>
                    <a:pt x="1320" y="1206"/>
                  </a:lnTo>
                  <a:lnTo>
                    <a:pt x="1338" y="1206"/>
                  </a:lnTo>
                  <a:lnTo>
                    <a:pt x="1350" y="1200"/>
                  </a:lnTo>
                  <a:lnTo>
                    <a:pt x="1356" y="1206"/>
                  </a:lnTo>
                  <a:lnTo>
                    <a:pt x="1374" y="1206"/>
                  </a:lnTo>
                  <a:lnTo>
                    <a:pt x="1374" y="1194"/>
                  </a:lnTo>
                  <a:lnTo>
                    <a:pt x="1368" y="1182"/>
                  </a:lnTo>
                  <a:lnTo>
                    <a:pt x="1362" y="1176"/>
                  </a:lnTo>
                  <a:lnTo>
                    <a:pt x="1356" y="1164"/>
                  </a:lnTo>
                  <a:lnTo>
                    <a:pt x="1374" y="1146"/>
                  </a:lnTo>
                  <a:lnTo>
                    <a:pt x="1374" y="1128"/>
                  </a:lnTo>
                  <a:close/>
                  <a:moveTo>
                    <a:pt x="1500" y="726"/>
                  </a:moveTo>
                  <a:lnTo>
                    <a:pt x="1542" y="684"/>
                  </a:lnTo>
                  <a:lnTo>
                    <a:pt x="1548" y="672"/>
                  </a:lnTo>
                  <a:lnTo>
                    <a:pt x="1554" y="654"/>
                  </a:lnTo>
                  <a:lnTo>
                    <a:pt x="1560" y="642"/>
                  </a:lnTo>
                  <a:lnTo>
                    <a:pt x="1566" y="624"/>
                  </a:lnTo>
                  <a:lnTo>
                    <a:pt x="1566" y="612"/>
                  </a:lnTo>
                  <a:lnTo>
                    <a:pt x="1572" y="606"/>
                  </a:lnTo>
                  <a:lnTo>
                    <a:pt x="1572" y="600"/>
                  </a:lnTo>
                  <a:lnTo>
                    <a:pt x="1566" y="600"/>
                  </a:lnTo>
                  <a:lnTo>
                    <a:pt x="1554" y="594"/>
                  </a:lnTo>
                  <a:lnTo>
                    <a:pt x="1542" y="582"/>
                  </a:lnTo>
                  <a:lnTo>
                    <a:pt x="1542" y="564"/>
                  </a:lnTo>
                  <a:lnTo>
                    <a:pt x="1554" y="516"/>
                  </a:lnTo>
                  <a:lnTo>
                    <a:pt x="1590" y="498"/>
                  </a:lnTo>
                  <a:lnTo>
                    <a:pt x="1626" y="498"/>
                  </a:lnTo>
                  <a:lnTo>
                    <a:pt x="1632" y="486"/>
                  </a:lnTo>
                  <a:lnTo>
                    <a:pt x="1638" y="480"/>
                  </a:lnTo>
                  <a:lnTo>
                    <a:pt x="1644" y="468"/>
                  </a:lnTo>
                  <a:lnTo>
                    <a:pt x="1644" y="444"/>
                  </a:lnTo>
                  <a:lnTo>
                    <a:pt x="1626" y="444"/>
                  </a:lnTo>
                  <a:lnTo>
                    <a:pt x="1620" y="450"/>
                  </a:lnTo>
                  <a:lnTo>
                    <a:pt x="1608" y="450"/>
                  </a:lnTo>
                  <a:lnTo>
                    <a:pt x="1608" y="438"/>
                  </a:lnTo>
                  <a:lnTo>
                    <a:pt x="1614" y="420"/>
                  </a:lnTo>
                  <a:lnTo>
                    <a:pt x="1626" y="408"/>
                  </a:lnTo>
                  <a:lnTo>
                    <a:pt x="1650" y="396"/>
                  </a:lnTo>
                  <a:lnTo>
                    <a:pt x="1662" y="396"/>
                  </a:lnTo>
                  <a:lnTo>
                    <a:pt x="1680" y="402"/>
                  </a:lnTo>
                  <a:lnTo>
                    <a:pt x="1704" y="402"/>
                  </a:lnTo>
                  <a:lnTo>
                    <a:pt x="1716" y="390"/>
                  </a:lnTo>
                  <a:lnTo>
                    <a:pt x="1716" y="384"/>
                  </a:lnTo>
                  <a:lnTo>
                    <a:pt x="1680" y="348"/>
                  </a:lnTo>
                  <a:lnTo>
                    <a:pt x="1680" y="312"/>
                  </a:lnTo>
                  <a:lnTo>
                    <a:pt x="1668" y="312"/>
                  </a:lnTo>
                  <a:lnTo>
                    <a:pt x="1650" y="294"/>
                  </a:lnTo>
                  <a:lnTo>
                    <a:pt x="1650" y="282"/>
                  </a:lnTo>
                  <a:lnTo>
                    <a:pt x="1662" y="270"/>
                  </a:lnTo>
                  <a:lnTo>
                    <a:pt x="1668" y="258"/>
                  </a:lnTo>
                  <a:lnTo>
                    <a:pt x="1668" y="246"/>
                  </a:lnTo>
                  <a:lnTo>
                    <a:pt x="1662" y="240"/>
                  </a:lnTo>
                  <a:lnTo>
                    <a:pt x="1638" y="228"/>
                  </a:lnTo>
                  <a:lnTo>
                    <a:pt x="1614" y="228"/>
                  </a:lnTo>
                  <a:lnTo>
                    <a:pt x="1632" y="198"/>
                  </a:lnTo>
                  <a:lnTo>
                    <a:pt x="1614" y="192"/>
                  </a:lnTo>
                  <a:lnTo>
                    <a:pt x="1620" y="162"/>
                  </a:lnTo>
                  <a:lnTo>
                    <a:pt x="1608" y="144"/>
                  </a:lnTo>
                  <a:lnTo>
                    <a:pt x="1602" y="138"/>
                  </a:lnTo>
                  <a:lnTo>
                    <a:pt x="1590" y="132"/>
                  </a:lnTo>
                  <a:lnTo>
                    <a:pt x="1566" y="108"/>
                  </a:lnTo>
                  <a:lnTo>
                    <a:pt x="1470" y="108"/>
                  </a:lnTo>
                  <a:lnTo>
                    <a:pt x="1464" y="114"/>
                  </a:lnTo>
                  <a:lnTo>
                    <a:pt x="1458" y="126"/>
                  </a:lnTo>
                  <a:lnTo>
                    <a:pt x="1458" y="180"/>
                  </a:lnTo>
                  <a:lnTo>
                    <a:pt x="1452" y="198"/>
                  </a:lnTo>
                  <a:lnTo>
                    <a:pt x="1452" y="204"/>
                  </a:lnTo>
                  <a:lnTo>
                    <a:pt x="1446" y="216"/>
                  </a:lnTo>
                  <a:lnTo>
                    <a:pt x="1428" y="216"/>
                  </a:lnTo>
                  <a:lnTo>
                    <a:pt x="1422" y="222"/>
                  </a:lnTo>
                  <a:lnTo>
                    <a:pt x="1422" y="246"/>
                  </a:lnTo>
                  <a:lnTo>
                    <a:pt x="1428" y="252"/>
                  </a:lnTo>
                  <a:lnTo>
                    <a:pt x="1434" y="264"/>
                  </a:lnTo>
                  <a:lnTo>
                    <a:pt x="1398" y="294"/>
                  </a:lnTo>
                  <a:lnTo>
                    <a:pt x="1404" y="306"/>
                  </a:lnTo>
                  <a:lnTo>
                    <a:pt x="1374" y="342"/>
                  </a:lnTo>
                  <a:lnTo>
                    <a:pt x="1350" y="342"/>
                  </a:lnTo>
                  <a:lnTo>
                    <a:pt x="1344" y="348"/>
                  </a:lnTo>
                  <a:lnTo>
                    <a:pt x="1332" y="354"/>
                  </a:lnTo>
                  <a:lnTo>
                    <a:pt x="1320" y="366"/>
                  </a:lnTo>
                  <a:lnTo>
                    <a:pt x="1314" y="366"/>
                  </a:lnTo>
                  <a:lnTo>
                    <a:pt x="1308" y="360"/>
                  </a:lnTo>
                  <a:lnTo>
                    <a:pt x="1284" y="348"/>
                  </a:lnTo>
                  <a:lnTo>
                    <a:pt x="1272" y="336"/>
                  </a:lnTo>
                  <a:lnTo>
                    <a:pt x="1230" y="336"/>
                  </a:lnTo>
                  <a:lnTo>
                    <a:pt x="1224" y="348"/>
                  </a:lnTo>
                  <a:lnTo>
                    <a:pt x="1194" y="378"/>
                  </a:lnTo>
                  <a:lnTo>
                    <a:pt x="1170" y="378"/>
                  </a:lnTo>
                  <a:lnTo>
                    <a:pt x="1152" y="372"/>
                  </a:lnTo>
                  <a:lnTo>
                    <a:pt x="1128" y="372"/>
                  </a:lnTo>
                  <a:lnTo>
                    <a:pt x="1110" y="390"/>
                  </a:lnTo>
                  <a:lnTo>
                    <a:pt x="1104" y="390"/>
                  </a:lnTo>
                  <a:lnTo>
                    <a:pt x="1080" y="378"/>
                  </a:lnTo>
                  <a:lnTo>
                    <a:pt x="1074" y="372"/>
                  </a:lnTo>
                  <a:lnTo>
                    <a:pt x="1062" y="366"/>
                  </a:lnTo>
                  <a:lnTo>
                    <a:pt x="1050" y="354"/>
                  </a:lnTo>
                  <a:lnTo>
                    <a:pt x="1050" y="342"/>
                  </a:lnTo>
                  <a:lnTo>
                    <a:pt x="1044" y="336"/>
                  </a:lnTo>
                  <a:lnTo>
                    <a:pt x="1032" y="330"/>
                  </a:lnTo>
                  <a:lnTo>
                    <a:pt x="1008" y="330"/>
                  </a:lnTo>
                  <a:lnTo>
                    <a:pt x="996" y="336"/>
                  </a:lnTo>
                  <a:lnTo>
                    <a:pt x="990" y="348"/>
                  </a:lnTo>
                  <a:lnTo>
                    <a:pt x="978" y="366"/>
                  </a:lnTo>
                  <a:lnTo>
                    <a:pt x="972" y="384"/>
                  </a:lnTo>
                  <a:lnTo>
                    <a:pt x="972" y="402"/>
                  </a:lnTo>
                  <a:lnTo>
                    <a:pt x="966" y="408"/>
                  </a:lnTo>
                  <a:lnTo>
                    <a:pt x="966" y="414"/>
                  </a:lnTo>
                  <a:lnTo>
                    <a:pt x="990" y="444"/>
                  </a:lnTo>
                  <a:lnTo>
                    <a:pt x="1002" y="498"/>
                  </a:lnTo>
                  <a:lnTo>
                    <a:pt x="1050" y="528"/>
                  </a:lnTo>
                  <a:lnTo>
                    <a:pt x="1038" y="564"/>
                  </a:lnTo>
                  <a:lnTo>
                    <a:pt x="1068" y="582"/>
                  </a:lnTo>
                  <a:lnTo>
                    <a:pt x="1050" y="606"/>
                  </a:lnTo>
                  <a:lnTo>
                    <a:pt x="1068" y="636"/>
                  </a:lnTo>
                  <a:lnTo>
                    <a:pt x="1056" y="648"/>
                  </a:lnTo>
                  <a:lnTo>
                    <a:pt x="1068" y="702"/>
                  </a:lnTo>
                  <a:lnTo>
                    <a:pt x="1110" y="696"/>
                  </a:lnTo>
                  <a:lnTo>
                    <a:pt x="1140" y="708"/>
                  </a:lnTo>
                  <a:lnTo>
                    <a:pt x="1146" y="696"/>
                  </a:lnTo>
                  <a:lnTo>
                    <a:pt x="1170" y="672"/>
                  </a:lnTo>
                  <a:lnTo>
                    <a:pt x="1182" y="672"/>
                  </a:lnTo>
                  <a:lnTo>
                    <a:pt x="1182" y="690"/>
                  </a:lnTo>
                  <a:lnTo>
                    <a:pt x="1188" y="702"/>
                  </a:lnTo>
                  <a:lnTo>
                    <a:pt x="1188" y="726"/>
                  </a:lnTo>
                  <a:lnTo>
                    <a:pt x="1194" y="738"/>
                  </a:lnTo>
                  <a:lnTo>
                    <a:pt x="1212" y="738"/>
                  </a:lnTo>
                  <a:lnTo>
                    <a:pt x="1218" y="726"/>
                  </a:lnTo>
                  <a:lnTo>
                    <a:pt x="1218" y="720"/>
                  </a:lnTo>
                  <a:lnTo>
                    <a:pt x="1224" y="714"/>
                  </a:lnTo>
                  <a:lnTo>
                    <a:pt x="1224" y="708"/>
                  </a:lnTo>
                  <a:lnTo>
                    <a:pt x="1254" y="726"/>
                  </a:lnTo>
                  <a:lnTo>
                    <a:pt x="1266" y="720"/>
                  </a:lnTo>
                  <a:lnTo>
                    <a:pt x="1272" y="708"/>
                  </a:lnTo>
                  <a:lnTo>
                    <a:pt x="1284" y="702"/>
                  </a:lnTo>
                  <a:lnTo>
                    <a:pt x="1296" y="702"/>
                  </a:lnTo>
                  <a:lnTo>
                    <a:pt x="1296" y="714"/>
                  </a:lnTo>
                  <a:lnTo>
                    <a:pt x="1302" y="720"/>
                  </a:lnTo>
                  <a:lnTo>
                    <a:pt x="1302" y="738"/>
                  </a:lnTo>
                  <a:lnTo>
                    <a:pt x="1308" y="744"/>
                  </a:lnTo>
                  <a:lnTo>
                    <a:pt x="1332" y="744"/>
                  </a:lnTo>
                  <a:lnTo>
                    <a:pt x="1350" y="738"/>
                  </a:lnTo>
                  <a:lnTo>
                    <a:pt x="1362" y="732"/>
                  </a:lnTo>
                  <a:lnTo>
                    <a:pt x="1392" y="732"/>
                  </a:lnTo>
                  <a:lnTo>
                    <a:pt x="1404" y="744"/>
                  </a:lnTo>
                  <a:lnTo>
                    <a:pt x="1404" y="786"/>
                  </a:lnTo>
                  <a:lnTo>
                    <a:pt x="1398" y="798"/>
                  </a:lnTo>
                  <a:lnTo>
                    <a:pt x="1398" y="810"/>
                  </a:lnTo>
                  <a:lnTo>
                    <a:pt x="1404" y="810"/>
                  </a:lnTo>
                  <a:lnTo>
                    <a:pt x="1410" y="804"/>
                  </a:lnTo>
                  <a:lnTo>
                    <a:pt x="1422" y="798"/>
                  </a:lnTo>
                  <a:lnTo>
                    <a:pt x="1440" y="792"/>
                  </a:lnTo>
                  <a:lnTo>
                    <a:pt x="1452" y="786"/>
                  </a:lnTo>
                  <a:lnTo>
                    <a:pt x="1476" y="762"/>
                  </a:lnTo>
                  <a:lnTo>
                    <a:pt x="1482" y="750"/>
                  </a:lnTo>
                  <a:lnTo>
                    <a:pt x="1500" y="732"/>
                  </a:lnTo>
                  <a:lnTo>
                    <a:pt x="1500" y="726"/>
                  </a:lnTo>
                  <a:close/>
                  <a:moveTo>
                    <a:pt x="1476" y="1116"/>
                  </a:moveTo>
                  <a:lnTo>
                    <a:pt x="1470" y="1116"/>
                  </a:lnTo>
                  <a:lnTo>
                    <a:pt x="1458" y="1122"/>
                  </a:lnTo>
                  <a:lnTo>
                    <a:pt x="1452" y="1128"/>
                  </a:lnTo>
                  <a:lnTo>
                    <a:pt x="1458" y="1134"/>
                  </a:lnTo>
                  <a:lnTo>
                    <a:pt x="1470" y="1140"/>
                  </a:lnTo>
                  <a:lnTo>
                    <a:pt x="1476" y="1140"/>
                  </a:lnTo>
                  <a:lnTo>
                    <a:pt x="1488" y="1146"/>
                  </a:lnTo>
                  <a:lnTo>
                    <a:pt x="1500" y="1134"/>
                  </a:lnTo>
                  <a:lnTo>
                    <a:pt x="1500" y="1128"/>
                  </a:lnTo>
                  <a:lnTo>
                    <a:pt x="1488" y="1116"/>
                  </a:lnTo>
                  <a:lnTo>
                    <a:pt x="1476" y="1116"/>
                  </a:lnTo>
                  <a:close/>
                  <a:moveTo>
                    <a:pt x="1716" y="1230"/>
                  </a:moveTo>
                  <a:lnTo>
                    <a:pt x="1680" y="1218"/>
                  </a:lnTo>
                  <a:lnTo>
                    <a:pt x="1674" y="1224"/>
                  </a:lnTo>
                  <a:lnTo>
                    <a:pt x="1674" y="1230"/>
                  </a:lnTo>
                  <a:lnTo>
                    <a:pt x="1686" y="1254"/>
                  </a:lnTo>
                  <a:lnTo>
                    <a:pt x="1692" y="1260"/>
                  </a:lnTo>
                  <a:lnTo>
                    <a:pt x="1704" y="1266"/>
                  </a:lnTo>
                  <a:lnTo>
                    <a:pt x="1716" y="1266"/>
                  </a:lnTo>
                  <a:lnTo>
                    <a:pt x="1722" y="1260"/>
                  </a:lnTo>
                  <a:lnTo>
                    <a:pt x="1740" y="1260"/>
                  </a:lnTo>
                  <a:lnTo>
                    <a:pt x="1746" y="1266"/>
                  </a:lnTo>
                  <a:lnTo>
                    <a:pt x="1746" y="1278"/>
                  </a:lnTo>
                  <a:lnTo>
                    <a:pt x="1752" y="1290"/>
                  </a:lnTo>
                  <a:lnTo>
                    <a:pt x="1764" y="1296"/>
                  </a:lnTo>
                  <a:lnTo>
                    <a:pt x="1788" y="1296"/>
                  </a:lnTo>
                  <a:lnTo>
                    <a:pt x="1794" y="1290"/>
                  </a:lnTo>
                  <a:lnTo>
                    <a:pt x="1800" y="1290"/>
                  </a:lnTo>
                  <a:lnTo>
                    <a:pt x="1800" y="1284"/>
                  </a:lnTo>
                  <a:lnTo>
                    <a:pt x="1794" y="1272"/>
                  </a:lnTo>
                  <a:lnTo>
                    <a:pt x="1782" y="1260"/>
                  </a:lnTo>
                  <a:lnTo>
                    <a:pt x="1770" y="1236"/>
                  </a:lnTo>
                  <a:lnTo>
                    <a:pt x="1746" y="1224"/>
                  </a:lnTo>
                  <a:lnTo>
                    <a:pt x="1728" y="1224"/>
                  </a:lnTo>
                  <a:lnTo>
                    <a:pt x="1716" y="1230"/>
                  </a:lnTo>
                  <a:close/>
                  <a:moveTo>
                    <a:pt x="1962" y="1122"/>
                  </a:moveTo>
                  <a:lnTo>
                    <a:pt x="1932" y="1146"/>
                  </a:lnTo>
                  <a:lnTo>
                    <a:pt x="1920" y="1134"/>
                  </a:lnTo>
                  <a:lnTo>
                    <a:pt x="1890" y="1134"/>
                  </a:lnTo>
                  <a:lnTo>
                    <a:pt x="1884" y="1140"/>
                  </a:lnTo>
                  <a:lnTo>
                    <a:pt x="1872" y="1146"/>
                  </a:lnTo>
                  <a:lnTo>
                    <a:pt x="1866" y="1152"/>
                  </a:lnTo>
                  <a:lnTo>
                    <a:pt x="1860" y="1140"/>
                  </a:lnTo>
                  <a:lnTo>
                    <a:pt x="1836" y="1116"/>
                  </a:lnTo>
                  <a:lnTo>
                    <a:pt x="1824" y="1116"/>
                  </a:lnTo>
                  <a:lnTo>
                    <a:pt x="1800" y="1128"/>
                  </a:lnTo>
                  <a:lnTo>
                    <a:pt x="1764" y="1164"/>
                  </a:lnTo>
                  <a:lnTo>
                    <a:pt x="1728" y="1158"/>
                  </a:lnTo>
                  <a:lnTo>
                    <a:pt x="1716" y="1176"/>
                  </a:lnTo>
                  <a:lnTo>
                    <a:pt x="1746" y="1176"/>
                  </a:lnTo>
                  <a:lnTo>
                    <a:pt x="1752" y="1182"/>
                  </a:lnTo>
                  <a:lnTo>
                    <a:pt x="1764" y="1182"/>
                  </a:lnTo>
                  <a:lnTo>
                    <a:pt x="1776" y="1188"/>
                  </a:lnTo>
                  <a:lnTo>
                    <a:pt x="1788" y="1188"/>
                  </a:lnTo>
                  <a:lnTo>
                    <a:pt x="1794" y="1182"/>
                  </a:lnTo>
                  <a:lnTo>
                    <a:pt x="1806" y="1176"/>
                  </a:lnTo>
                  <a:lnTo>
                    <a:pt x="1812" y="1170"/>
                  </a:lnTo>
                  <a:lnTo>
                    <a:pt x="1908" y="1164"/>
                  </a:lnTo>
                  <a:lnTo>
                    <a:pt x="1956" y="1158"/>
                  </a:lnTo>
                  <a:lnTo>
                    <a:pt x="1992" y="1128"/>
                  </a:lnTo>
                  <a:lnTo>
                    <a:pt x="1992" y="1110"/>
                  </a:lnTo>
                  <a:lnTo>
                    <a:pt x="1962" y="1122"/>
                  </a:lnTo>
                  <a:close/>
                  <a:moveTo>
                    <a:pt x="1578" y="1158"/>
                  </a:moveTo>
                  <a:lnTo>
                    <a:pt x="1566" y="1152"/>
                  </a:lnTo>
                  <a:lnTo>
                    <a:pt x="1560" y="1146"/>
                  </a:lnTo>
                  <a:lnTo>
                    <a:pt x="1548" y="1140"/>
                  </a:lnTo>
                  <a:lnTo>
                    <a:pt x="1536" y="1140"/>
                  </a:lnTo>
                  <a:lnTo>
                    <a:pt x="1512" y="1164"/>
                  </a:lnTo>
                  <a:lnTo>
                    <a:pt x="1506" y="1176"/>
                  </a:lnTo>
                  <a:lnTo>
                    <a:pt x="1500" y="1182"/>
                  </a:lnTo>
                  <a:lnTo>
                    <a:pt x="1554" y="1188"/>
                  </a:lnTo>
                  <a:lnTo>
                    <a:pt x="1554" y="1212"/>
                  </a:lnTo>
                  <a:lnTo>
                    <a:pt x="1578" y="1206"/>
                  </a:lnTo>
                  <a:lnTo>
                    <a:pt x="1590" y="1188"/>
                  </a:lnTo>
                  <a:lnTo>
                    <a:pt x="1614" y="1206"/>
                  </a:lnTo>
                  <a:lnTo>
                    <a:pt x="1644" y="1170"/>
                  </a:lnTo>
                  <a:lnTo>
                    <a:pt x="1596" y="1152"/>
                  </a:lnTo>
                  <a:lnTo>
                    <a:pt x="1578" y="1158"/>
                  </a:lnTo>
                  <a:close/>
                </a:path>
              </a:pathLst>
            </a:custGeom>
            <a:solidFill>
              <a:srgbClr val="FFC000"/>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44" name="India" descr="© INSCALE GmbH, 05.05.2010&#10;http://www.presentationload.com/"/>
            <p:cNvSpPr>
              <a:spLocks noEditPoints="1"/>
            </p:cNvSpPr>
            <p:nvPr/>
          </p:nvSpPr>
          <p:spPr bwMode="gray">
            <a:xfrm>
              <a:off x="6134105" y="2909887"/>
              <a:ext cx="785813" cy="949324"/>
            </a:xfrm>
            <a:custGeom>
              <a:avLst/>
              <a:gdLst>
                <a:gd name="T0" fmla="*/ 2147483647 w 1956"/>
                <a:gd name="T1" fmla="*/ 2147483647 h 2358"/>
                <a:gd name="T2" fmla="*/ 2147483647 w 1956"/>
                <a:gd name="T3" fmla="*/ 2147483647 h 2358"/>
                <a:gd name="T4" fmla="*/ 2147483647 w 1956"/>
                <a:gd name="T5" fmla="*/ 2147483647 h 2358"/>
                <a:gd name="T6" fmla="*/ 2147483647 w 1956"/>
                <a:gd name="T7" fmla="*/ 2147483647 h 2358"/>
                <a:gd name="T8" fmla="*/ 2147483647 w 1956"/>
                <a:gd name="T9" fmla="*/ 2147483647 h 2358"/>
                <a:gd name="T10" fmla="*/ 2147483647 w 1956"/>
                <a:gd name="T11" fmla="*/ 2147483647 h 2358"/>
                <a:gd name="T12" fmla="*/ 2147483647 w 1956"/>
                <a:gd name="T13" fmla="*/ 2147483647 h 2358"/>
                <a:gd name="T14" fmla="*/ 2147483647 w 1956"/>
                <a:gd name="T15" fmla="*/ 2147483647 h 2358"/>
                <a:gd name="T16" fmla="*/ 2147483647 w 1956"/>
                <a:gd name="T17" fmla="*/ 2147483647 h 2358"/>
                <a:gd name="T18" fmla="*/ 2147483647 w 1956"/>
                <a:gd name="T19" fmla="*/ 2147483647 h 2358"/>
                <a:gd name="T20" fmla="*/ 2147483647 w 1956"/>
                <a:gd name="T21" fmla="*/ 2147483647 h 2358"/>
                <a:gd name="T22" fmla="*/ 2147483647 w 1956"/>
                <a:gd name="T23" fmla="*/ 2147483647 h 2358"/>
                <a:gd name="T24" fmla="*/ 2147483647 w 1956"/>
                <a:gd name="T25" fmla="*/ 2147483647 h 2358"/>
                <a:gd name="T26" fmla="*/ 2147483647 w 1956"/>
                <a:gd name="T27" fmla="*/ 2147483647 h 2358"/>
                <a:gd name="T28" fmla="*/ 2147483647 w 1956"/>
                <a:gd name="T29" fmla="*/ 2147483647 h 2358"/>
                <a:gd name="T30" fmla="*/ 2147483647 w 1956"/>
                <a:gd name="T31" fmla="*/ 2147483647 h 2358"/>
                <a:gd name="T32" fmla="*/ 2147483647 w 1956"/>
                <a:gd name="T33" fmla="*/ 2147483647 h 2358"/>
                <a:gd name="T34" fmla="*/ 2147483647 w 1956"/>
                <a:gd name="T35" fmla="*/ 2147483647 h 2358"/>
                <a:gd name="T36" fmla="*/ 2147483647 w 1956"/>
                <a:gd name="T37" fmla="*/ 2147483647 h 2358"/>
                <a:gd name="T38" fmla="*/ 2147483647 w 1956"/>
                <a:gd name="T39" fmla="*/ 2147483647 h 2358"/>
                <a:gd name="T40" fmla="*/ 2147483647 w 1956"/>
                <a:gd name="T41" fmla="*/ 2147483647 h 2358"/>
                <a:gd name="T42" fmla="*/ 2147483647 w 1956"/>
                <a:gd name="T43" fmla="*/ 2147483647 h 2358"/>
                <a:gd name="T44" fmla="*/ 2147483647 w 1956"/>
                <a:gd name="T45" fmla="*/ 2147483647 h 2358"/>
                <a:gd name="T46" fmla="*/ 2147483647 w 1956"/>
                <a:gd name="T47" fmla="*/ 2147483647 h 2358"/>
                <a:gd name="T48" fmla="*/ 2147483647 w 1956"/>
                <a:gd name="T49" fmla="*/ 2147483647 h 2358"/>
                <a:gd name="T50" fmla="*/ 2147483647 w 1956"/>
                <a:gd name="T51" fmla="*/ 2147483647 h 2358"/>
                <a:gd name="T52" fmla="*/ 2147483647 w 1956"/>
                <a:gd name="T53" fmla="*/ 2147483647 h 2358"/>
                <a:gd name="T54" fmla="*/ 2147483647 w 1956"/>
                <a:gd name="T55" fmla="*/ 2147483647 h 2358"/>
                <a:gd name="T56" fmla="*/ 2147483647 w 1956"/>
                <a:gd name="T57" fmla="*/ 2147483647 h 2358"/>
                <a:gd name="T58" fmla="*/ 2147483647 w 1956"/>
                <a:gd name="T59" fmla="*/ 2147483647 h 2358"/>
                <a:gd name="T60" fmla="*/ 2147483647 w 1956"/>
                <a:gd name="T61" fmla="*/ 2147483647 h 2358"/>
                <a:gd name="T62" fmla="*/ 2147483647 w 1956"/>
                <a:gd name="T63" fmla="*/ 2147483647 h 2358"/>
                <a:gd name="T64" fmla="*/ 2147483647 w 1956"/>
                <a:gd name="T65" fmla="*/ 2147483647 h 2358"/>
                <a:gd name="T66" fmla="*/ 2147483647 w 1956"/>
                <a:gd name="T67" fmla="*/ 2147483647 h 2358"/>
                <a:gd name="T68" fmla="*/ 2147483647 w 1956"/>
                <a:gd name="T69" fmla="*/ 2147483647 h 2358"/>
                <a:gd name="T70" fmla="*/ 2147483647 w 1956"/>
                <a:gd name="T71" fmla="*/ 2147483647 h 2358"/>
                <a:gd name="T72" fmla="*/ 2147483647 w 1956"/>
                <a:gd name="T73" fmla="*/ 2147483647 h 2358"/>
                <a:gd name="T74" fmla="*/ 2147483647 w 1956"/>
                <a:gd name="T75" fmla="*/ 2147483647 h 2358"/>
                <a:gd name="T76" fmla="*/ 2147483647 w 1956"/>
                <a:gd name="T77" fmla="*/ 2147483647 h 2358"/>
                <a:gd name="T78" fmla="*/ 2147483647 w 1956"/>
                <a:gd name="T79" fmla="*/ 2147483647 h 2358"/>
                <a:gd name="T80" fmla="*/ 2147483647 w 1956"/>
                <a:gd name="T81" fmla="*/ 2147483647 h 2358"/>
                <a:gd name="T82" fmla="*/ 2147483647 w 1956"/>
                <a:gd name="T83" fmla="*/ 2147483647 h 2358"/>
                <a:gd name="T84" fmla="*/ 2147483647 w 1956"/>
                <a:gd name="T85" fmla="*/ 2147483647 h 2358"/>
                <a:gd name="T86" fmla="*/ 2147483647 w 1956"/>
                <a:gd name="T87" fmla="*/ 2147483647 h 2358"/>
                <a:gd name="T88" fmla="*/ 2147483647 w 1956"/>
                <a:gd name="T89" fmla="*/ 2147483647 h 2358"/>
                <a:gd name="T90" fmla="*/ 2147483647 w 1956"/>
                <a:gd name="T91" fmla="*/ 2147483647 h 2358"/>
                <a:gd name="T92" fmla="*/ 2147483647 w 1956"/>
                <a:gd name="T93" fmla="*/ 2147483647 h 2358"/>
                <a:gd name="T94" fmla="*/ 2147483647 w 1956"/>
                <a:gd name="T95" fmla="*/ 2147483647 h 2358"/>
                <a:gd name="T96" fmla="*/ 2147483647 w 1956"/>
                <a:gd name="T97" fmla="*/ 2147483647 h 2358"/>
                <a:gd name="T98" fmla="*/ 2147483647 w 1956"/>
                <a:gd name="T99" fmla="*/ 2147483647 h 2358"/>
                <a:gd name="T100" fmla="*/ 2147483647 w 1956"/>
                <a:gd name="T101" fmla="*/ 2147483647 h 2358"/>
                <a:gd name="T102" fmla="*/ 2147483647 w 1956"/>
                <a:gd name="T103" fmla="*/ 2147483647 h 2358"/>
                <a:gd name="T104" fmla="*/ 2147483647 w 1956"/>
                <a:gd name="T105" fmla="*/ 2147483647 h 2358"/>
                <a:gd name="T106" fmla="*/ 2147483647 w 1956"/>
                <a:gd name="T107" fmla="*/ 2147483647 h 2358"/>
                <a:gd name="T108" fmla="*/ 2147483647 w 1956"/>
                <a:gd name="T109" fmla="*/ 2147483647 h 2358"/>
                <a:gd name="T110" fmla="*/ 2147483647 w 1956"/>
                <a:gd name="T111" fmla="*/ 2147483647 h 2358"/>
                <a:gd name="T112" fmla="*/ 2147483647 w 1956"/>
                <a:gd name="T113" fmla="*/ 2147483647 h 2358"/>
                <a:gd name="T114" fmla="*/ 2147483647 w 1956"/>
                <a:gd name="T115" fmla="*/ 2147483647 h 2358"/>
                <a:gd name="T116" fmla="*/ 2147483647 w 1956"/>
                <a:gd name="T117" fmla="*/ 2147483647 h 2358"/>
                <a:gd name="T118" fmla="*/ 2147483647 w 1956"/>
                <a:gd name="T119" fmla="*/ 2147483647 h 235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956"/>
                <a:gd name="T181" fmla="*/ 0 h 2358"/>
                <a:gd name="T182" fmla="*/ 1956 w 1956"/>
                <a:gd name="T183" fmla="*/ 2358 h 235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956" h="2358">
                  <a:moveTo>
                    <a:pt x="1806" y="1788"/>
                  </a:moveTo>
                  <a:lnTo>
                    <a:pt x="1794" y="1800"/>
                  </a:lnTo>
                  <a:lnTo>
                    <a:pt x="1782" y="1824"/>
                  </a:lnTo>
                  <a:lnTo>
                    <a:pt x="1782" y="1884"/>
                  </a:lnTo>
                  <a:lnTo>
                    <a:pt x="1788" y="1980"/>
                  </a:lnTo>
                  <a:lnTo>
                    <a:pt x="1800" y="1950"/>
                  </a:lnTo>
                  <a:lnTo>
                    <a:pt x="1800" y="1848"/>
                  </a:lnTo>
                  <a:lnTo>
                    <a:pt x="1806" y="1836"/>
                  </a:lnTo>
                  <a:lnTo>
                    <a:pt x="1806" y="1830"/>
                  </a:lnTo>
                  <a:lnTo>
                    <a:pt x="1812" y="1818"/>
                  </a:lnTo>
                  <a:lnTo>
                    <a:pt x="1812" y="1806"/>
                  </a:lnTo>
                  <a:lnTo>
                    <a:pt x="1818" y="1800"/>
                  </a:lnTo>
                  <a:lnTo>
                    <a:pt x="1812" y="1788"/>
                  </a:lnTo>
                  <a:lnTo>
                    <a:pt x="1806" y="1788"/>
                  </a:lnTo>
                  <a:close/>
                  <a:moveTo>
                    <a:pt x="1794" y="2028"/>
                  </a:moveTo>
                  <a:lnTo>
                    <a:pt x="1788" y="2028"/>
                  </a:lnTo>
                  <a:lnTo>
                    <a:pt x="1782" y="2040"/>
                  </a:lnTo>
                  <a:lnTo>
                    <a:pt x="1782" y="2046"/>
                  </a:lnTo>
                  <a:lnTo>
                    <a:pt x="1788" y="2058"/>
                  </a:lnTo>
                  <a:lnTo>
                    <a:pt x="1788" y="2064"/>
                  </a:lnTo>
                  <a:lnTo>
                    <a:pt x="1794" y="2076"/>
                  </a:lnTo>
                  <a:lnTo>
                    <a:pt x="1800" y="2064"/>
                  </a:lnTo>
                  <a:lnTo>
                    <a:pt x="1800" y="2028"/>
                  </a:lnTo>
                  <a:lnTo>
                    <a:pt x="1794" y="2028"/>
                  </a:lnTo>
                  <a:close/>
                  <a:moveTo>
                    <a:pt x="1890" y="2310"/>
                  </a:moveTo>
                  <a:lnTo>
                    <a:pt x="1884" y="2316"/>
                  </a:lnTo>
                  <a:lnTo>
                    <a:pt x="1884" y="2334"/>
                  </a:lnTo>
                  <a:lnTo>
                    <a:pt x="1890" y="2346"/>
                  </a:lnTo>
                  <a:lnTo>
                    <a:pt x="1896" y="2352"/>
                  </a:lnTo>
                  <a:lnTo>
                    <a:pt x="1908" y="2358"/>
                  </a:lnTo>
                  <a:lnTo>
                    <a:pt x="1908" y="2346"/>
                  </a:lnTo>
                  <a:lnTo>
                    <a:pt x="1902" y="2334"/>
                  </a:lnTo>
                  <a:lnTo>
                    <a:pt x="1902" y="2322"/>
                  </a:lnTo>
                  <a:lnTo>
                    <a:pt x="1896" y="2310"/>
                  </a:lnTo>
                  <a:lnTo>
                    <a:pt x="1890" y="2310"/>
                  </a:lnTo>
                  <a:close/>
                  <a:moveTo>
                    <a:pt x="1920" y="672"/>
                  </a:moveTo>
                  <a:lnTo>
                    <a:pt x="1932" y="660"/>
                  </a:lnTo>
                  <a:lnTo>
                    <a:pt x="1944" y="654"/>
                  </a:lnTo>
                  <a:lnTo>
                    <a:pt x="1950" y="648"/>
                  </a:lnTo>
                  <a:lnTo>
                    <a:pt x="1956" y="648"/>
                  </a:lnTo>
                  <a:lnTo>
                    <a:pt x="1956" y="618"/>
                  </a:lnTo>
                  <a:lnTo>
                    <a:pt x="1950" y="618"/>
                  </a:lnTo>
                  <a:lnTo>
                    <a:pt x="1944" y="612"/>
                  </a:lnTo>
                  <a:lnTo>
                    <a:pt x="1878" y="612"/>
                  </a:lnTo>
                  <a:lnTo>
                    <a:pt x="1878" y="606"/>
                  </a:lnTo>
                  <a:lnTo>
                    <a:pt x="1890" y="594"/>
                  </a:lnTo>
                  <a:lnTo>
                    <a:pt x="1896" y="594"/>
                  </a:lnTo>
                  <a:lnTo>
                    <a:pt x="1878" y="564"/>
                  </a:lnTo>
                  <a:lnTo>
                    <a:pt x="1848" y="564"/>
                  </a:lnTo>
                  <a:lnTo>
                    <a:pt x="1842" y="558"/>
                  </a:lnTo>
                  <a:lnTo>
                    <a:pt x="1848" y="558"/>
                  </a:lnTo>
                  <a:lnTo>
                    <a:pt x="1860" y="546"/>
                  </a:lnTo>
                  <a:lnTo>
                    <a:pt x="1854" y="540"/>
                  </a:lnTo>
                  <a:lnTo>
                    <a:pt x="1818" y="522"/>
                  </a:lnTo>
                  <a:lnTo>
                    <a:pt x="1806" y="534"/>
                  </a:lnTo>
                  <a:lnTo>
                    <a:pt x="1806" y="558"/>
                  </a:lnTo>
                  <a:lnTo>
                    <a:pt x="1788" y="558"/>
                  </a:lnTo>
                  <a:lnTo>
                    <a:pt x="1770" y="546"/>
                  </a:lnTo>
                  <a:lnTo>
                    <a:pt x="1758" y="540"/>
                  </a:lnTo>
                  <a:lnTo>
                    <a:pt x="1740" y="540"/>
                  </a:lnTo>
                  <a:lnTo>
                    <a:pt x="1728" y="552"/>
                  </a:lnTo>
                  <a:lnTo>
                    <a:pt x="1716" y="558"/>
                  </a:lnTo>
                  <a:lnTo>
                    <a:pt x="1692" y="582"/>
                  </a:lnTo>
                  <a:lnTo>
                    <a:pt x="1656" y="582"/>
                  </a:lnTo>
                  <a:lnTo>
                    <a:pt x="1656" y="588"/>
                  </a:lnTo>
                  <a:lnTo>
                    <a:pt x="1662" y="594"/>
                  </a:lnTo>
                  <a:lnTo>
                    <a:pt x="1662" y="618"/>
                  </a:lnTo>
                  <a:lnTo>
                    <a:pt x="1656" y="624"/>
                  </a:lnTo>
                  <a:lnTo>
                    <a:pt x="1626" y="624"/>
                  </a:lnTo>
                  <a:lnTo>
                    <a:pt x="1632" y="636"/>
                  </a:lnTo>
                  <a:lnTo>
                    <a:pt x="1632" y="654"/>
                  </a:lnTo>
                  <a:lnTo>
                    <a:pt x="1620" y="666"/>
                  </a:lnTo>
                  <a:lnTo>
                    <a:pt x="1566" y="666"/>
                  </a:lnTo>
                  <a:lnTo>
                    <a:pt x="1566" y="684"/>
                  </a:lnTo>
                  <a:lnTo>
                    <a:pt x="1572" y="690"/>
                  </a:lnTo>
                  <a:lnTo>
                    <a:pt x="1596" y="690"/>
                  </a:lnTo>
                  <a:lnTo>
                    <a:pt x="1596" y="714"/>
                  </a:lnTo>
                  <a:lnTo>
                    <a:pt x="1608" y="726"/>
                  </a:lnTo>
                  <a:lnTo>
                    <a:pt x="1608" y="732"/>
                  </a:lnTo>
                  <a:lnTo>
                    <a:pt x="1584" y="744"/>
                  </a:lnTo>
                  <a:lnTo>
                    <a:pt x="1572" y="744"/>
                  </a:lnTo>
                  <a:lnTo>
                    <a:pt x="1566" y="738"/>
                  </a:lnTo>
                  <a:lnTo>
                    <a:pt x="1554" y="738"/>
                  </a:lnTo>
                  <a:lnTo>
                    <a:pt x="1542" y="744"/>
                  </a:lnTo>
                  <a:lnTo>
                    <a:pt x="1512" y="744"/>
                  </a:lnTo>
                  <a:lnTo>
                    <a:pt x="1500" y="738"/>
                  </a:lnTo>
                  <a:lnTo>
                    <a:pt x="1482" y="738"/>
                  </a:lnTo>
                  <a:lnTo>
                    <a:pt x="1476" y="744"/>
                  </a:lnTo>
                  <a:lnTo>
                    <a:pt x="1464" y="750"/>
                  </a:lnTo>
                  <a:lnTo>
                    <a:pt x="1440" y="750"/>
                  </a:lnTo>
                  <a:lnTo>
                    <a:pt x="1428" y="738"/>
                  </a:lnTo>
                  <a:lnTo>
                    <a:pt x="1428" y="732"/>
                  </a:lnTo>
                  <a:lnTo>
                    <a:pt x="1428" y="738"/>
                  </a:lnTo>
                  <a:lnTo>
                    <a:pt x="1416" y="738"/>
                  </a:lnTo>
                  <a:lnTo>
                    <a:pt x="1392" y="726"/>
                  </a:lnTo>
                  <a:lnTo>
                    <a:pt x="1374" y="708"/>
                  </a:lnTo>
                  <a:lnTo>
                    <a:pt x="1374" y="696"/>
                  </a:lnTo>
                  <a:lnTo>
                    <a:pt x="1380" y="696"/>
                  </a:lnTo>
                  <a:lnTo>
                    <a:pt x="1374" y="696"/>
                  </a:lnTo>
                  <a:lnTo>
                    <a:pt x="1368" y="690"/>
                  </a:lnTo>
                  <a:lnTo>
                    <a:pt x="1368" y="642"/>
                  </a:lnTo>
                  <a:lnTo>
                    <a:pt x="1362" y="636"/>
                  </a:lnTo>
                  <a:lnTo>
                    <a:pt x="1350" y="630"/>
                  </a:lnTo>
                  <a:lnTo>
                    <a:pt x="1338" y="630"/>
                  </a:lnTo>
                  <a:lnTo>
                    <a:pt x="1326" y="642"/>
                  </a:lnTo>
                  <a:lnTo>
                    <a:pt x="1314" y="648"/>
                  </a:lnTo>
                  <a:lnTo>
                    <a:pt x="1326" y="666"/>
                  </a:lnTo>
                  <a:lnTo>
                    <a:pt x="1326" y="714"/>
                  </a:lnTo>
                  <a:lnTo>
                    <a:pt x="1338" y="738"/>
                  </a:lnTo>
                  <a:lnTo>
                    <a:pt x="1338" y="774"/>
                  </a:lnTo>
                  <a:lnTo>
                    <a:pt x="1272" y="774"/>
                  </a:lnTo>
                  <a:lnTo>
                    <a:pt x="1272" y="762"/>
                  </a:lnTo>
                  <a:lnTo>
                    <a:pt x="1266" y="756"/>
                  </a:lnTo>
                  <a:lnTo>
                    <a:pt x="1260" y="756"/>
                  </a:lnTo>
                  <a:lnTo>
                    <a:pt x="1248" y="762"/>
                  </a:lnTo>
                  <a:lnTo>
                    <a:pt x="1242" y="774"/>
                  </a:lnTo>
                  <a:lnTo>
                    <a:pt x="1236" y="762"/>
                  </a:lnTo>
                  <a:lnTo>
                    <a:pt x="1224" y="756"/>
                  </a:lnTo>
                  <a:lnTo>
                    <a:pt x="1206" y="750"/>
                  </a:lnTo>
                  <a:lnTo>
                    <a:pt x="1188" y="750"/>
                  </a:lnTo>
                  <a:lnTo>
                    <a:pt x="1182" y="756"/>
                  </a:lnTo>
                  <a:lnTo>
                    <a:pt x="1152" y="738"/>
                  </a:lnTo>
                  <a:lnTo>
                    <a:pt x="1134" y="750"/>
                  </a:lnTo>
                  <a:lnTo>
                    <a:pt x="1080" y="696"/>
                  </a:lnTo>
                  <a:lnTo>
                    <a:pt x="1056" y="696"/>
                  </a:lnTo>
                  <a:lnTo>
                    <a:pt x="1056" y="690"/>
                  </a:lnTo>
                  <a:lnTo>
                    <a:pt x="1044" y="678"/>
                  </a:lnTo>
                  <a:lnTo>
                    <a:pt x="1038" y="678"/>
                  </a:lnTo>
                  <a:lnTo>
                    <a:pt x="1032" y="684"/>
                  </a:lnTo>
                  <a:lnTo>
                    <a:pt x="1032" y="702"/>
                  </a:lnTo>
                  <a:lnTo>
                    <a:pt x="1032" y="696"/>
                  </a:lnTo>
                  <a:lnTo>
                    <a:pt x="1026" y="690"/>
                  </a:lnTo>
                  <a:lnTo>
                    <a:pt x="1008" y="690"/>
                  </a:lnTo>
                  <a:lnTo>
                    <a:pt x="996" y="702"/>
                  </a:lnTo>
                  <a:lnTo>
                    <a:pt x="990" y="690"/>
                  </a:lnTo>
                  <a:lnTo>
                    <a:pt x="984" y="684"/>
                  </a:lnTo>
                  <a:lnTo>
                    <a:pt x="960" y="684"/>
                  </a:lnTo>
                  <a:lnTo>
                    <a:pt x="954" y="678"/>
                  </a:lnTo>
                  <a:lnTo>
                    <a:pt x="954" y="666"/>
                  </a:lnTo>
                  <a:lnTo>
                    <a:pt x="942" y="666"/>
                  </a:lnTo>
                  <a:lnTo>
                    <a:pt x="936" y="672"/>
                  </a:lnTo>
                  <a:lnTo>
                    <a:pt x="918" y="672"/>
                  </a:lnTo>
                  <a:lnTo>
                    <a:pt x="912" y="666"/>
                  </a:lnTo>
                  <a:lnTo>
                    <a:pt x="906" y="654"/>
                  </a:lnTo>
                  <a:lnTo>
                    <a:pt x="900" y="648"/>
                  </a:lnTo>
                  <a:lnTo>
                    <a:pt x="888" y="648"/>
                  </a:lnTo>
                  <a:lnTo>
                    <a:pt x="846" y="630"/>
                  </a:lnTo>
                  <a:lnTo>
                    <a:pt x="834" y="612"/>
                  </a:lnTo>
                  <a:lnTo>
                    <a:pt x="810" y="612"/>
                  </a:lnTo>
                  <a:lnTo>
                    <a:pt x="792" y="588"/>
                  </a:lnTo>
                  <a:lnTo>
                    <a:pt x="780" y="594"/>
                  </a:lnTo>
                  <a:lnTo>
                    <a:pt x="750" y="564"/>
                  </a:lnTo>
                  <a:lnTo>
                    <a:pt x="750" y="552"/>
                  </a:lnTo>
                  <a:lnTo>
                    <a:pt x="762" y="540"/>
                  </a:lnTo>
                  <a:lnTo>
                    <a:pt x="768" y="540"/>
                  </a:lnTo>
                  <a:lnTo>
                    <a:pt x="756" y="528"/>
                  </a:lnTo>
                  <a:lnTo>
                    <a:pt x="756" y="522"/>
                  </a:lnTo>
                  <a:lnTo>
                    <a:pt x="762" y="516"/>
                  </a:lnTo>
                  <a:lnTo>
                    <a:pt x="756" y="504"/>
                  </a:lnTo>
                  <a:lnTo>
                    <a:pt x="780" y="480"/>
                  </a:lnTo>
                  <a:lnTo>
                    <a:pt x="786" y="456"/>
                  </a:lnTo>
                  <a:lnTo>
                    <a:pt x="762" y="438"/>
                  </a:lnTo>
                  <a:lnTo>
                    <a:pt x="750" y="438"/>
                  </a:lnTo>
                  <a:lnTo>
                    <a:pt x="738" y="432"/>
                  </a:lnTo>
                  <a:lnTo>
                    <a:pt x="738" y="414"/>
                  </a:lnTo>
                  <a:lnTo>
                    <a:pt x="720" y="420"/>
                  </a:lnTo>
                  <a:lnTo>
                    <a:pt x="702" y="402"/>
                  </a:lnTo>
                  <a:lnTo>
                    <a:pt x="696" y="402"/>
                  </a:lnTo>
                  <a:lnTo>
                    <a:pt x="690" y="396"/>
                  </a:lnTo>
                  <a:lnTo>
                    <a:pt x="678" y="396"/>
                  </a:lnTo>
                  <a:lnTo>
                    <a:pt x="666" y="390"/>
                  </a:lnTo>
                  <a:lnTo>
                    <a:pt x="654" y="378"/>
                  </a:lnTo>
                  <a:lnTo>
                    <a:pt x="648" y="366"/>
                  </a:lnTo>
                  <a:lnTo>
                    <a:pt x="618" y="366"/>
                  </a:lnTo>
                  <a:lnTo>
                    <a:pt x="612" y="360"/>
                  </a:lnTo>
                  <a:lnTo>
                    <a:pt x="612" y="342"/>
                  </a:lnTo>
                  <a:lnTo>
                    <a:pt x="618" y="336"/>
                  </a:lnTo>
                  <a:lnTo>
                    <a:pt x="618" y="324"/>
                  </a:lnTo>
                  <a:lnTo>
                    <a:pt x="612" y="324"/>
                  </a:lnTo>
                  <a:lnTo>
                    <a:pt x="600" y="312"/>
                  </a:lnTo>
                  <a:lnTo>
                    <a:pt x="594" y="300"/>
                  </a:lnTo>
                  <a:lnTo>
                    <a:pt x="588" y="294"/>
                  </a:lnTo>
                  <a:lnTo>
                    <a:pt x="588" y="276"/>
                  </a:lnTo>
                  <a:lnTo>
                    <a:pt x="594" y="276"/>
                  </a:lnTo>
                  <a:lnTo>
                    <a:pt x="600" y="270"/>
                  </a:lnTo>
                  <a:lnTo>
                    <a:pt x="612" y="270"/>
                  </a:lnTo>
                  <a:lnTo>
                    <a:pt x="612" y="288"/>
                  </a:lnTo>
                  <a:lnTo>
                    <a:pt x="624" y="300"/>
                  </a:lnTo>
                  <a:lnTo>
                    <a:pt x="636" y="282"/>
                  </a:lnTo>
                  <a:lnTo>
                    <a:pt x="642" y="282"/>
                  </a:lnTo>
                  <a:lnTo>
                    <a:pt x="648" y="276"/>
                  </a:lnTo>
                  <a:lnTo>
                    <a:pt x="660" y="270"/>
                  </a:lnTo>
                  <a:lnTo>
                    <a:pt x="660" y="258"/>
                  </a:lnTo>
                  <a:lnTo>
                    <a:pt x="642" y="240"/>
                  </a:lnTo>
                  <a:lnTo>
                    <a:pt x="636" y="228"/>
                  </a:lnTo>
                  <a:lnTo>
                    <a:pt x="630" y="222"/>
                  </a:lnTo>
                  <a:lnTo>
                    <a:pt x="618" y="222"/>
                  </a:lnTo>
                  <a:lnTo>
                    <a:pt x="594" y="210"/>
                  </a:lnTo>
                  <a:lnTo>
                    <a:pt x="594" y="186"/>
                  </a:lnTo>
                  <a:lnTo>
                    <a:pt x="612" y="180"/>
                  </a:lnTo>
                  <a:lnTo>
                    <a:pt x="594" y="156"/>
                  </a:lnTo>
                  <a:lnTo>
                    <a:pt x="624" y="156"/>
                  </a:lnTo>
                  <a:lnTo>
                    <a:pt x="636" y="150"/>
                  </a:lnTo>
                  <a:lnTo>
                    <a:pt x="642" y="138"/>
                  </a:lnTo>
                  <a:lnTo>
                    <a:pt x="642" y="114"/>
                  </a:lnTo>
                  <a:lnTo>
                    <a:pt x="636" y="108"/>
                  </a:lnTo>
                  <a:lnTo>
                    <a:pt x="636" y="102"/>
                  </a:lnTo>
                  <a:lnTo>
                    <a:pt x="654" y="102"/>
                  </a:lnTo>
                  <a:lnTo>
                    <a:pt x="660" y="96"/>
                  </a:lnTo>
                  <a:lnTo>
                    <a:pt x="660" y="36"/>
                  </a:lnTo>
                  <a:lnTo>
                    <a:pt x="618" y="36"/>
                  </a:lnTo>
                  <a:lnTo>
                    <a:pt x="594" y="12"/>
                  </a:lnTo>
                  <a:lnTo>
                    <a:pt x="576" y="0"/>
                  </a:lnTo>
                  <a:lnTo>
                    <a:pt x="564" y="0"/>
                  </a:lnTo>
                  <a:lnTo>
                    <a:pt x="540" y="12"/>
                  </a:lnTo>
                  <a:lnTo>
                    <a:pt x="522" y="18"/>
                  </a:lnTo>
                  <a:lnTo>
                    <a:pt x="516" y="30"/>
                  </a:lnTo>
                  <a:lnTo>
                    <a:pt x="504" y="36"/>
                  </a:lnTo>
                  <a:lnTo>
                    <a:pt x="480" y="36"/>
                  </a:lnTo>
                  <a:lnTo>
                    <a:pt x="456" y="72"/>
                  </a:lnTo>
                  <a:lnTo>
                    <a:pt x="432" y="78"/>
                  </a:lnTo>
                  <a:lnTo>
                    <a:pt x="432" y="96"/>
                  </a:lnTo>
                  <a:lnTo>
                    <a:pt x="408" y="96"/>
                  </a:lnTo>
                  <a:lnTo>
                    <a:pt x="402" y="102"/>
                  </a:lnTo>
                  <a:lnTo>
                    <a:pt x="396" y="96"/>
                  </a:lnTo>
                  <a:lnTo>
                    <a:pt x="390" y="102"/>
                  </a:lnTo>
                  <a:lnTo>
                    <a:pt x="378" y="108"/>
                  </a:lnTo>
                  <a:lnTo>
                    <a:pt x="372" y="114"/>
                  </a:lnTo>
                  <a:lnTo>
                    <a:pt x="360" y="120"/>
                  </a:lnTo>
                  <a:lnTo>
                    <a:pt x="348" y="120"/>
                  </a:lnTo>
                  <a:lnTo>
                    <a:pt x="348" y="108"/>
                  </a:lnTo>
                  <a:lnTo>
                    <a:pt x="342" y="102"/>
                  </a:lnTo>
                  <a:lnTo>
                    <a:pt x="324" y="102"/>
                  </a:lnTo>
                  <a:lnTo>
                    <a:pt x="306" y="96"/>
                  </a:lnTo>
                  <a:lnTo>
                    <a:pt x="264" y="96"/>
                  </a:lnTo>
                  <a:lnTo>
                    <a:pt x="240" y="108"/>
                  </a:lnTo>
                  <a:lnTo>
                    <a:pt x="234" y="120"/>
                  </a:lnTo>
                  <a:lnTo>
                    <a:pt x="234" y="126"/>
                  </a:lnTo>
                  <a:lnTo>
                    <a:pt x="258" y="144"/>
                  </a:lnTo>
                  <a:lnTo>
                    <a:pt x="252" y="156"/>
                  </a:lnTo>
                  <a:lnTo>
                    <a:pt x="282" y="162"/>
                  </a:lnTo>
                  <a:lnTo>
                    <a:pt x="276" y="168"/>
                  </a:lnTo>
                  <a:lnTo>
                    <a:pt x="270" y="180"/>
                  </a:lnTo>
                  <a:lnTo>
                    <a:pt x="264" y="186"/>
                  </a:lnTo>
                  <a:lnTo>
                    <a:pt x="264" y="192"/>
                  </a:lnTo>
                  <a:lnTo>
                    <a:pt x="276" y="204"/>
                  </a:lnTo>
                  <a:lnTo>
                    <a:pt x="282" y="204"/>
                  </a:lnTo>
                  <a:lnTo>
                    <a:pt x="282" y="210"/>
                  </a:lnTo>
                  <a:lnTo>
                    <a:pt x="276" y="222"/>
                  </a:lnTo>
                  <a:lnTo>
                    <a:pt x="276" y="234"/>
                  </a:lnTo>
                  <a:lnTo>
                    <a:pt x="294" y="234"/>
                  </a:lnTo>
                  <a:lnTo>
                    <a:pt x="306" y="252"/>
                  </a:lnTo>
                  <a:lnTo>
                    <a:pt x="324" y="252"/>
                  </a:lnTo>
                  <a:lnTo>
                    <a:pt x="330" y="288"/>
                  </a:lnTo>
                  <a:lnTo>
                    <a:pt x="366" y="288"/>
                  </a:lnTo>
                  <a:lnTo>
                    <a:pt x="378" y="294"/>
                  </a:lnTo>
                  <a:lnTo>
                    <a:pt x="384" y="300"/>
                  </a:lnTo>
                  <a:lnTo>
                    <a:pt x="384" y="306"/>
                  </a:lnTo>
                  <a:lnTo>
                    <a:pt x="378" y="312"/>
                  </a:lnTo>
                  <a:lnTo>
                    <a:pt x="354" y="324"/>
                  </a:lnTo>
                  <a:lnTo>
                    <a:pt x="342" y="324"/>
                  </a:lnTo>
                  <a:lnTo>
                    <a:pt x="336" y="330"/>
                  </a:lnTo>
                  <a:lnTo>
                    <a:pt x="336" y="366"/>
                  </a:lnTo>
                  <a:lnTo>
                    <a:pt x="342" y="378"/>
                  </a:lnTo>
                  <a:lnTo>
                    <a:pt x="354" y="390"/>
                  </a:lnTo>
                  <a:lnTo>
                    <a:pt x="354" y="396"/>
                  </a:lnTo>
                  <a:lnTo>
                    <a:pt x="324" y="414"/>
                  </a:lnTo>
                  <a:lnTo>
                    <a:pt x="300" y="450"/>
                  </a:lnTo>
                  <a:lnTo>
                    <a:pt x="318" y="474"/>
                  </a:lnTo>
                  <a:lnTo>
                    <a:pt x="306" y="474"/>
                  </a:lnTo>
                  <a:lnTo>
                    <a:pt x="300" y="480"/>
                  </a:lnTo>
                  <a:lnTo>
                    <a:pt x="288" y="486"/>
                  </a:lnTo>
                  <a:lnTo>
                    <a:pt x="282" y="492"/>
                  </a:lnTo>
                  <a:lnTo>
                    <a:pt x="282" y="504"/>
                  </a:lnTo>
                  <a:lnTo>
                    <a:pt x="276" y="522"/>
                  </a:lnTo>
                  <a:lnTo>
                    <a:pt x="276" y="534"/>
                  </a:lnTo>
                  <a:lnTo>
                    <a:pt x="270" y="552"/>
                  </a:lnTo>
                  <a:lnTo>
                    <a:pt x="258" y="564"/>
                  </a:lnTo>
                  <a:lnTo>
                    <a:pt x="234" y="576"/>
                  </a:lnTo>
                  <a:lnTo>
                    <a:pt x="228" y="582"/>
                  </a:lnTo>
                  <a:lnTo>
                    <a:pt x="228" y="588"/>
                  </a:lnTo>
                  <a:lnTo>
                    <a:pt x="222" y="594"/>
                  </a:lnTo>
                  <a:lnTo>
                    <a:pt x="222" y="612"/>
                  </a:lnTo>
                  <a:lnTo>
                    <a:pt x="204" y="624"/>
                  </a:lnTo>
                  <a:lnTo>
                    <a:pt x="204" y="630"/>
                  </a:lnTo>
                  <a:lnTo>
                    <a:pt x="198" y="636"/>
                  </a:lnTo>
                  <a:lnTo>
                    <a:pt x="192" y="648"/>
                  </a:lnTo>
                  <a:lnTo>
                    <a:pt x="186" y="654"/>
                  </a:lnTo>
                  <a:lnTo>
                    <a:pt x="168" y="654"/>
                  </a:lnTo>
                  <a:lnTo>
                    <a:pt x="162" y="648"/>
                  </a:lnTo>
                  <a:lnTo>
                    <a:pt x="156" y="654"/>
                  </a:lnTo>
                  <a:lnTo>
                    <a:pt x="132" y="666"/>
                  </a:lnTo>
                  <a:lnTo>
                    <a:pt x="126" y="666"/>
                  </a:lnTo>
                  <a:lnTo>
                    <a:pt x="120" y="660"/>
                  </a:lnTo>
                  <a:lnTo>
                    <a:pt x="120" y="648"/>
                  </a:lnTo>
                  <a:lnTo>
                    <a:pt x="114" y="642"/>
                  </a:lnTo>
                  <a:lnTo>
                    <a:pt x="108" y="642"/>
                  </a:lnTo>
                  <a:lnTo>
                    <a:pt x="96" y="648"/>
                  </a:lnTo>
                  <a:lnTo>
                    <a:pt x="84" y="660"/>
                  </a:lnTo>
                  <a:lnTo>
                    <a:pt x="84" y="666"/>
                  </a:lnTo>
                  <a:lnTo>
                    <a:pt x="78" y="678"/>
                  </a:lnTo>
                  <a:lnTo>
                    <a:pt x="72" y="684"/>
                  </a:lnTo>
                  <a:lnTo>
                    <a:pt x="66" y="696"/>
                  </a:lnTo>
                  <a:lnTo>
                    <a:pt x="54" y="708"/>
                  </a:lnTo>
                  <a:lnTo>
                    <a:pt x="48" y="720"/>
                  </a:lnTo>
                  <a:lnTo>
                    <a:pt x="48" y="744"/>
                  </a:lnTo>
                  <a:lnTo>
                    <a:pt x="54" y="750"/>
                  </a:lnTo>
                  <a:lnTo>
                    <a:pt x="66" y="756"/>
                  </a:lnTo>
                  <a:lnTo>
                    <a:pt x="72" y="756"/>
                  </a:lnTo>
                  <a:lnTo>
                    <a:pt x="102" y="750"/>
                  </a:lnTo>
                  <a:lnTo>
                    <a:pt x="102" y="768"/>
                  </a:lnTo>
                  <a:lnTo>
                    <a:pt x="96" y="798"/>
                  </a:lnTo>
                  <a:lnTo>
                    <a:pt x="102" y="804"/>
                  </a:lnTo>
                  <a:lnTo>
                    <a:pt x="108" y="816"/>
                  </a:lnTo>
                  <a:lnTo>
                    <a:pt x="120" y="828"/>
                  </a:lnTo>
                  <a:lnTo>
                    <a:pt x="144" y="828"/>
                  </a:lnTo>
                  <a:lnTo>
                    <a:pt x="144" y="852"/>
                  </a:lnTo>
                  <a:lnTo>
                    <a:pt x="168" y="894"/>
                  </a:lnTo>
                  <a:lnTo>
                    <a:pt x="174" y="906"/>
                  </a:lnTo>
                  <a:lnTo>
                    <a:pt x="180" y="912"/>
                  </a:lnTo>
                  <a:lnTo>
                    <a:pt x="180" y="936"/>
                  </a:lnTo>
                  <a:lnTo>
                    <a:pt x="168" y="942"/>
                  </a:lnTo>
                  <a:lnTo>
                    <a:pt x="162" y="948"/>
                  </a:lnTo>
                  <a:lnTo>
                    <a:pt x="144" y="948"/>
                  </a:lnTo>
                  <a:lnTo>
                    <a:pt x="138" y="942"/>
                  </a:lnTo>
                  <a:lnTo>
                    <a:pt x="138" y="930"/>
                  </a:lnTo>
                  <a:lnTo>
                    <a:pt x="132" y="930"/>
                  </a:lnTo>
                  <a:lnTo>
                    <a:pt x="120" y="936"/>
                  </a:lnTo>
                  <a:lnTo>
                    <a:pt x="108" y="948"/>
                  </a:lnTo>
                  <a:lnTo>
                    <a:pt x="84" y="948"/>
                  </a:lnTo>
                  <a:lnTo>
                    <a:pt x="78" y="942"/>
                  </a:lnTo>
                  <a:lnTo>
                    <a:pt x="78" y="936"/>
                  </a:lnTo>
                  <a:lnTo>
                    <a:pt x="54" y="948"/>
                  </a:lnTo>
                  <a:lnTo>
                    <a:pt x="48" y="942"/>
                  </a:lnTo>
                  <a:lnTo>
                    <a:pt x="36" y="936"/>
                  </a:lnTo>
                  <a:lnTo>
                    <a:pt x="24" y="936"/>
                  </a:lnTo>
                  <a:lnTo>
                    <a:pt x="12" y="948"/>
                  </a:lnTo>
                  <a:lnTo>
                    <a:pt x="12" y="960"/>
                  </a:lnTo>
                  <a:lnTo>
                    <a:pt x="18" y="966"/>
                  </a:lnTo>
                  <a:lnTo>
                    <a:pt x="0" y="972"/>
                  </a:lnTo>
                  <a:lnTo>
                    <a:pt x="36" y="972"/>
                  </a:lnTo>
                  <a:lnTo>
                    <a:pt x="30" y="984"/>
                  </a:lnTo>
                  <a:lnTo>
                    <a:pt x="30" y="1014"/>
                  </a:lnTo>
                  <a:lnTo>
                    <a:pt x="36" y="1026"/>
                  </a:lnTo>
                  <a:lnTo>
                    <a:pt x="48" y="1032"/>
                  </a:lnTo>
                  <a:lnTo>
                    <a:pt x="66" y="1038"/>
                  </a:lnTo>
                  <a:lnTo>
                    <a:pt x="120" y="1038"/>
                  </a:lnTo>
                  <a:lnTo>
                    <a:pt x="132" y="1032"/>
                  </a:lnTo>
                  <a:lnTo>
                    <a:pt x="150" y="1014"/>
                  </a:lnTo>
                  <a:lnTo>
                    <a:pt x="162" y="1008"/>
                  </a:lnTo>
                  <a:lnTo>
                    <a:pt x="168" y="1020"/>
                  </a:lnTo>
                  <a:lnTo>
                    <a:pt x="168" y="1026"/>
                  </a:lnTo>
                  <a:lnTo>
                    <a:pt x="162" y="1038"/>
                  </a:lnTo>
                  <a:lnTo>
                    <a:pt x="144" y="1056"/>
                  </a:lnTo>
                  <a:lnTo>
                    <a:pt x="120" y="1068"/>
                  </a:lnTo>
                  <a:lnTo>
                    <a:pt x="114" y="1074"/>
                  </a:lnTo>
                  <a:lnTo>
                    <a:pt x="90" y="1074"/>
                  </a:lnTo>
                  <a:lnTo>
                    <a:pt x="78" y="1080"/>
                  </a:lnTo>
                  <a:lnTo>
                    <a:pt x="60" y="1086"/>
                  </a:lnTo>
                  <a:lnTo>
                    <a:pt x="48" y="1092"/>
                  </a:lnTo>
                  <a:lnTo>
                    <a:pt x="42" y="1098"/>
                  </a:lnTo>
                  <a:lnTo>
                    <a:pt x="54" y="1122"/>
                  </a:lnTo>
                  <a:lnTo>
                    <a:pt x="66" y="1128"/>
                  </a:lnTo>
                  <a:lnTo>
                    <a:pt x="78" y="1140"/>
                  </a:lnTo>
                  <a:lnTo>
                    <a:pt x="96" y="1152"/>
                  </a:lnTo>
                  <a:lnTo>
                    <a:pt x="108" y="1164"/>
                  </a:lnTo>
                  <a:lnTo>
                    <a:pt x="132" y="1182"/>
                  </a:lnTo>
                  <a:lnTo>
                    <a:pt x="162" y="1206"/>
                  </a:lnTo>
                  <a:lnTo>
                    <a:pt x="204" y="1224"/>
                  </a:lnTo>
                  <a:lnTo>
                    <a:pt x="240" y="1218"/>
                  </a:lnTo>
                  <a:lnTo>
                    <a:pt x="270" y="1200"/>
                  </a:lnTo>
                  <a:lnTo>
                    <a:pt x="294" y="1176"/>
                  </a:lnTo>
                  <a:lnTo>
                    <a:pt x="300" y="1158"/>
                  </a:lnTo>
                  <a:lnTo>
                    <a:pt x="300" y="1128"/>
                  </a:lnTo>
                  <a:lnTo>
                    <a:pt x="306" y="1116"/>
                  </a:lnTo>
                  <a:lnTo>
                    <a:pt x="318" y="1104"/>
                  </a:lnTo>
                  <a:lnTo>
                    <a:pt x="324" y="1092"/>
                  </a:lnTo>
                  <a:lnTo>
                    <a:pt x="330" y="1086"/>
                  </a:lnTo>
                  <a:lnTo>
                    <a:pt x="342" y="1086"/>
                  </a:lnTo>
                  <a:lnTo>
                    <a:pt x="348" y="1080"/>
                  </a:lnTo>
                  <a:lnTo>
                    <a:pt x="354" y="1080"/>
                  </a:lnTo>
                  <a:lnTo>
                    <a:pt x="360" y="1086"/>
                  </a:lnTo>
                  <a:lnTo>
                    <a:pt x="360" y="1098"/>
                  </a:lnTo>
                  <a:lnTo>
                    <a:pt x="348" y="1110"/>
                  </a:lnTo>
                  <a:lnTo>
                    <a:pt x="336" y="1128"/>
                  </a:lnTo>
                  <a:lnTo>
                    <a:pt x="324" y="1140"/>
                  </a:lnTo>
                  <a:lnTo>
                    <a:pt x="318" y="1152"/>
                  </a:lnTo>
                  <a:lnTo>
                    <a:pt x="318" y="1164"/>
                  </a:lnTo>
                  <a:lnTo>
                    <a:pt x="324" y="1176"/>
                  </a:lnTo>
                  <a:lnTo>
                    <a:pt x="336" y="1182"/>
                  </a:lnTo>
                  <a:lnTo>
                    <a:pt x="342" y="1182"/>
                  </a:lnTo>
                  <a:lnTo>
                    <a:pt x="354" y="1194"/>
                  </a:lnTo>
                  <a:lnTo>
                    <a:pt x="354" y="1206"/>
                  </a:lnTo>
                  <a:lnTo>
                    <a:pt x="348" y="1242"/>
                  </a:lnTo>
                  <a:lnTo>
                    <a:pt x="342" y="1284"/>
                  </a:lnTo>
                  <a:lnTo>
                    <a:pt x="336" y="1338"/>
                  </a:lnTo>
                  <a:lnTo>
                    <a:pt x="342" y="1398"/>
                  </a:lnTo>
                  <a:lnTo>
                    <a:pt x="354" y="1446"/>
                  </a:lnTo>
                  <a:lnTo>
                    <a:pt x="384" y="1536"/>
                  </a:lnTo>
                  <a:lnTo>
                    <a:pt x="402" y="1554"/>
                  </a:lnTo>
                  <a:lnTo>
                    <a:pt x="402" y="1596"/>
                  </a:lnTo>
                  <a:lnTo>
                    <a:pt x="414" y="1620"/>
                  </a:lnTo>
                  <a:lnTo>
                    <a:pt x="426" y="1626"/>
                  </a:lnTo>
                  <a:lnTo>
                    <a:pt x="438" y="1626"/>
                  </a:lnTo>
                  <a:lnTo>
                    <a:pt x="444" y="1632"/>
                  </a:lnTo>
                  <a:lnTo>
                    <a:pt x="450" y="1632"/>
                  </a:lnTo>
                  <a:lnTo>
                    <a:pt x="450" y="1644"/>
                  </a:lnTo>
                  <a:lnTo>
                    <a:pt x="456" y="1656"/>
                  </a:lnTo>
                  <a:lnTo>
                    <a:pt x="456" y="1674"/>
                  </a:lnTo>
                  <a:lnTo>
                    <a:pt x="474" y="1710"/>
                  </a:lnTo>
                  <a:lnTo>
                    <a:pt x="498" y="1722"/>
                  </a:lnTo>
                  <a:lnTo>
                    <a:pt x="504" y="1728"/>
                  </a:lnTo>
                  <a:lnTo>
                    <a:pt x="510" y="1728"/>
                  </a:lnTo>
                  <a:lnTo>
                    <a:pt x="510" y="1746"/>
                  </a:lnTo>
                  <a:lnTo>
                    <a:pt x="516" y="1782"/>
                  </a:lnTo>
                  <a:lnTo>
                    <a:pt x="522" y="1830"/>
                  </a:lnTo>
                  <a:lnTo>
                    <a:pt x="534" y="1872"/>
                  </a:lnTo>
                  <a:lnTo>
                    <a:pt x="552" y="1908"/>
                  </a:lnTo>
                  <a:lnTo>
                    <a:pt x="576" y="1944"/>
                  </a:lnTo>
                  <a:lnTo>
                    <a:pt x="600" y="1974"/>
                  </a:lnTo>
                  <a:lnTo>
                    <a:pt x="612" y="1998"/>
                  </a:lnTo>
                  <a:lnTo>
                    <a:pt x="618" y="2016"/>
                  </a:lnTo>
                  <a:lnTo>
                    <a:pt x="618" y="2070"/>
                  </a:lnTo>
                  <a:lnTo>
                    <a:pt x="624" y="2094"/>
                  </a:lnTo>
                  <a:lnTo>
                    <a:pt x="642" y="2124"/>
                  </a:lnTo>
                  <a:lnTo>
                    <a:pt x="672" y="2166"/>
                  </a:lnTo>
                  <a:lnTo>
                    <a:pt x="696" y="2202"/>
                  </a:lnTo>
                  <a:lnTo>
                    <a:pt x="714" y="2232"/>
                  </a:lnTo>
                  <a:lnTo>
                    <a:pt x="720" y="2244"/>
                  </a:lnTo>
                  <a:lnTo>
                    <a:pt x="726" y="2244"/>
                  </a:lnTo>
                  <a:lnTo>
                    <a:pt x="732" y="2238"/>
                  </a:lnTo>
                  <a:lnTo>
                    <a:pt x="744" y="2238"/>
                  </a:lnTo>
                  <a:lnTo>
                    <a:pt x="768" y="2226"/>
                  </a:lnTo>
                  <a:lnTo>
                    <a:pt x="774" y="2220"/>
                  </a:lnTo>
                  <a:lnTo>
                    <a:pt x="780" y="2208"/>
                  </a:lnTo>
                  <a:lnTo>
                    <a:pt x="780" y="2172"/>
                  </a:lnTo>
                  <a:lnTo>
                    <a:pt x="786" y="2160"/>
                  </a:lnTo>
                  <a:lnTo>
                    <a:pt x="798" y="2154"/>
                  </a:lnTo>
                  <a:lnTo>
                    <a:pt x="804" y="2154"/>
                  </a:lnTo>
                  <a:lnTo>
                    <a:pt x="810" y="2160"/>
                  </a:lnTo>
                  <a:lnTo>
                    <a:pt x="828" y="2160"/>
                  </a:lnTo>
                  <a:lnTo>
                    <a:pt x="834" y="2154"/>
                  </a:lnTo>
                  <a:lnTo>
                    <a:pt x="846" y="2148"/>
                  </a:lnTo>
                  <a:lnTo>
                    <a:pt x="852" y="2142"/>
                  </a:lnTo>
                  <a:lnTo>
                    <a:pt x="864" y="2136"/>
                  </a:lnTo>
                  <a:lnTo>
                    <a:pt x="852" y="2136"/>
                  </a:lnTo>
                  <a:lnTo>
                    <a:pt x="846" y="2130"/>
                  </a:lnTo>
                  <a:lnTo>
                    <a:pt x="846" y="2118"/>
                  </a:lnTo>
                  <a:lnTo>
                    <a:pt x="852" y="2100"/>
                  </a:lnTo>
                  <a:lnTo>
                    <a:pt x="858" y="2088"/>
                  </a:lnTo>
                  <a:lnTo>
                    <a:pt x="906" y="2064"/>
                  </a:lnTo>
                  <a:lnTo>
                    <a:pt x="918" y="2052"/>
                  </a:lnTo>
                  <a:lnTo>
                    <a:pt x="918" y="2040"/>
                  </a:lnTo>
                  <a:lnTo>
                    <a:pt x="912" y="2028"/>
                  </a:lnTo>
                  <a:lnTo>
                    <a:pt x="912" y="2010"/>
                  </a:lnTo>
                  <a:lnTo>
                    <a:pt x="900" y="1974"/>
                  </a:lnTo>
                  <a:lnTo>
                    <a:pt x="900" y="1908"/>
                  </a:lnTo>
                  <a:lnTo>
                    <a:pt x="906" y="1890"/>
                  </a:lnTo>
                  <a:lnTo>
                    <a:pt x="906" y="1884"/>
                  </a:lnTo>
                  <a:lnTo>
                    <a:pt x="912" y="1878"/>
                  </a:lnTo>
                  <a:lnTo>
                    <a:pt x="912" y="1860"/>
                  </a:lnTo>
                  <a:lnTo>
                    <a:pt x="918" y="1842"/>
                  </a:lnTo>
                  <a:lnTo>
                    <a:pt x="918" y="1800"/>
                  </a:lnTo>
                  <a:lnTo>
                    <a:pt x="906" y="1776"/>
                  </a:lnTo>
                  <a:lnTo>
                    <a:pt x="888" y="1758"/>
                  </a:lnTo>
                  <a:lnTo>
                    <a:pt x="888" y="1728"/>
                  </a:lnTo>
                  <a:lnTo>
                    <a:pt x="894" y="1722"/>
                  </a:lnTo>
                  <a:lnTo>
                    <a:pt x="900" y="1710"/>
                  </a:lnTo>
                  <a:lnTo>
                    <a:pt x="900" y="1698"/>
                  </a:lnTo>
                  <a:lnTo>
                    <a:pt x="894" y="1686"/>
                  </a:lnTo>
                  <a:lnTo>
                    <a:pt x="894" y="1644"/>
                  </a:lnTo>
                  <a:lnTo>
                    <a:pt x="918" y="1632"/>
                  </a:lnTo>
                  <a:lnTo>
                    <a:pt x="924" y="1632"/>
                  </a:lnTo>
                  <a:lnTo>
                    <a:pt x="948" y="1620"/>
                  </a:lnTo>
                  <a:lnTo>
                    <a:pt x="948" y="1596"/>
                  </a:lnTo>
                  <a:lnTo>
                    <a:pt x="954" y="1584"/>
                  </a:lnTo>
                  <a:lnTo>
                    <a:pt x="960" y="1578"/>
                  </a:lnTo>
                  <a:lnTo>
                    <a:pt x="972" y="1572"/>
                  </a:lnTo>
                  <a:lnTo>
                    <a:pt x="990" y="1572"/>
                  </a:lnTo>
                  <a:lnTo>
                    <a:pt x="996" y="1560"/>
                  </a:lnTo>
                  <a:lnTo>
                    <a:pt x="1002" y="1566"/>
                  </a:lnTo>
                  <a:lnTo>
                    <a:pt x="1032" y="1566"/>
                  </a:lnTo>
                  <a:lnTo>
                    <a:pt x="1032" y="1548"/>
                  </a:lnTo>
                  <a:lnTo>
                    <a:pt x="1038" y="1530"/>
                  </a:lnTo>
                  <a:lnTo>
                    <a:pt x="1050" y="1518"/>
                  </a:lnTo>
                  <a:lnTo>
                    <a:pt x="1056" y="1500"/>
                  </a:lnTo>
                  <a:lnTo>
                    <a:pt x="1068" y="1488"/>
                  </a:lnTo>
                  <a:lnTo>
                    <a:pt x="1074" y="1476"/>
                  </a:lnTo>
                  <a:lnTo>
                    <a:pt x="1086" y="1470"/>
                  </a:lnTo>
                  <a:lnTo>
                    <a:pt x="1092" y="1464"/>
                  </a:lnTo>
                  <a:lnTo>
                    <a:pt x="1110" y="1458"/>
                  </a:lnTo>
                  <a:lnTo>
                    <a:pt x="1116" y="1452"/>
                  </a:lnTo>
                  <a:lnTo>
                    <a:pt x="1128" y="1446"/>
                  </a:lnTo>
                  <a:lnTo>
                    <a:pt x="1134" y="1428"/>
                  </a:lnTo>
                  <a:lnTo>
                    <a:pt x="1158" y="1380"/>
                  </a:lnTo>
                  <a:lnTo>
                    <a:pt x="1176" y="1362"/>
                  </a:lnTo>
                  <a:lnTo>
                    <a:pt x="1188" y="1356"/>
                  </a:lnTo>
                  <a:lnTo>
                    <a:pt x="1206" y="1344"/>
                  </a:lnTo>
                  <a:lnTo>
                    <a:pt x="1218" y="1338"/>
                  </a:lnTo>
                  <a:lnTo>
                    <a:pt x="1236" y="1320"/>
                  </a:lnTo>
                  <a:lnTo>
                    <a:pt x="1242" y="1320"/>
                  </a:lnTo>
                  <a:lnTo>
                    <a:pt x="1230" y="1290"/>
                  </a:lnTo>
                  <a:lnTo>
                    <a:pt x="1236" y="1284"/>
                  </a:lnTo>
                  <a:lnTo>
                    <a:pt x="1260" y="1314"/>
                  </a:lnTo>
                  <a:lnTo>
                    <a:pt x="1320" y="1254"/>
                  </a:lnTo>
                  <a:lnTo>
                    <a:pt x="1332" y="1230"/>
                  </a:lnTo>
                  <a:lnTo>
                    <a:pt x="1326" y="1224"/>
                  </a:lnTo>
                  <a:lnTo>
                    <a:pt x="1320" y="1212"/>
                  </a:lnTo>
                  <a:lnTo>
                    <a:pt x="1314" y="1206"/>
                  </a:lnTo>
                  <a:lnTo>
                    <a:pt x="1308" y="1194"/>
                  </a:lnTo>
                  <a:lnTo>
                    <a:pt x="1308" y="1182"/>
                  </a:lnTo>
                  <a:lnTo>
                    <a:pt x="1320" y="1176"/>
                  </a:lnTo>
                  <a:lnTo>
                    <a:pt x="1326" y="1170"/>
                  </a:lnTo>
                  <a:lnTo>
                    <a:pt x="1338" y="1170"/>
                  </a:lnTo>
                  <a:lnTo>
                    <a:pt x="1350" y="1164"/>
                  </a:lnTo>
                  <a:lnTo>
                    <a:pt x="1362" y="1152"/>
                  </a:lnTo>
                  <a:lnTo>
                    <a:pt x="1374" y="1134"/>
                  </a:lnTo>
                  <a:lnTo>
                    <a:pt x="1374" y="1110"/>
                  </a:lnTo>
                  <a:lnTo>
                    <a:pt x="1392" y="1116"/>
                  </a:lnTo>
                  <a:lnTo>
                    <a:pt x="1398" y="1146"/>
                  </a:lnTo>
                  <a:lnTo>
                    <a:pt x="1416" y="1110"/>
                  </a:lnTo>
                  <a:lnTo>
                    <a:pt x="1416" y="1128"/>
                  </a:lnTo>
                  <a:lnTo>
                    <a:pt x="1422" y="1140"/>
                  </a:lnTo>
                  <a:lnTo>
                    <a:pt x="1422" y="1158"/>
                  </a:lnTo>
                  <a:lnTo>
                    <a:pt x="1428" y="1170"/>
                  </a:lnTo>
                  <a:lnTo>
                    <a:pt x="1434" y="1176"/>
                  </a:lnTo>
                  <a:lnTo>
                    <a:pt x="1440" y="1176"/>
                  </a:lnTo>
                  <a:lnTo>
                    <a:pt x="1446" y="1170"/>
                  </a:lnTo>
                  <a:lnTo>
                    <a:pt x="1446" y="1158"/>
                  </a:lnTo>
                  <a:lnTo>
                    <a:pt x="1452" y="1152"/>
                  </a:lnTo>
                  <a:lnTo>
                    <a:pt x="1452" y="1140"/>
                  </a:lnTo>
                  <a:lnTo>
                    <a:pt x="1458" y="1110"/>
                  </a:lnTo>
                  <a:lnTo>
                    <a:pt x="1440" y="1068"/>
                  </a:lnTo>
                  <a:lnTo>
                    <a:pt x="1440" y="1038"/>
                  </a:lnTo>
                  <a:lnTo>
                    <a:pt x="1410" y="1014"/>
                  </a:lnTo>
                  <a:lnTo>
                    <a:pt x="1398" y="984"/>
                  </a:lnTo>
                  <a:lnTo>
                    <a:pt x="1404" y="972"/>
                  </a:lnTo>
                  <a:lnTo>
                    <a:pt x="1410" y="966"/>
                  </a:lnTo>
                  <a:lnTo>
                    <a:pt x="1416" y="948"/>
                  </a:lnTo>
                  <a:lnTo>
                    <a:pt x="1416" y="942"/>
                  </a:lnTo>
                  <a:lnTo>
                    <a:pt x="1410" y="936"/>
                  </a:lnTo>
                  <a:lnTo>
                    <a:pt x="1398" y="930"/>
                  </a:lnTo>
                  <a:lnTo>
                    <a:pt x="1380" y="930"/>
                  </a:lnTo>
                  <a:lnTo>
                    <a:pt x="1368" y="924"/>
                  </a:lnTo>
                  <a:lnTo>
                    <a:pt x="1356" y="912"/>
                  </a:lnTo>
                  <a:lnTo>
                    <a:pt x="1368" y="900"/>
                  </a:lnTo>
                  <a:lnTo>
                    <a:pt x="1374" y="900"/>
                  </a:lnTo>
                  <a:lnTo>
                    <a:pt x="1374" y="870"/>
                  </a:lnTo>
                  <a:lnTo>
                    <a:pt x="1410" y="870"/>
                  </a:lnTo>
                  <a:lnTo>
                    <a:pt x="1410" y="858"/>
                  </a:lnTo>
                  <a:lnTo>
                    <a:pt x="1380" y="840"/>
                  </a:lnTo>
                  <a:lnTo>
                    <a:pt x="1374" y="840"/>
                  </a:lnTo>
                  <a:lnTo>
                    <a:pt x="1362" y="828"/>
                  </a:lnTo>
                  <a:lnTo>
                    <a:pt x="1350" y="822"/>
                  </a:lnTo>
                  <a:lnTo>
                    <a:pt x="1344" y="810"/>
                  </a:lnTo>
                  <a:lnTo>
                    <a:pt x="1344" y="804"/>
                  </a:lnTo>
                  <a:lnTo>
                    <a:pt x="1350" y="792"/>
                  </a:lnTo>
                  <a:lnTo>
                    <a:pt x="1362" y="780"/>
                  </a:lnTo>
                  <a:lnTo>
                    <a:pt x="1350" y="762"/>
                  </a:lnTo>
                  <a:lnTo>
                    <a:pt x="1368" y="762"/>
                  </a:lnTo>
                  <a:lnTo>
                    <a:pt x="1392" y="774"/>
                  </a:lnTo>
                  <a:lnTo>
                    <a:pt x="1386" y="768"/>
                  </a:lnTo>
                  <a:lnTo>
                    <a:pt x="1404" y="762"/>
                  </a:lnTo>
                  <a:lnTo>
                    <a:pt x="1410" y="774"/>
                  </a:lnTo>
                  <a:lnTo>
                    <a:pt x="1410" y="780"/>
                  </a:lnTo>
                  <a:lnTo>
                    <a:pt x="1416" y="792"/>
                  </a:lnTo>
                  <a:lnTo>
                    <a:pt x="1422" y="798"/>
                  </a:lnTo>
                  <a:lnTo>
                    <a:pt x="1434" y="798"/>
                  </a:lnTo>
                  <a:lnTo>
                    <a:pt x="1440" y="804"/>
                  </a:lnTo>
                  <a:lnTo>
                    <a:pt x="1446" y="786"/>
                  </a:lnTo>
                  <a:lnTo>
                    <a:pt x="1452" y="792"/>
                  </a:lnTo>
                  <a:lnTo>
                    <a:pt x="1458" y="792"/>
                  </a:lnTo>
                  <a:lnTo>
                    <a:pt x="1464" y="798"/>
                  </a:lnTo>
                  <a:lnTo>
                    <a:pt x="1464" y="828"/>
                  </a:lnTo>
                  <a:lnTo>
                    <a:pt x="1470" y="828"/>
                  </a:lnTo>
                  <a:lnTo>
                    <a:pt x="1470" y="864"/>
                  </a:lnTo>
                  <a:lnTo>
                    <a:pt x="1476" y="864"/>
                  </a:lnTo>
                  <a:lnTo>
                    <a:pt x="1482" y="870"/>
                  </a:lnTo>
                  <a:lnTo>
                    <a:pt x="1542" y="870"/>
                  </a:lnTo>
                  <a:lnTo>
                    <a:pt x="1554" y="876"/>
                  </a:lnTo>
                  <a:lnTo>
                    <a:pt x="1572" y="876"/>
                  </a:lnTo>
                  <a:lnTo>
                    <a:pt x="1620" y="864"/>
                  </a:lnTo>
                  <a:lnTo>
                    <a:pt x="1626" y="864"/>
                  </a:lnTo>
                  <a:lnTo>
                    <a:pt x="1650" y="888"/>
                  </a:lnTo>
                  <a:lnTo>
                    <a:pt x="1650" y="894"/>
                  </a:lnTo>
                  <a:lnTo>
                    <a:pt x="1644" y="900"/>
                  </a:lnTo>
                  <a:lnTo>
                    <a:pt x="1638" y="900"/>
                  </a:lnTo>
                  <a:lnTo>
                    <a:pt x="1638" y="912"/>
                  </a:lnTo>
                  <a:lnTo>
                    <a:pt x="1632" y="930"/>
                  </a:lnTo>
                  <a:lnTo>
                    <a:pt x="1626" y="942"/>
                  </a:lnTo>
                  <a:lnTo>
                    <a:pt x="1620" y="948"/>
                  </a:lnTo>
                  <a:lnTo>
                    <a:pt x="1614" y="948"/>
                  </a:lnTo>
                  <a:lnTo>
                    <a:pt x="1602" y="954"/>
                  </a:lnTo>
                  <a:lnTo>
                    <a:pt x="1596" y="954"/>
                  </a:lnTo>
                  <a:lnTo>
                    <a:pt x="1584" y="966"/>
                  </a:lnTo>
                  <a:lnTo>
                    <a:pt x="1578" y="978"/>
                  </a:lnTo>
                  <a:lnTo>
                    <a:pt x="1578" y="996"/>
                  </a:lnTo>
                  <a:lnTo>
                    <a:pt x="1584" y="1008"/>
                  </a:lnTo>
                  <a:lnTo>
                    <a:pt x="1602" y="1026"/>
                  </a:lnTo>
                  <a:lnTo>
                    <a:pt x="1608" y="1026"/>
                  </a:lnTo>
                  <a:lnTo>
                    <a:pt x="1626" y="1050"/>
                  </a:lnTo>
                  <a:lnTo>
                    <a:pt x="1632" y="1014"/>
                  </a:lnTo>
                  <a:lnTo>
                    <a:pt x="1632" y="990"/>
                  </a:lnTo>
                  <a:lnTo>
                    <a:pt x="1650" y="990"/>
                  </a:lnTo>
                  <a:lnTo>
                    <a:pt x="1662" y="996"/>
                  </a:lnTo>
                  <a:lnTo>
                    <a:pt x="1668" y="1002"/>
                  </a:lnTo>
                  <a:lnTo>
                    <a:pt x="1668" y="1020"/>
                  </a:lnTo>
                  <a:lnTo>
                    <a:pt x="1674" y="1032"/>
                  </a:lnTo>
                  <a:lnTo>
                    <a:pt x="1674" y="1038"/>
                  </a:lnTo>
                  <a:lnTo>
                    <a:pt x="1680" y="1050"/>
                  </a:lnTo>
                  <a:lnTo>
                    <a:pt x="1680" y="1062"/>
                  </a:lnTo>
                  <a:lnTo>
                    <a:pt x="1686" y="1074"/>
                  </a:lnTo>
                  <a:lnTo>
                    <a:pt x="1692" y="1092"/>
                  </a:lnTo>
                  <a:lnTo>
                    <a:pt x="1698" y="1104"/>
                  </a:lnTo>
                  <a:lnTo>
                    <a:pt x="1704" y="1110"/>
                  </a:lnTo>
                  <a:lnTo>
                    <a:pt x="1704" y="1116"/>
                  </a:lnTo>
                  <a:lnTo>
                    <a:pt x="1722" y="1134"/>
                  </a:lnTo>
                  <a:lnTo>
                    <a:pt x="1722" y="1110"/>
                  </a:lnTo>
                  <a:lnTo>
                    <a:pt x="1728" y="1110"/>
                  </a:lnTo>
                  <a:lnTo>
                    <a:pt x="1734" y="1116"/>
                  </a:lnTo>
                  <a:lnTo>
                    <a:pt x="1746" y="1116"/>
                  </a:lnTo>
                  <a:lnTo>
                    <a:pt x="1746" y="1104"/>
                  </a:lnTo>
                  <a:lnTo>
                    <a:pt x="1728" y="1086"/>
                  </a:lnTo>
                  <a:lnTo>
                    <a:pt x="1728" y="1062"/>
                  </a:lnTo>
                  <a:lnTo>
                    <a:pt x="1722" y="1050"/>
                  </a:lnTo>
                  <a:lnTo>
                    <a:pt x="1740" y="1032"/>
                  </a:lnTo>
                  <a:lnTo>
                    <a:pt x="1746" y="1032"/>
                  </a:lnTo>
                  <a:lnTo>
                    <a:pt x="1740" y="984"/>
                  </a:lnTo>
                  <a:lnTo>
                    <a:pt x="1722" y="966"/>
                  </a:lnTo>
                  <a:lnTo>
                    <a:pt x="1716" y="966"/>
                  </a:lnTo>
                  <a:lnTo>
                    <a:pt x="1770" y="966"/>
                  </a:lnTo>
                  <a:lnTo>
                    <a:pt x="1782" y="972"/>
                  </a:lnTo>
                  <a:lnTo>
                    <a:pt x="1794" y="972"/>
                  </a:lnTo>
                  <a:lnTo>
                    <a:pt x="1794" y="936"/>
                  </a:lnTo>
                  <a:lnTo>
                    <a:pt x="1812" y="882"/>
                  </a:lnTo>
                  <a:lnTo>
                    <a:pt x="1806" y="876"/>
                  </a:lnTo>
                  <a:lnTo>
                    <a:pt x="1800" y="864"/>
                  </a:lnTo>
                  <a:lnTo>
                    <a:pt x="1800" y="846"/>
                  </a:lnTo>
                  <a:lnTo>
                    <a:pt x="1812" y="840"/>
                  </a:lnTo>
                  <a:lnTo>
                    <a:pt x="1818" y="834"/>
                  </a:lnTo>
                  <a:lnTo>
                    <a:pt x="1836" y="804"/>
                  </a:lnTo>
                  <a:lnTo>
                    <a:pt x="1836" y="792"/>
                  </a:lnTo>
                  <a:lnTo>
                    <a:pt x="1830" y="786"/>
                  </a:lnTo>
                  <a:lnTo>
                    <a:pt x="1830" y="780"/>
                  </a:lnTo>
                  <a:lnTo>
                    <a:pt x="1824" y="774"/>
                  </a:lnTo>
                  <a:lnTo>
                    <a:pt x="1824" y="750"/>
                  </a:lnTo>
                  <a:lnTo>
                    <a:pt x="1830" y="750"/>
                  </a:lnTo>
                  <a:lnTo>
                    <a:pt x="1836" y="744"/>
                  </a:lnTo>
                  <a:lnTo>
                    <a:pt x="1848" y="744"/>
                  </a:lnTo>
                  <a:lnTo>
                    <a:pt x="1860" y="738"/>
                  </a:lnTo>
                  <a:lnTo>
                    <a:pt x="1872" y="726"/>
                  </a:lnTo>
                  <a:lnTo>
                    <a:pt x="1872" y="708"/>
                  </a:lnTo>
                  <a:lnTo>
                    <a:pt x="1878" y="708"/>
                  </a:lnTo>
                  <a:lnTo>
                    <a:pt x="1890" y="702"/>
                  </a:lnTo>
                  <a:lnTo>
                    <a:pt x="1926" y="702"/>
                  </a:lnTo>
                  <a:lnTo>
                    <a:pt x="1932" y="708"/>
                  </a:lnTo>
                  <a:lnTo>
                    <a:pt x="1950" y="708"/>
                  </a:lnTo>
                  <a:lnTo>
                    <a:pt x="1950" y="702"/>
                  </a:lnTo>
                  <a:lnTo>
                    <a:pt x="1944" y="696"/>
                  </a:lnTo>
                  <a:lnTo>
                    <a:pt x="1932" y="690"/>
                  </a:lnTo>
                  <a:lnTo>
                    <a:pt x="1926" y="684"/>
                  </a:lnTo>
                  <a:lnTo>
                    <a:pt x="1920" y="672"/>
                  </a:lnTo>
                  <a:close/>
                </a:path>
              </a:pathLst>
            </a:custGeom>
            <a:solidFill>
              <a:srgbClr val="FFC000"/>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45" name="Iceland" descr="© INSCALE GmbH, 05.05.2010&#10;http://www.presentationload.com/"/>
            <p:cNvSpPr>
              <a:spLocks/>
            </p:cNvSpPr>
            <p:nvPr/>
          </p:nvSpPr>
          <p:spPr bwMode="gray">
            <a:xfrm>
              <a:off x="3757616" y="1966914"/>
              <a:ext cx="230188" cy="88900"/>
            </a:xfrm>
            <a:custGeom>
              <a:avLst/>
              <a:gdLst>
                <a:gd name="T0" fmla="*/ 2147483647 w 570"/>
                <a:gd name="T1" fmla="*/ 2147483647 h 222"/>
                <a:gd name="T2" fmla="*/ 2147483647 w 570"/>
                <a:gd name="T3" fmla="*/ 2147483647 h 222"/>
                <a:gd name="T4" fmla="*/ 2147483647 w 570"/>
                <a:gd name="T5" fmla="*/ 2147483647 h 222"/>
                <a:gd name="T6" fmla="*/ 2147483647 w 570"/>
                <a:gd name="T7" fmla="*/ 2147483647 h 222"/>
                <a:gd name="T8" fmla="*/ 2147483647 w 570"/>
                <a:gd name="T9" fmla="*/ 2147483647 h 222"/>
                <a:gd name="T10" fmla="*/ 2147483647 w 570"/>
                <a:gd name="T11" fmla="*/ 2147483647 h 222"/>
                <a:gd name="T12" fmla="*/ 2147483647 w 570"/>
                <a:gd name="T13" fmla="*/ 2147483647 h 222"/>
                <a:gd name="T14" fmla="*/ 2147483647 w 570"/>
                <a:gd name="T15" fmla="*/ 2147483647 h 222"/>
                <a:gd name="T16" fmla="*/ 2147483647 w 570"/>
                <a:gd name="T17" fmla="*/ 2147483647 h 222"/>
                <a:gd name="T18" fmla="*/ 2147483647 w 570"/>
                <a:gd name="T19" fmla="*/ 2147483647 h 222"/>
                <a:gd name="T20" fmla="*/ 2147483647 w 570"/>
                <a:gd name="T21" fmla="*/ 2147483647 h 222"/>
                <a:gd name="T22" fmla="*/ 2147483647 w 570"/>
                <a:gd name="T23" fmla="*/ 2147483647 h 222"/>
                <a:gd name="T24" fmla="*/ 2147483647 w 570"/>
                <a:gd name="T25" fmla="*/ 2147483647 h 222"/>
                <a:gd name="T26" fmla="*/ 2147483647 w 570"/>
                <a:gd name="T27" fmla="*/ 2147483647 h 222"/>
                <a:gd name="T28" fmla="*/ 2147483647 w 570"/>
                <a:gd name="T29" fmla="*/ 2147483647 h 222"/>
                <a:gd name="T30" fmla="*/ 2147483647 w 570"/>
                <a:gd name="T31" fmla="*/ 2147483647 h 222"/>
                <a:gd name="T32" fmla="*/ 2147483647 w 570"/>
                <a:gd name="T33" fmla="*/ 2147483647 h 222"/>
                <a:gd name="T34" fmla="*/ 2147483647 w 570"/>
                <a:gd name="T35" fmla="*/ 2147483647 h 222"/>
                <a:gd name="T36" fmla="*/ 2147483647 w 570"/>
                <a:gd name="T37" fmla="*/ 2147483647 h 222"/>
                <a:gd name="T38" fmla="*/ 2147483647 w 570"/>
                <a:gd name="T39" fmla="*/ 2147483647 h 222"/>
                <a:gd name="T40" fmla="*/ 2147483647 w 570"/>
                <a:gd name="T41" fmla="*/ 2147483647 h 222"/>
                <a:gd name="T42" fmla="*/ 2147483647 w 570"/>
                <a:gd name="T43" fmla="*/ 2147483647 h 222"/>
                <a:gd name="T44" fmla="*/ 2147483647 w 570"/>
                <a:gd name="T45" fmla="*/ 2147483647 h 222"/>
                <a:gd name="T46" fmla="*/ 2147483647 w 570"/>
                <a:gd name="T47" fmla="*/ 2147483647 h 222"/>
                <a:gd name="T48" fmla="*/ 2147483647 w 570"/>
                <a:gd name="T49" fmla="*/ 2147483647 h 222"/>
                <a:gd name="T50" fmla="*/ 2147483647 w 570"/>
                <a:gd name="T51" fmla="*/ 2147483647 h 222"/>
                <a:gd name="T52" fmla="*/ 2147483647 w 570"/>
                <a:gd name="T53" fmla="*/ 2147483647 h 222"/>
                <a:gd name="T54" fmla="*/ 2147483647 w 570"/>
                <a:gd name="T55" fmla="*/ 2147483647 h 222"/>
                <a:gd name="T56" fmla="*/ 2147483647 w 570"/>
                <a:gd name="T57" fmla="*/ 2147483647 h 222"/>
                <a:gd name="T58" fmla="*/ 2147483647 w 570"/>
                <a:gd name="T59" fmla="*/ 2147483647 h 222"/>
                <a:gd name="T60" fmla="*/ 2147483647 w 570"/>
                <a:gd name="T61" fmla="*/ 2147483647 h 222"/>
                <a:gd name="T62" fmla="*/ 2147483647 w 570"/>
                <a:gd name="T63" fmla="*/ 2147483647 h 222"/>
                <a:gd name="T64" fmla="*/ 2147483647 w 570"/>
                <a:gd name="T65" fmla="*/ 2147483647 h 222"/>
                <a:gd name="T66" fmla="*/ 0 w 570"/>
                <a:gd name="T67" fmla="*/ 2147483647 h 222"/>
                <a:gd name="T68" fmla="*/ 2147483647 w 570"/>
                <a:gd name="T69" fmla="*/ 2147483647 h 222"/>
                <a:gd name="T70" fmla="*/ 2147483647 w 570"/>
                <a:gd name="T71" fmla="*/ 2147483647 h 222"/>
                <a:gd name="T72" fmla="*/ 2147483647 w 570"/>
                <a:gd name="T73" fmla="*/ 2147483647 h 222"/>
                <a:gd name="T74" fmla="*/ 2147483647 w 570"/>
                <a:gd name="T75" fmla="*/ 2147483647 h 222"/>
                <a:gd name="T76" fmla="*/ 2147483647 w 570"/>
                <a:gd name="T77" fmla="*/ 2147483647 h 222"/>
                <a:gd name="T78" fmla="*/ 2147483647 w 570"/>
                <a:gd name="T79" fmla="*/ 2147483647 h 222"/>
                <a:gd name="T80" fmla="*/ 2147483647 w 570"/>
                <a:gd name="T81" fmla="*/ 2147483647 h 222"/>
                <a:gd name="T82" fmla="*/ 2147483647 w 570"/>
                <a:gd name="T83" fmla="*/ 2147483647 h 222"/>
                <a:gd name="T84" fmla="*/ 2147483647 w 570"/>
                <a:gd name="T85" fmla="*/ 2147483647 h 222"/>
                <a:gd name="T86" fmla="*/ 2147483647 w 570"/>
                <a:gd name="T87" fmla="*/ 2147483647 h 222"/>
                <a:gd name="T88" fmla="*/ 2147483647 w 570"/>
                <a:gd name="T89" fmla="*/ 2147483647 h 222"/>
                <a:gd name="T90" fmla="*/ 2147483647 w 570"/>
                <a:gd name="T91" fmla="*/ 2147483647 h 222"/>
                <a:gd name="T92" fmla="*/ 2147483647 w 570"/>
                <a:gd name="T93" fmla="*/ 2147483647 h 22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70"/>
                <a:gd name="T142" fmla="*/ 0 h 222"/>
                <a:gd name="T143" fmla="*/ 570 w 570"/>
                <a:gd name="T144" fmla="*/ 222 h 22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70" h="222">
                  <a:moveTo>
                    <a:pt x="252" y="222"/>
                  </a:moveTo>
                  <a:lnTo>
                    <a:pt x="270" y="216"/>
                  </a:lnTo>
                  <a:lnTo>
                    <a:pt x="306" y="216"/>
                  </a:lnTo>
                  <a:lnTo>
                    <a:pt x="312" y="204"/>
                  </a:lnTo>
                  <a:lnTo>
                    <a:pt x="312" y="192"/>
                  </a:lnTo>
                  <a:lnTo>
                    <a:pt x="324" y="198"/>
                  </a:lnTo>
                  <a:lnTo>
                    <a:pt x="330" y="198"/>
                  </a:lnTo>
                  <a:lnTo>
                    <a:pt x="342" y="204"/>
                  </a:lnTo>
                  <a:lnTo>
                    <a:pt x="348" y="204"/>
                  </a:lnTo>
                  <a:lnTo>
                    <a:pt x="360" y="192"/>
                  </a:lnTo>
                  <a:lnTo>
                    <a:pt x="360" y="186"/>
                  </a:lnTo>
                  <a:lnTo>
                    <a:pt x="372" y="186"/>
                  </a:lnTo>
                  <a:lnTo>
                    <a:pt x="378" y="192"/>
                  </a:lnTo>
                  <a:lnTo>
                    <a:pt x="390" y="192"/>
                  </a:lnTo>
                  <a:lnTo>
                    <a:pt x="414" y="180"/>
                  </a:lnTo>
                  <a:lnTo>
                    <a:pt x="432" y="168"/>
                  </a:lnTo>
                  <a:lnTo>
                    <a:pt x="456" y="156"/>
                  </a:lnTo>
                  <a:lnTo>
                    <a:pt x="474" y="156"/>
                  </a:lnTo>
                  <a:lnTo>
                    <a:pt x="480" y="162"/>
                  </a:lnTo>
                  <a:lnTo>
                    <a:pt x="492" y="162"/>
                  </a:lnTo>
                  <a:lnTo>
                    <a:pt x="504" y="156"/>
                  </a:lnTo>
                  <a:lnTo>
                    <a:pt x="510" y="144"/>
                  </a:lnTo>
                  <a:lnTo>
                    <a:pt x="510" y="138"/>
                  </a:lnTo>
                  <a:lnTo>
                    <a:pt x="516" y="126"/>
                  </a:lnTo>
                  <a:lnTo>
                    <a:pt x="528" y="126"/>
                  </a:lnTo>
                  <a:lnTo>
                    <a:pt x="552" y="114"/>
                  </a:lnTo>
                  <a:lnTo>
                    <a:pt x="564" y="102"/>
                  </a:lnTo>
                  <a:lnTo>
                    <a:pt x="570" y="102"/>
                  </a:lnTo>
                  <a:lnTo>
                    <a:pt x="552" y="102"/>
                  </a:lnTo>
                  <a:lnTo>
                    <a:pt x="570" y="84"/>
                  </a:lnTo>
                  <a:lnTo>
                    <a:pt x="570" y="78"/>
                  </a:lnTo>
                  <a:lnTo>
                    <a:pt x="564" y="72"/>
                  </a:lnTo>
                  <a:lnTo>
                    <a:pt x="552" y="66"/>
                  </a:lnTo>
                  <a:lnTo>
                    <a:pt x="540" y="66"/>
                  </a:lnTo>
                  <a:lnTo>
                    <a:pt x="534" y="72"/>
                  </a:lnTo>
                  <a:lnTo>
                    <a:pt x="528" y="72"/>
                  </a:lnTo>
                  <a:lnTo>
                    <a:pt x="534" y="60"/>
                  </a:lnTo>
                  <a:lnTo>
                    <a:pt x="504" y="60"/>
                  </a:lnTo>
                  <a:lnTo>
                    <a:pt x="522" y="36"/>
                  </a:lnTo>
                  <a:lnTo>
                    <a:pt x="504" y="36"/>
                  </a:lnTo>
                  <a:lnTo>
                    <a:pt x="510" y="18"/>
                  </a:lnTo>
                  <a:lnTo>
                    <a:pt x="480" y="24"/>
                  </a:lnTo>
                  <a:lnTo>
                    <a:pt x="474" y="18"/>
                  </a:lnTo>
                  <a:lnTo>
                    <a:pt x="462" y="12"/>
                  </a:lnTo>
                  <a:lnTo>
                    <a:pt x="456" y="6"/>
                  </a:lnTo>
                  <a:lnTo>
                    <a:pt x="444" y="0"/>
                  </a:lnTo>
                  <a:lnTo>
                    <a:pt x="432" y="0"/>
                  </a:lnTo>
                  <a:lnTo>
                    <a:pt x="432" y="24"/>
                  </a:lnTo>
                  <a:lnTo>
                    <a:pt x="414" y="30"/>
                  </a:lnTo>
                  <a:lnTo>
                    <a:pt x="408" y="30"/>
                  </a:lnTo>
                  <a:lnTo>
                    <a:pt x="402" y="24"/>
                  </a:lnTo>
                  <a:lnTo>
                    <a:pt x="378" y="24"/>
                  </a:lnTo>
                  <a:lnTo>
                    <a:pt x="372" y="30"/>
                  </a:lnTo>
                  <a:lnTo>
                    <a:pt x="366" y="42"/>
                  </a:lnTo>
                  <a:lnTo>
                    <a:pt x="360" y="36"/>
                  </a:lnTo>
                  <a:lnTo>
                    <a:pt x="348" y="30"/>
                  </a:lnTo>
                  <a:lnTo>
                    <a:pt x="342" y="24"/>
                  </a:lnTo>
                  <a:lnTo>
                    <a:pt x="336" y="24"/>
                  </a:lnTo>
                  <a:lnTo>
                    <a:pt x="330" y="30"/>
                  </a:lnTo>
                  <a:lnTo>
                    <a:pt x="330" y="60"/>
                  </a:lnTo>
                  <a:lnTo>
                    <a:pt x="324" y="48"/>
                  </a:lnTo>
                  <a:lnTo>
                    <a:pt x="318" y="42"/>
                  </a:lnTo>
                  <a:lnTo>
                    <a:pt x="306" y="36"/>
                  </a:lnTo>
                  <a:lnTo>
                    <a:pt x="300" y="24"/>
                  </a:lnTo>
                  <a:lnTo>
                    <a:pt x="288" y="24"/>
                  </a:lnTo>
                  <a:lnTo>
                    <a:pt x="288" y="30"/>
                  </a:lnTo>
                  <a:lnTo>
                    <a:pt x="270" y="30"/>
                  </a:lnTo>
                  <a:lnTo>
                    <a:pt x="264" y="36"/>
                  </a:lnTo>
                  <a:lnTo>
                    <a:pt x="264" y="54"/>
                  </a:lnTo>
                  <a:lnTo>
                    <a:pt x="252" y="54"/>
                  </a:lnTo>
                  <a:lnTo>
                    <a:pt x="240" y="42"/>
                  </a:lnTo>
                  <a:lnTo>
                    <a:pt x="228" y="36"/>
                  </a:lnTo>
                  <a:lnTo>
                    <a:pt x="222" y="30"/>
                  </a:lnTo>
                  <a:lnTo>
                    <a:pt x="216" y="30"/>
                  </a:lnTo>
                  <a:lnTo>
                    <a:pt x="216" y="48"/>
                  </a:lnTo>
                  <a:lnTo>
                    <a:pt x="210" y="60"/>
                  </a:lnTo>
                  <a:lnTo>
                    <a:pt x="210" y="72"/>
                  </a:lnTo>
                  <a:lnTo>
                    <a:pt x="204" y="72"/>
                  </a:lnTo>
                  <a:lnTo>
                    <a:pt x="192" y="60"/>
                  </a:lnTo>
                  <a:lnTo>
                    <a:pt x="186" y="60"/>
                  </a:lnTo>
                  <a:lnTo>
                    <a:pt x="162" y="84"/>
                  </a:lnTo>
                  <a:lnTo>
                    <a:pt x="162" y="90"/>
                  </a:lnTo>
                  <a:lnTo>
                    <a:pt x="156" y="84"/>
                  </a:lnTo>
                  <a:lnTo>
                    <a:pt x="144" y="60"/>
                  </a:lnTo>
                  <a:lnTo>
                    <a:pt x="162" y="42"/>
                  </a:lnTo>
                  <a:lnTo>
                    <a:pt x="162" y="36"/>
                  </a:lnTo>
                  <a:lnTo>
                    <a:pt x="156" y="30"/>
                  </a:lnTo>
                  <a:lnTo>
                    <a:pt x="108" y="6"/>
                  </a:lnTo>
                  <a:lnTo>
                    <a:pt x="96" y="6"/>
                  </a:lnTo>
                  <a:lnTo>
                    <a:pt x="96" y="36"/>
                  </a:lnTo>
                  <a:lnTo>
                    <a:pt x="90" y="36"/>
                  </a:lnTo>
                  <a:lnTo>
                    <a:pt x="84" y="30"/>
                  </a:lnTo>
                  <a:lnTo>
                    <a:pt x="78" y="30"/>
                  </a:lnTo>
                  <a:lnTo>
                    <a:pt x="66" y="24"/>
                  </a:lnTo>
                  <a:lnTo>
                    <a:pt x="54" y="24"/>
                  </a:lnTo>
                  <a:lnTo>
                    <a:pt x="42" y="30"/>
                  </a:lnTo>
                  <a:lnTo>
                    <a:pt x="30" y="42"/>
                  </a:lnTo>
                  <a:lnTo>
                    <a:pt x="48" y="54"/>
                  </a:lnTo>
                  <a:lnTo>
                    <a:pt x="30" y="54"/>
                  </a:lnTo>
                  <a:lnTo>
                    <a:pt x="18" y="60"/>
                  </a:lnTo>
                  <a:lnTo>
                    <a:pt x="12" y="66"/>
                  </a:lnTo>
                  <a:lnTo>
                    <a:pt x="0" y="66"/>
                  </a:lnTo>
                  <a:lnTo>
                    <a:pt x="6" y="72"/>
                  </a:lnTo>
                  <a:lnTo>
                    <a:pt x="18" y="78"/>
                  </a:lnTo>
                  <a:lnTo>
                    <a:pt x="30" y="78"/>
                  </a:lnTo>
                  <a:lnTo>
                    <a:pt x="54" y="66"/>
                  </a:lnTo>
                  <a:lnTo>
                    <a:pt x="66" y="66"/>
                  </a:lnTo>
                  <a:lnTo>
                    <a:pt x="72" y="60"/>
                  </a:lnTo>
                  <a:lnTo>
                    <a:pt x="78" y="60"/>
                  </a:lnTo>
                  <a:lnTo>
                    <a:pt x="126" y="72"/>
                  </a:lnTo>
                  <a:lnTo>
                    <a:pt x="90" y="90"/>
                  </a:lnTo>
                  <a:lnTo>
                    <a:pt x="102" y="90"/>
                  </a:lnTo>
                  <a:lnTo>
                    <a:pt x="108" y="96"/>
                  </a:lnTo>
                  <a:lnTo>
                    <a:pt x="114" y="96"/>
                  </a:lnTo>
                  <a:lnTo>
                    <a:pt x="120" y="102"/>
                  </a:lnTo>
                  <a:lnTo>
                    <a:pt x="114" y="102"/>
                  </a:lnTo>
                  <a:lnTo>
                    <a:pt x="108" y="108"/>
                  </a:lnTo>
                  <a:lnTo>
                    <a:pt x="6" y="108"/>
                  </a:lnTo>
                  <a:lnTo>
                    <a:pt x="0" y="114"/>
                  </a:lnTo>
                  <a:lnTo>
                    <a:pt x="12" y="120"/>
                  </a:lnTo>
                  <a:lnTo>
                    <a:pt x="60" y="120"/>
                  </a:lnTo>
                  <a:lnTo>
                    <a:pt x="84" y="132"/>
                  </a:lnTo>
                  <a:lnTo>
                    <a:pt x="90" y="138"/>
                  </a:lnTo>
                  <a:lnTo>
                    <a:pt x="126" y="132"/>
                  </a:lnTo>
                  <a:lnTo>
                    <a:pt x="108" y="150"/>
                  </a:lnTo>
                  <a:lnTo>
                    <a:pt x="120" y="156"/>
                  </a:lnTo>
                  <a:lnTo>
                    <a:pt x="114" y="162"/>
                  </a:lnTo>
                  <a:lnTo>
                    <a:pt x="114" y="168"/>
                  </a:lnTo>
                  <a:lnTo>
                    <a:pt x="108" y="174"/>
                  </a:lnTo>
                  <a:lnTo>
                    <a:pt x="90" y="174"/>
                  </a:lnTo>
                  <a:lnTo>
                    <a:pt x="78" y="180"/>
                  </a:lnTo>
                  <a:lnTo>
                    <a:pt x="54" y="180"/>
                  </a:lnTo>
                  <a:lnTo>
                    <a:pt x="54" y="186"/>
                  </a:lnTo>
                  <a:lnTo>
                    <a:pt x="66" y="192"/>
                  </a:lnTo>
                  <a:lnTo>
                    <a:pt x="120" y="192"/>
                  </a:lnTo>
                  <a:lnTo>
                    <a:pt x="132" y="186"/>
                  </a:lnTo>
                  <a:lnTo>
                    <a:pt x="138" y="180"/>
                  </a:lnTo>
                  <a:lnTo>
                    <a:pt x="168" y="198"/>
                  </a:lnTo>
                  <a:lnTo>
                    <a:pt x="180" y="186"/>
                  </a:lnTo>
                  <a:lnTo>
                    <a:pt x="180" y="198"/>
                  </a:lnTo>
                  <a:lnTo>
                    <a:pt x="228" y="222"/>
                  </a:lnTo>
                  <a:lnTo>
                    <a:pt x="252" y="222"/>
                  </a:lnTo>
                  <a:close/>
                </a:path>
              </a:pathLst>
            </a:custGeom>
            <a:solidFill>
              <a:srgbClr val="005995"/>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46" name="Hungary" descr="© INSCALE GmbH, 05.05.2010&#10;http://www.presentationload.com/"/>
            <p:cNvSpPr>
              <a:spLocks/>
            </p:cNvSpPr>
            <p:nvPr/>
          </p:nvSpPr>
          <p:spPr bwMode="gray">
            <a:xfrm>
              <a:off x="4657730" y="2508251"/>
              <a:ext cx="171451" cy="88900"/>
            </a:xfrm>
            <a:custGeom>
              <a:avLst/>
              <a:gdLst>
                <a:gd name="T0" fmla="*/ 2147483647 w 426"/>
                <a:gd name="T1" fmla="*/ 2147483647 h 222"/>
                <a:gd name="T2" fmla="*/ 2147483647 w 426"/>
                <a:gd name="T3" fmla="*/ 2147483647 h 222"/>
                <a:gd name="T4" fmla="*/ 2147483647 w 426"/>
                <a:gd name="T5" fmla="*/ 2147483647 h 222"/>
                <a:gd name="T6" fmla="*/ 0 w 426"/>
                <a:gd name="T7" fmla="*/ 2147483647 h 222"/>
                <a:gd name="T8" fmla="*/ 2147483647 w 426"/>
                <a:gd name="T9" fmla="*/ 2147483647 h 222"/>
                <a:gd name="T10" fmla="*/ 2147483647 w 426"/>
                <a:gd name="T11" fmla="*/ 2147483647 h 222"/>
                <a:gd name="T12" fmla="*/ 2147483647 w 426"/>
                <a:gd name="T13" fmla="*/ 2147483647 h 222"/>
                <a:gd name="T14" fmla="*/ 2147483647 w 426"/>
                <a:gd name="T15" fmla="*/ 2147483647 h 222"/>
                <a:gd name="T16" fmla="*/ 2147483647 w 426"/>
                <a:gd name="T17" fmla="*/ 2147483647 h 222"/>
                <a:gd name="T18" fmla="*/ 2147483647 w 426"/>
                <a:gd name="T19" fmla="*/ 2147483647 h 222"/>
                <a:gd name="T20" fmla="*/ 2147483647 w 426"/>
                <a:gd name="T21" fmla="*/ 2147483647 h 222"/>
                <a:gd name="T22" fmla="*/ 2147483647 w 426"/>
                <a:gd name="T23" fmla="*/ 2147483647 h 222"/>
                <a:gd name="T24" fmla="*/ 2147483647 w 426"/>
                <a:gd name="T25" fmla="*/ 2147483647 h 222"/>
                <a:gd name="T26" fmla="*/ 2147483647 w 426"/>
                <a:gd name="T27" fmla="*/ 2147483647 h 222"/>
                <a:gd name="T28" fmla="*/ 2147483647 w 426"/>
                <a:gd name="T29" fmla="*/ 2147483647 h 222"/>
                <a:gd name="T30" fmla="*/ 2147483647 w 426"/>
                <a:gd name="T31" fmla="*/ 2147483647 h 222"/>
                <a:gd name="T32" fmla="*/ 2147483647 w 426"/>
                <a:gd name="T33" fmla="*/ 2147483647 h 222"/>
                <a:gd name="T34" fmla="*/ 2147483647 w 426"/>
                <a:gd name="T35" fmla="*/ 2147483647 h 222"/>
                <a:gd name="T36" fmla="*/ 2147483647 w 426"/>
                <a:gd name="T37" fmla="*/ 2147483647 h 222"/>
                <a:gd name="T38" fmla="*/ 2147483647 w 426"/>
                <a:gd name="T39" fmla="*/ 2147483647 h 222"/>
                <a:gd name="T40" fmla="*/ 2147483647 w 426"/>
                <a:gd name="T41" fmla="*/ 2147483647 h 222"/>
                <a:gd name="T42" fmla="*/ 2147483647 w 426"/>
                <a:gd name="T43" fmla="*/ 2147483647 h 222"/>
                <a:gd name="T44" fmla="*/ 2147483647 w 426"/>
                <a:gd name="T45" fmla="*/ 2147483647 h 222"/>
                <a:gd name="T46" fmla="*/ 2147483647 w 426"/>
                <a:gd name="T47" fmla="*/ 2147483647 h 222"/>
                <a:gd name="T48" fmla="*/ 2147483647 w 426"/>
                <a:gd name="T49" fmla="*/ 0 h 222"/>
                <a:gd name="T50" fmla="*/ 2147483647 w 426"/>
                <a:gd name="T51" fmla="*/ 2147483647 h 222"/>
                <a:gd name="T52" fmla="*/ 2147483647 w 426"/>
                <a:gd name="T53" fmla="*/ 0 h 222"/>
                <a:gd name="T54" fmla="*/ 2147483647 w 426"/>
                <a:gd name="T55" fmla="*/ 2147483647 h 222"/>
                <a:gd name="T56" fmla="*/ 2147483647 w 426"/>
                <a:gd name="T57" fmla="*/ 2147483647 h 222"/>
                <a:gd name="T58" fmla="*/ 2147483647 w 426"/>
                <a:gd name="T59" fmla="*/ 2147483647 h 222"/>
                <a:gd name="T60" fmla="*/ 2147483647 w 426"/>
                <a:gd name="T61" fmla="*/ 2147483647 h 222"/>
                <a:gd name="T62" fmla="*/ 2147483647 w 426"/>
                <a:gd name="T63" fmla="*/ 2147483647 h 222"/>
                <a:gd name="T64" fmla="*/ 2147483647 w 426"/>
                <a:gd name="T65" fmla="*/ 2147483647 h 222"/>
                <a:gd name="T66" fmla="*/ 2147483647 w 426"/>
                <a:gd name="T67" fmla="*/ 2147483647 h 222"/>
                <a:gd name="T68" fmla="*/ 2147483647 w 426"/>
                <a:gd name="T69" fmla="*/ 2147483647 h 222"/>
                <a:gd name="T70" fmla="*/ 2147483647 w 426"/>
                <a:gd name="T71" fmla="*/ 2147483647 h 22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26"/>
                <a:gd name="T109" fmla="*/ 0 h 222"/>
                <a:gd name="T110" fmla="*/ 426 w 426"/>
                <a:gd name="T111" fmla="*/ 222 h 22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26" h="222">
                  <a:moveTo>
                    <a:pt x="42" y="66"/>
                  </a:moveTo>
                  <a:lnTo>
                    <a:pt x="24" y="66"/>
                  </a:lnTo>
                  <a:lnTo>
                    <a:pt x="18" y="78"/>
                  </a:lnTo>
                  <a:lnTo>
                    <a:pt x="30" y="78"/>
                  </a:lnTo>
                  <a:lnTo>
                    <a:pt x="18" y="96"/>
                  </a:lnTo>
                  <a:lnTo>
                    <a:pt x="18" y="120"/>
                  </a:lnTo>
                  <a:lnTo>
                    <a:pt x="0" y="120"/>
                  </a:lnTo>
                  <a:lnTo>
                    <a:pt x="0" y="126"/>
                  </a:lnTo>
                  <a:lnTo>
                    <a:pt x="6" y="132"/>
                  </a:lnTo>
                  <a:lnTo>
                    <a:pt x="12" y="150"/>
                  </a:lnTo>
                  <a:lnTo>
                    <a:pt x="30" y="162"/>
                  </a:lnTo>
                  <a:lnTo>
                    <a:pt x="42" y="168"/>
                  </a:lnTo>
                  <a:lnTo>
                    <a:pt x="48" y="174"/>
                  </a:lnTo>
                  <a:lnTo>
                    <a:pt x="48" y="180"/>
                  </a:lnTo>
                  <a:lnTo>
                    <a:pt x="60" y="192"/>
                  </a:lnTo>
                  <a:lnTo>
                    <a:pt x="72" y="198"/>
                  </a:lnTo>
                  <a:lnTo>
                    <a:pt x="78" y="204"/>
                  </a:lnTo>
                  <a:lnTo>
                    <a:pt x="90" y="210"/>
                  </a:lnTo>
                  <a:lnTo>
                    <a:pt x="108" y="210"/>
                  </a:lnTo>
                  <a:lnTo>
                    <a:pt x="114" y="222"/>
                  </a:lnTo>
                  <a:lnTo>
                    <a:pt x="156" y="216"/>
                  </a:lnTo>
                  <a:lnTo>
                    <a:pt x="168" y="210"/>
                  </a:lnTo>
                  <a:lnTo>
                    <a:pt x="174" y="204"/>
                  </a:lnTo>
                  <a:lnTo>
                    <a:pt x="198" y="204"/>
                  </a:lnTo>
                  <a:lnTo>
                    <a:pt x="216" y="186"/>
                  </a:lnTo>
                  <a:lnTo>
                    <a:pt x="240" y="186"/>
                  </a:lnTo>
                  <a:lnTo>
                    <a:pt x="258" y="198"/>
                  </a:lnTo>
                  <a:lnTo>
                    <a:pt x="288" y="192"/>
                  </a:lnTo>
                  <a:lnTo>
                    <a:pt x="288" y="174"/>
                  </a:lnTo>
                  <a:lnTo>
                    <a:pt x="306" y="180"/>
                  </a:lnTo>
                  <a:lnTo>
                    <a:pt x="312" y="174"/>
                  </a:lnTo>
                  <a:lnTo>
                    <a:pt x="324" y="168"/>
                  </a:lnTo>
                  <a:lnTo>
                    <a:pt x="330" y="162"/>
                  </a:lnTo>
                  <a:lnTo>
                    <a:pt x="330" y="144"/>
                  </a:lnTo>
                  <a:lnTo>
                    <a:pt x="336" y="138"/>
                  </a:lnTo>
                  <a:lnTo>
                    <a:pt x="348" y="132"/>
                  </a:lnTo>
                  <a:lnTo>
                    <a:pt x="366" y="114"/>
                  </a:lnTo>
                  <a:lnTo>
                    <a:pt x="366" y="72"/>
                  </a:lnTo>
                  <a:lnTo>
                    <a:pt x="378" y="60"/>
                  </a:lnTo>
                  <a:lnTo>
                    <a:pt x="408" y="60"/>
                  </a:lnTo>
                  <a:lnTo>
                    <a:pt x="426" y="42"/>
                  </a:lnTo>
                  <a:lnTo>
                    <a:pt x="420" y="36"/>
                  </a:lnTo>
                  <a:lnTo>
                    <a:pt x="408" y="36"/>
                  </a:lnTo>
                  <a:lnTo>
                    <a:pt x="402" y="30"/>
                  </a:lnTo>
                  <a:lnTo>
                    <a:pt x="396" y="30"/>
                  </a:lnTo>
                  <a:lnTo>
                    <a:pt x="372" y="6"/>
                  </a:lnTo>
                  <a:lnTo>
                    <a:pt x="348" y="6"/>
                  </a:lnTo>
                  <a:lnTo>
                    <a:pt x="336" y="12"/>
                  </a:lnTo>
                  <a:lnTo>
                    <a:pt x="324" y="12"/>
                  </a:lnTo>
                  <a:lnTo>
                    <a:pt x="324" y="0"/>
                  </a:lnTo>
                  <a:lnTo>
                    <a:pt x="312" y="0"/>
                  </a:lnTo>
                  <a:lnTo>
                    <a:pt x="312" y="18"/>
                  </a:lnTo>
                  <a:lnTo>
                    <a:pt x="294" y="12"/>
                  </a:lnTo>
                  <a:lnTo>
                    <a:pt x="294" y="0"/>
                  </a:lnTo>
                  <a:lnTo>
                    <a:pt x="270" y="0"/>
                  </a:lnTo>
                  <a:lnTo>
                    <a:pt x="264" y="12"/>
                  </a:lnTo>
                  <a:lnTo>
                    <a:pt x="252" y="24"/>
                  </a:lnTo>
                  <a:lnTo>
                    <a:pt x="246" y="24"/>
                  </a:lnTo>
                  <a:lnTo>
                    <a:pt x="234" y="30"/>
                  </a:lnTo>
                  <a:lnTo>
                    <a:pt x="210" y="30"/>
                  </a:lnTo>
                  <a:lnTo>
                    <a:pt x="204" y="42"/>
                  </a:lnTo>
                  <a:lnTo>
                    <a:pt x="168" y="36"/>
                  </a:lnTo>
                  <a:lnTo>
                    <a:pt x="156" y="60"/>
                  </a:lnTo>
                  <a:lnTo>
                    <a:pt x="144" y="60"/>
                  </a:lnTo>
                  <a:lnTo>
                    <a:pt x="126" y="66"/>
                  </a:lnTo>
                  <a:lnTo>
                    <a:pt x="84" y="66"/>
                  </a:lnTo>
                  <a:lnTo>
                    <a:pt x="78" y="60"/>
                  </a:lnTo>
                  <a:lnTo>
                    <a:pt x="72" y="48"/>
                  </a:lnTo>
                  <a:lnTo>
                    <a:pt x="66" y="42"/>
                  </a:lnTo>
                  <a:lnTo>
                    <a:pt x="54" y="60"/>
                  </a:lnTo>
                  <a:lnTo>
                    <a:pt x="42" y="54"/>
                  </a:lnTo>
                  <a:lnTo>
                    <a:pt x="42" y="66"/>
                  </a:lnTo>
                  <a:close/>
                </a:path>
              </a:pathLst>
            </a:custGeom>
            <a:solidFill>
              <a:srgbClr val="00508C"/>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47" name="Honduras" descr="© INSCALE GmbH, 05.05.2010&#10;http://www.presentationload.com/"/>
            <p:cNvSpPr>
              <a:spLocks/>
            </p:cNvSpPr>
            <p:nvPr/>
          </p:nvSpPr>
          <p:spPr bwMode="gray">
            <a:xfrm>
              <a:off x="1679576" y="3559175"/>
              <a:ext cx="179387" cy="98425"/>
            </a:xfrm>
            <a:custGeom>
              <a:avLst/>
              <a:gdLst>
                <a:gd name="T0" fmla="*/ 2147483647 w 444"/>
                <a:gd name="T1" fmla="*/ 2147483647 h 246"/>
                <a:gd name="T2" fmla="*/ 2147483647 w 444"/>
                <a:gd name="T3" fmla="*/ 2147483647 h 246"/>
                <a:gd name="T4" fmla="*/ 2147483647 w 444"/>
                <a:gd name="T5" fmla="*/ 2147483647 h 246"/>
                <a:gd name="T6" fmla="*/ 2147483647 w 444"/>
                <a:gd name="T7" fmla="*/ 2147483647 h 246"/>
                <a:gd name="T8" fmla="*/ 2147483647 w 444"/>
                <a:gd name="T9" fmla="*/ 2147483647 h 246"/>
                <a:gd name="T10" fmla="*/ 2147483647 w 444"/>
                <a:gd name="T11" fmla="*/ 2147483647 h 246"/>
                <a:gd name="T12" fmla="*/ 2147483647 w 444"/>
                <a:gd name="T13" fmla="*/ 2147483647 h 246"/>
                <a:gd name="T14" fmla="*/ 2147483647 w 444"/>
                <a:gd name="T15" fmla="*/ 2147483647 h 246"/>
                <a:gd name="T16" fmla="*/ 2147483647 w 444"/>
                <a:gd name="T17" fmla="*/ 2147483647 h 246"/>
                <a:gd name="T18" fmla="*/ 2147483647 w 444"/>
                <a:gd name="T19" fmla="*/ 2147483647 h 246"/>
                <a:gd name="T20" fmla="*/ 2147483647 w 444"/>
                <a:gd name="T21" fmla="*/ 2147483647 h 246"/>
                <a:gd name="T22" fmla="*/ 2147483647 w 444"/>
                <a:gd name="T23" fmla="*/ 2147483647 h 246"/>
                <a:gd name="T24" fmla="*/ 2147483647 w 444"/>
                <a:gd name="T25" fmla="*/ 2147483647 h 246"/>
                <a:gd name="T26" fmla="*/ 2147483647 w 444"/>
                <a:gd name="T27" fmla="*/ 2147483647 h 246"/>
                <a:gd name="T28" fmla="*/ 2147483647 w 444"/>
                <a:gd name="T29" fmla="*/ 2147483647 h 246"/>
                <a:gd name="T30" fmla="*/ 2147483647 w 444"/>
                <a:gd name="T31" fmla="*/ 2147483647 h 246"/>
                <a:gd name="T32" fmla="*/ 2147483647 w 444"/>
                <a:gd name="T33" fmla="*/ 2147483647 h 246"/>
                <a:gd name="T34" fmla="*/ 2147483647 w 444"/>
                <a:gd name="T35" fmla="*/ 2147483647 h 246"/>
                <a:gd name="T36" fmla="*/ 2147483647 w 444"/>
                <a:gd name="T37" fmla="*/ 2147483647 h 246"/>
                <a:gd name="T38" fmla="*/ 2147483647 w 444"/>
                <a:gd name="T39" fmla="*/ 0 h 246"/>
                <a:gd name="T40" fmla="*/ 2147483647 w 444"/>
                <a:gd name="T41" fmla="*/ 2147483647 h 246"/>
                <a:gd name="T42" fmla="*/ 2147483647 w 444"/>
                <a:gd name="T43" fmla="*/ 2147483647 h 246"/>
                <a:gd name="T44" fmla="*/ 2147483647 w 444"/>
                <a:gd name="T45" fmla="*/ 0 h 246"/>
                <a:gd name="T46" fmla="*/ 2147483647 w 444"/>
                <a:gd name="T47" fmla="*/ 2147483647 h 246"/>
                <a:gd name="T48" fmla="*/ 2147483647 w 444"/>
                <a:gd name="T49" fmla="*/ 2147483647 h 246"/>
                <a:gd name="T50" fmla="*/ 2147483647 w 444"/>
                <a:gd name="T51" fmla="*/ 2147483647 h 246"/>
                <a:gd name="T52" fmla="*/ 2147483647 w 444"/>
                <a:gd name="T53" fmla="*/ 2147483647 h 246"/>
                <a:gd name="T54" fmla="*/ 2147483647 w 444"/>
                <a:gd name="T55" fmla="*/ 2147483647 h 246"/>
                <a:gd name="T56" fmla="*/ 2147483647 w 444"/>
                <a:gd name="T57" fmla="*/ 2147483647 h 246"/>
                <a:gd name="T58" fmla="*/ 2147483647 w 444"/>
                <a:gd name="T59" fmla="*/ 2147483647 h 246"/>
                <a:gd name="T60" fmla="*/ 2147483647 w 444"/>
                <a:gd name="T61" fmla="*/ 0 h 246"/>
                <a:gd name="T62" fmla="*/ 2147483647 w 444"/>
                <a:gd name="T63" fmla="*/ 2147483647 h 246"/>
                <a:gd name="T64" fmla="*/ 2147483647 w 444"/>
                <a:gd name="T65" fmla="*/ 2147483647 h 246"/>
                <a:gd name="T66" fmla="*/ 2147483647 w 444"/>
                <a:gd name="T67" fmla="*/ 2147483647 h 246"/>
                <a:gd name="T68" fmla="*/ 2147483647 w 444"/>
                <a:gd name="T69" fmla="*/ 2147483647 h 246"/>
                <a:gd name="T70" fmla="*/ 2147483647 w 444"/>
                <a:gd name="T71" fmla="*/ 2147483647 h 246"/>
                <a:gd name="T72" fmla="*/ 0 w 444"/>
                <a:gd name="T73" fmla="*/ 2147483647 h 246"/>
                <a:gd name="T74" fmla="*/ 2147483647 w 444"/>
                <a:gd name="T75" fmla="*/ 2147483647 h 246"/>
                <a:gd name="T76" fmla="*/ 2147483647 w 444"/>
                <a:gd name="T77" fmla="*/ 2147483647 h 246"/>
                <a:gd name="T78" fmla="*/ 2147483647 w 444"/>
                <a:gd name="T79" fmla="*/ 2147483647 h 246"/>
                <a:gd name="T80" fmla="*/ 2147483647 w 444"/>
                <a:gd name="T81" fmla="*/ 2147483647 h 246"/>
                <a:gd name="T82" fmla="*/ 2147483647 w 444"/>
                <a:gd name="T83" fmla="*/ 2147483647 h 246"/>
                <a:gd name="T84" fmla="*/ 2147483647 w 444"/>
                <a:gd name="T85" fmla="*/ 2147483647 h 246"/>
                <a:gd name="T86" fmla="*/ 2147483647 w 444"/>
                <a:gd name="T87" fmla="*/ 2147483647 h 24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44"/>
                <a:gd name="T133" fmla="*/ 0 h 246"/>
                <a:gd name="T134" fmla="*/ 444 w 444"/>
                <a:gd name="T135" fmla="*/ 246 h 24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44" h="246">
                  <a:moveTo>
                    <a:pt x="156" y="240"/>
                  </a:moveTo>
                  <a:lnTo>
                    <a:pt x="156" y="222"/>
                  </a:lnTo>
                  <a:lnTo>
                    <a:pt x="174" y="222"/>
                  </a:lnTo>
                  <a:lnTo>
                    <a:pt x="168" y="216"/>
                  </a:lnTo>
                  <a:lnTo>
                    <a:pt x="168" y="204"/>
                  </a:lnTo>
                  <a:lnTo>
                    <a:pt x="162" y="198"/>
                  </a:lnTo>
                  <a:lnTo>
                    <a:pt x="162" y="186"/>
                  </a:lnTo>
                  <a:lnTo>
                    <a:pt x="168" y="180"/>
                  </a:lnTo>
                  <a:lnTo>
                    <a:pt x="204" y="180"/>
                  </a:lnTo>
                  <a:lnTo>
                    <a:pt x="210" y="168"/>
                  </a:lnTo>
                  <a:lnTo>
                    <a:pt x="216" y="162"/>
                  </a:lnTo>
                  <a:lnTo>
                    <a:pt x="228" y="162"/>
                  </a:lnTo>
                  <a:lnTo>
                    <a:pt x="228" y="168"/>
                  </a:lnTo>
                  <a:lnTo>
                    <a:pt x="234" y="174"/>
                  </a:lnTo>
                  <a:lnTo>
                    <a:pt x="252" y="174"/>
                  </a:lnTo>
                  <a:lnTo>
                    <a:pt x="276" y="150"/>
                  </a:lnTo>
                  <a:lnTo>
                    <a:pt x="288" y="126"/>
                  </a:lnTo>
                  <a:lnTo>
                    <a:pt x="306" y="126"/>
                  </a:lnTo>
                  <a:lnTo>
                    <a:pt x="306" y="108"/>
                  </a:lnTo>
                  <a:lnTo>
                    <a:pt x="318" y="96"/>
                  </a:lnTo>
                  <a:lnTo>
                    <a:pt x="330" y="96"/>
                  </a:lnTo>
                  <a:lnTo>
                    <a:pt x="348" y="114"/>
                  </a:lnTo>
                  <a:lnTo>
                    <a:pt x="360" y="114"/>
                  </a:lnTo>
                  <a:lnTo>
                    <a:pt x="372" y="102"/>
                  </a:lnTo>
                  <a:lnTo>
                    <a:pt x="372" y="96"/>
                  </a:lnTo>
                  <a:lnTo>
                    <a:pt x="420" y="96"/>
                  </a:lnTo>
                  <a:lnTo>
                    <a:pt x="426" y="90"/>
                  </a:lnTo>
                  <a:lnTo>
                    <a:pt x="432" y="90"/>
                  </a:lnTo>
                  <a:lnTo>
                    <a:pt x="444" y="84"/>
                  </a:lnTo>
                  <a:lnTo>
                    <a:pt x="444" y="78"/>
                  </a:lnTo>
                  <a:lnTo>
                    <a:pt x="426" y="60"/>
                  </a:lnTo>
                  <a:lnTo>
                    <a:pt x="402" y="48"/>
                  </a:lnTo>
                  <a:lnTo>
                    <a:pt x="396" y="48"/>
                  </a:lnTo>
                  <a:lnTo>
                    <a:pt x="390" y="42"/>
                  </a:lnTo>
                  <a:lnTo>
                    <a:pt x="384" y="30"/>
                  </a:lnTo>
                  <a:lnTo>
                    <a:pt x="372" y="24"/>
                  </a:lnTo>
                  <a:lnTo>
                    <a:pt x="366" y="18"/>
                  </a:lnTo>
                  <a:lnTo>
                    <a:pt x="348" y="18"/>
                  </a:lnTo>
                  <a:lnTo>
                    <a:pt x="342" y="6"/>
                  </a:lnTo>
                  <a:lnTo>
                    <a:pt x="336" y="0"/>
                  </a:lnTo>
                  <a:lnTo>
                    <a:pt x="312" y="0"/>
                  </a:lnTo>
                  <a:lnTo>
                    <a:pt x="300" y="6"/>
                  </a:lnTo>
                  <a:lnTo>
                    <a:pt x="294" y="12"/>
                  </a:lnTo>
                  <a:lnTo>
                    <a:pt x="282" y="12"/>
                  </a:lnTo>
                  <a:lnTo>
                    <a:pt x="270" y="0"/>
                  </a:lnTo>
                  <a:lnTo>
                    <a:pt x="252" y="0"/>
                  </a:lnTo>
                  <a:lnTo>
                    <a:pt x="240" y="6"/>
                  </a:lnTo>
                  <a:lnTo>
                    <a:pt x="234" y="18"/>
                  </a:lnTo>
                  <a:lnTo>
                    <a:pt x="222" y="24"/>
                  </a:lnTo>
                  <a:lnTo>
                    <a:pt x="186" y="24"/>
                  </a:lnTo>
                  <a:lnTo>
                    <a:pt x="174" y="18"/>
                  </a:lnTo>
                  <a:lnTo>
                    <a:pt x="168" y="12"/>
                  </a:lnTo>
                  <a:lnTo>
                    <a:pt x="156" y="12"/>
                  </a:lnTo>
                  <a:lnTo>
                    <a:pt x="150" y="18"/>
                  </a:lnTo>
                  <a:lnTo>
                    <a:pt x="144" y="18"/>
                  </a:lnTo>
                  <a:lnTo>
                    <a:pt x="138" y="24"/>
                  </a:lnTo>
                  <a:lnTo>
                    <a:pt x="132" y="24"/>
                  </a:lnTo>
                  <a:lnTo>
                    <a:pt x="132" y="18"/>
                  </a:lnTo>
                  <a:lnTo>
                    <a:pt x="126" y="12"/>
                  </a:lnTo>
                  <a:lnTo>
                    <a:pt x="126" y="6"/>
                  </a:lnTo>
                  <a:lnTo>
                    <a:pt x="120" y="0"/>
                  </a:lnTo>
                  <a:lnTo>
                    <a:pt x="114" y="0"/>
                  </a:lnTo>
                  <a:lnTo>
                    <a:pt x="96" y="18"/>
                  </a:lnTo>
                  <a:lnTo>
                    <a:pt x="90" y="18"/>
                  </a:lnTo>
                  <a:lnTo>
                    <a:pt x="84" y="30"/>
                  </a:lnTo>
                  <a:lnTo>
                    <a:pt x="72" y="36"/>
                  </a:lnTo>
                  <a:lnTo>
                    <a:pt x="60" y="48"/>
                  </a:lnTo>
                  <a:lnTo>
                    <a:pt x="48" y="54"/>
                  </a:lnTo>
                  <a:lnTo>
                    <a:pt x="36" y="66"/>
                  </a:lnTo>
                  <a:lnTo>
                    <a:pt x="24" y="72"/>
                  </a:lnTo>
                  <a:lnTo>
                    <a:pt x="18" y="84"/>
                  </a:lnTo>
                  <a:lnTo>
                    <a:pt x="18" y="102"/>
                  </a:lnTo>
                  <a:lnTo>
                    <a:pt x="12" y="114"/>
                  </a:lnTo>
                  <a:lnTo>
                    <a:pt x="0" y="126"/>
                  </a:lnTo>
                  <a:lnTo>
                    <a:pt x="6" y="138"/>
                  </a:lnTo>
                  <a:lnTo>
                    <a:pt x="18" y="150"/>
                  </a:lnTo>
                  <a:lnTo>
                    <a:pt x="42" y="150"/>
                  </a:lnTo>
                  <a:lnTo>
                    <a:pt x="42" y="168"/>
                  </a:lnTo>
                  <a:lnTo>
                    <a:pt x="48" y="174"/>
                  </a:lnTo>
                  <a:lnTo>
                    <a:pt x="60" y="174"/>
                  </a:lnTo>
                  <a:lnTo>
                    <a:pt x="66" y="168"/>
                  </a:lnTo>
                  <a:lnTo>
                    <a:pt x="102" y="168"/>
                  </a:lnTo>
                  <a:lnTo>
                    <a:pt x="102" y="210"/>
                  </a:lnTo>
                  <a:lnTo>
                    <a:pt x="126" y="222"/>
                  </a:lnTo>
                  <a:lnTo>
                    <a:pt x="132" y="228"/>
                  </a:lnTo>
                  <a:lnTo>
                    <a:pt x="132" y="246"/>
                  </a:lnTo>
                  <a:lnTo>
                    <a:pt x="144" y="246"/>
                  </a:lnTo>
                  <a:lnTo>
                    <a:pt x="156" y="240"/>
                  </a:lnTo>
                  <a:close/>
                </a:path>
              </a:pathLst>
            </a:custGeom>
            <a:solidFill>
              <a:srgbClr val="658B26"/>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48" name="Haiti" descr="© INSCALE GmbH, 05.05.2010&#10;http://www.presentationload.com/"/>
            <p:cNvSpPr>
              <a:spLocks/>
            </p:cNvSpPr>
            <p:nvPr/>
          </p:nvSpPr>
          <p:spPr bwMode="gray">
            <a:xfrm>
              <a:off x="2119315" y="3433763"/>
              <a:ext cx="79375" cy="61913"/>
            </a:xfrm>
            <a:custGeom>
              <a:avLst/>
              <a:gdLst>
                <a:gd name="T0" fmla="*/ 2147483647 w 198"/>
                <a:gd name="T1" fmla="*/ 2147483647 h 156"/>
                <a:gd name="T2" fmla="*/ 2147483647 w 198"/>
                <a:gd name="T3" fmla="*/ 2147483647 h 156"/>
                <a:gd name="T4" fmla="*/ 2147483647 w 198"/>
                <a:gd name="T5" fmla="*/ 2147483647 h 156"/>
                <a:gd name="T6" fmla="*/ 2147483647 w 198"/>
                <a:gd name="T7" fmla="*/ 2147483647 h 156"/>
                <a:gd name="T8" fmla="*/ 2147483647 w 198"/>
                <a:gd name="T9" fmla="*/ 2147483647 h 156"/>
                <a:gd name="T10" fmla="*/ 2147483647 w 198"/>
                <a:gd name="T11" fmla="*/ 2147483647 h 156"/>
                <a:gd name="T12" fmla="*/ 2147483647 w 198"/>
                <a:gd name="T13" fmla="*/ 2147483647 h 156"/>
                <a:gd name="T14" fmla="*/ 2147483647 w 198"/>
                <a:gd name="T15" fmla="*/ 2147483647 h 156"/>
                <a:gd name="T16" fmla="*/ 2147483647 w 198"/>
                <a:gd name="T17" fmla="*/ 2147483647 h 156"/>
                <a:gd name="T18" fmla="*/ 2147483647 w 198"/>
                <a:gd name="T19" fmla="*/ 2147483647 h 156"/>
                <a:gd name="T20" fmla="*/ 2147483647 w 198"/>
                <a:gd name="T21" fmla="*/ 2147483647 h 156"/>
                <a:gd name="T22" fmla="*/ 2147483647 w 198"/>
                <a:gd name="T23" fmla="*/ 2147483647 h 156"/>
                <a:gd name="T24" fmla="*/ 2147483647 w 198"/>
                <a:gd name="T25" fmla="*/ 2147483647 h 156"/>
                <a:gd name="T26" fmla="*/ 2147483647 w 198"/>
                <a:gd name="T27" fmla="*/ 2147483647 h 156"/>
                <a:gd name="T28" fmla="*/ 2147483647 w 198"/>
                <a:gd name="T29" fmla="*/ 2147483647 h 156"/>
                <a:gd name="T30" fmla="*/ 2147483647 w 198"/>
                <a:gd name="T31" fmla="*/ 2147483647 h 156"/>
                <a:gd name="T32" fmla="*/ 2147483647 w 198"/>
                <a:gd name="T33" fmla="*/ 2147483647 h 156"/>
                <a:gd name="T34" fmla="*/ 2147483647 w 198"/>
                <a:gd name="T35" fmla="*/ 0 h 156"/>
                <a:gd name="T36" fmla="*/ 2147483647 w 198"/>
                <a:gd name="T37" fmla="*/ 0 h 156"/>
                <a:gd name="T38" fmla="*/ 2147483647 w 198"/>
                <a:gd name="T39" fmla="*/ 2147483647 h 156"/>
                <a:gd name="T40" fmla="*/ 2147483647 w 198"/>
                <a:gd name="T41" fmla="*/ 2147483647 h 156"/>
                <a:gd name="T42" fmla="*/ 2147483647 w 198"/>
                <a:gd name="T43" fmla="*/ 2147483647 h 156"/>
                <a:gd name="T44" fmla="*/ 2147483647 w 198"/>
                <a:gd name="T45" fmla="*/ 2147483647 h 156"/>
                <a:gd name="T46" fmla="*/ 2147483647 w 198"/>
                <a:gd name="T47" fmla="*/ 2147483647 h 156"/>
                <a:gd name="T48" fmla="*/ 2147483647 w 198"/>
                <a:gd name="T49" fmla="*/ 2147483647 h 156"/>
                <a:gd name="T50" fmla="*/ 2147483647 w 198"/>
                <a:gd name="T51" fmla="*/ 2147483647 h 156"/>
                <a:gd name="T52" fmla="*/ 2147483647 w 198"/>
                <a:gd name="T53" fmla="*/ 2147483647 h 156"/>
                <a:gd name="T54" fmla="*/ 2147483647 w 198"/>
                <a:gd name="T55" fmla="*/ 2147483647 h 156"/>
                <a:gd name="T56" fmla="*/ 2147483647 w 198"/>
                <a:gd name="T57" fmla="*/ 2147483647 h 156"/>
                <a:gd name="T58" fmla="*/ 2147483647 w 198"/>
                <a:gd name="T59" fmla="*/ 2147483647 h 156"/>
                <a:gd name="T60" fmla="*/ 2147483647 w 198"/>
                <a:gd name="T61" fmla="*/ 2147483647 h 156"/>
                <a:gd name="T62" fmla="*/ 2147483647 w 198"/>
                <a:gd name="T63" fmla="*/ 2147483647 h 156"/>
                <a:gd name="T64" fmla="*/ 2147483647 w 198"/>
                <a:gd name="T65" fmla="*/ 2147483647 h 156"/>
                <a:gd name="T66" fmla="*/ 2147483647 w 198"/>
                <a:gd name="T67" fmla="*/ 2147483647 h 156"/>
                <a:gd name="T68" fmla="*/ 2147483647 w 198"/>
                <a:gd name="T69" fmla="*/ 2147483647 h 156"/>
                <a:gd name="T70" fmla="*/ 2147483647 w 198"/>
                <a:gd name="T71" fmla="*/ 2147483647 h 156"/>
                <a:gd name="T72" fmla="*/ 2147483647 w 198"/>
                <a:gd name="T73" fmla="*/ 2147483647 h 156"/>
                <a:gd name="T74" fmla="*/ 2147483647 w 198"/>
                <a:gd name="T75" fmla="*/ 2147483647 h 156"/>
                <a:gd name="T76" fmla="*/ 2147483647 w 198"/>
                <a:gd name="T77" fmla="*/ 2147483647 h 156"/>
                <a:gd name="T78" fmla="*/ 2147483647 w 198"/>
                <a:gd name="T79" fmla="*/ 2147483647 h 156"/>
                <a:gd name="T80" fmla="*/ 2147483647 w 198"/>
                <a:gd name="T81" fmla="*/ 2147483647 h 156"/>
                <a:gd name="T82" fmla="*/ 0 w 198"/>
                <a:gd name="T83" fmla="*/ 2147483647 h 156"/>
                <a:gd name="T84" fmla="*/ 0 w 198"/>
                <a:gd name="T85" fmla="*/ 2147483647 h 156"/>
                <a:gd name="T86" fmla="*/ 2147483647 w 198"/>
                <a:gd name="T87" fmla="*/ 2147483647 h 156"/>
                <a:gd name="T88" fmla="*/ 2147483647 w 198"/>
                <a:gd name="T89" fmla="*/ 2147483647 h 156"/>
                <a:gd name="T90" fmla="*/ 2147483647 w 198"/>
                <a:gd name="T91" fmla="*/ 2147483647 h 156"/>
                <a:gd name="T92" fmla="*/ 2147483647 w 198"/>
                <a:gd name="T93" fmla="*/ 2147483647 h 156"/>
                <a:gd name="T94" fmla="*/ 2147483647 w 198"/>
                <a:gd name="T95" fmla="*/ 2147483647 h 156"/>
                <a:gd name="T96" fmla="*/ 2147483647 w 198"/>
                <a:gd name="T97" fmla="*/ 2147483647 h 156"/>
                <a:gd name="T98" fmla="*/ 2147483647 w 198"/>
                <a:gd name="T99" fmla="*/ 2147483647 h 156"/>
                <a:gd name="T100" fmla="*/ 2147483647 w 198"/>
                <a:gd name="T101" fmla="*/ 2147483647 h 156"/>
                <a:gd name="T102" fmla="*/ 2147483647 w 198"/>
                <a:gd name="T103" fmla="*/ 2147483647 h 156"/>
                <a:gd name="T104" fmla="*/ 2147483647 w 198"/>
                <a:gd name="T105" fmla="*/ 2147483647 h 156"/>
                <a:gd name="T106" fmla="*/ 2147483647 w 198"/>
                <a:gd name="T107" fmla="*/ 2147483647 h 156"/>
                <a:gd name="T108" fmla="*/ 2147483647 w 198"/>
                <a:gd name="T109" fmla="*/ 2147483647 h 156"/>
                <a:gd name="T110" fmla="*/ 2147483647 w 198"/>
                <a:gd name="T111" fmla="*/ 2147483647 h 156"/>
                <a:gd name="T112" fmla="*/ 2147483647 w 198"/>
                <a:gd name="T113" fmla="*/ 2147483647 h 15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98"/>
                <a:gd name="T172" fmla="*/ 0 h 156"/>
                <a:gd name="T173" fmla="*/ 198 w 198"/>
                <a:gd name="T174" fmla="*/ 156 h 15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98" h="156">
                  <a:moveTo>
                    <a:pt x="168" y="114"/>
                  </a:moveTo>
                  <a:lnTo>
                    <a:pt x="168" y="108"/>
                  </a:lnTo>
                  <a:lnTo>
                    <a:pt x="174" y="102"/>
                  </a:lnTo>
                  <a:lnTo>
                    <a:pt x="180" y="90"/>
                  </a:lnTo>
                  <a:lnTo>
                    <a:pt x="180" y="78"/>
                  </a:lnTo>
                  <a:lnTo>
                    <a:pt x="186" y="72"/>
                  </a:lnTo>
                  <a:lnTo>
                    <a:pt x="192" y="60"/>
                  </a:lnTo>
                  <a:lnTo>
                    <a:pt x="198" y="54"/>
                  </a:lnTo>
                  <a:lnTo>
                    <a:pt x="198" y="42"/>
                  </a:lnTo>
                  <a:lnTo>
                    <a:pt x="186" y="6"/>
                  </a:lnTo>
                  <a:lnTo>
                    <a:pt x="180" y="12"/>
                  </a:lnTo>
                  <a:lnTo>
                    <a:pt x="180" y="18"/>
                  </a:lnTo>
                  <a:lnTo>
                    <a:pt x="174" y="18"/>
                  </a:lnTo>
                  <a:lnTo>
                    <a:pt x="168" y="12"/>
                  </a:lnTo>
                  <a:lnTo>
                    <a:pt x="156" y="12"/>
                  </a:lnTo>
                  <a:lnTo>
                    <a:pt x="144" y="6"/>
                  </a:lnTo>
                  <a:lnTo>
                    <a:pt x="126" y="6"/>
                  </a:lnTo>
                  <a:lnTo>
                    <a:pt x="114" y="0"/>
                  </a:lnTo>
                  <a:lnTo>
                    <a:pt x="84" y="0"/>
                  </a:lnTo>
                  <a:lnTo>
                    <a:pt x="72" y="6"/>
                  </a:lnTo>
                  <a:lnTo>
                    <a:pt x="66" y="12"/>
                  </a:lnTo>
                  <a:lnTo>
                    <a:pt x="66" y="18"/>
                  </a:lnTo>
                  <a:lnTo>
                    <a:pt x="72" y="24"/>
                  </a:lnTo>
                  <a:lnTo>
                    <a:pt x="108" y="24"/>
                  </a:lnTo>
                  <a:lnTo>
                    <a:pt x="114" y="30"/>
                  </a:lnTo>
                  <a:lnTo>
                    <a:pt x="120" y="42"/>
                  </a:lnTo>
                  <a:lnTo>
                    <a:pt x="126" y="48"/>
                  </a:lnTo>
                  <a:lnTo>
                    <a:pt x="114" y="54"/>
                  </a:lnTo>
                  <a:lnTo>
                    <a:pt x="108" y="60"/>
                  </a:lnTo>
                  <a:lnTo>
                    <a:pt x="108" y="72"/>
                  </a:lnTo>
                  <a:lnTo>
                    <a:pt x="114" y="84"/>
                  </a:lnTo>
                  <a:lnTo>
                    <a:pt x="114" y="96"/>
                  </a:lnTo>
                  <a:lnTo>
                    <a:pt x="120" y="102"/>
                  </a:lnTo>
                  <a:lnTo>
                    <a:pt x="114" y="108"/>
                  </a:lnTo>
                  <a:lnTo>
                    <a:pt x="96" y="108"/>
                  </a:lnTo>
                  <a:lnTo>
                    <a:pt x="78" y="102"/>
                  </a:lnTo>
                  <a:lnTo>
                    <a:pt x="66" y="102"/>
                  </a:lnTo>
                  <a:lnTo>
                    <a:pt x="54" y="96"/>
                  </a:lnTo>
                  <a:lnTo>
                    <a:pt x="36" y="96"/>
                  </a:lnTo>
                  <a:lnTo>
                    <a:pt x="24" y="102"/>
                  </a:lnTo>
                  <a:lnTo>
                    <a:pt x="6" y="102"/>
                  </a:lnTo>
                  <a:lnTo>
                    <a:pt x="0" y="108"/>
                  </a:lnTo>
                  <a:lnTo>
                    <a:pt x="0" y="114"/>
                  </a:lnTo>
                  <a:lnTo>
                    <a:pt x="6" y="120"/>
                  </a:lnTo>
                  <a:lnTo>
                    <a:pt x="12" y="132"/>
                  </a:lnTo>
                  <a:lnTo>
                    <a:pt x="24" y="138"/>
                  </a:lnTo>
                  <a:lnTo>
                    <a:pt x="30" y="150"/>
                  </a:lnTo>
                  <a:lnTo>
                    <a:pt x="36" y="156"/>
                  </a:lnTo>
                  <a:lnTo>
                    <a:pt x="42" y="156"/>
                  </a:lnTo>
                  <a:lnTo>
                    <a:pt x="48" y="150"/>
                  </a:lnTo>
                  <a:lnTo>
                    <a:pt x="54" y="138"/>
                  </a:lnTo>
                  <a:lnTo>
                    <a:pt x="60" y="132"/>
                  </a:lnTo>
                  <a:lnTo>
                    <a:pt x="138" y="132"/>
                  </a:lnTo>
                  <a:lnTo>
                    <a:pt x="156" y="126"/>
                  </a:lnTo>
                  <a:lnTo>
                    <a:pt x="168" y="126"/>
                  </a:lnTo>
                  <a:lnTo>
                    <a:pt x="180" y="144"/>
                  </a:lnTo>
                  <a:lnTo>
                    <a:pt x="168" y="114"/>
                  </a:lnTo>
                  <a:close/>
                </a:path>
              </a:pathLst>
            </a:custGeom>
            <a:solidFill>
              <a:srgbClr val="658B26"/>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49" name="Guyane (French Guiana)" descr="© INSCALE GmbH, 05.05.2010&#10;http://www.presentationload.com/"/>
            <p:cNvSpPr>
              <a:spLocks/>
            </p:cNvSpPr>
            <p:nvPr/>
          </p:nvSpPr>
          <p:spPr bwMode="gray">
            <a:xfrm>
              <a:off x="2647951" y="3890962"/>
              <a:ext cx="82550" cy="119063"/>
            </a:xfrm>
            <a:custGeom>
              <a:avLst/>
              <a:gdLst>
                <a:gd name="T0" fmla="*/ 2147483647 w 52"/>
                <a:gd name="T1" fmla="*/ 2147483647 h 76"/>
                <a:gd name="T2" fmla="*/ 2147483647 w 52"/>
                <a:gd name="T3" fmla="*/ 2147483647 h 76"/>
                <a:gd name="T4" fmla="*/ 2147483647 w 52"/>
                <a:gd name="T5" fmla="*/ 2147483647 h 76"/>
                <a:gd name="T6" fmla="*/ 2147483647 w 52"/>
                <a:gd name="T7" fmla="*/ 2147483647 h 76"/>
                <a:gd name="T8" fmla="*/ 2147483647 w 52"/>
                <a:gd name="T9" fmla="*/ 2147483647 h 76"/>
                <a:gd name="T10" fmla="*/ 2147483647 w 52"/>
                <a:gd name="T11" fmla="*/ 2147483647 h 76"/>
                <a:gd name="T12" fmla="*/ 2147483647 w 52"/>
                <a:gd name="T13" fmla="*/ 2147483647 h 76"/>
                <a:gd name="T14" fmla="*/ 2147483647 w 52"/>
                <a:gd name="T15" fmla="*/ 2147483647 h 76"/>
                <a:gd name="T16" fmla="*/ 2147483647 w 52"/>
                <a:gd name="T17" fmla="*/ 2147483647 h 76"/>
                <a:gd name="T18" fmla="*/ 2147483647 w 52"/>
                <a:gd name="T19" fmla="*/ 2147483647 h 76"/>
                <a:gd name="T20" fmla="*/ 2147483647 w 52"/>
                <a:gd name="T21" fmla="*/ 2147483647 h 76"/>
                <a:gd name="T22" fmla="*/ 2147483647 w 52"/>
                <a:gd name="T23" fmla="*/ 0 h 76"/>
                <a:gd name="T24" fmla="*/ 2147483647 w 52"/>
                <a:gd name="T25" fmla="*/ 2147483647 h 76"/>
                <a:gd name="T26" fmla="*/ 2147483647 w 52"/>
                <a:gd name="T27" fmla="*/ 2147483647 h 76"/>
                <a:gd name="T28" fmla="*/ 2147483647 w 52"/>
                <a:gd name="T29" fmla="*/ 2147483647 h 76"/>
                <a:gd name="T30" fmla="*/ 2147483647 w 52"/>
                <a:gd name="T31" fmla="*/ 2147483647 h 76"/>
                <a:gd name="T32" fmla="*/ 2147483647 w 52"/>
                <a:gd name="T33" fmla="*/ 2147483647 h 76"/>
                <a:gd name="T34" fmla="*/ 2147483647 w 52"/>
                <a:gd name="T35" fmla="*/ 2147483647 h 76"/>
                <a:gd name="T36" fmla="*/ 2147483647 w 52"/>
                <a:gd name="T37" fmla="*/ 2147483647 h 76"/>
                <a:gd name="T38" fmla="*/ 2147483647 w 52"/>
                <a:gd name="T39" fmla="*/ 2147483647 h 76"/>
                <a:gd name="T40" fmla="*/ 2147483647 w 52"/>
                <a:gd name="T41" fmla="*/ 2147483647 h 76"/>
                <a:gd name="T42" fmla="*/ 2147483647 w 52"/>
                <a:gd name="T43" fmla="*/ 2147483647 h 76"/>
                <a:gd name="T44" fmla="*/ 2147483647 w 52"/>
                <a:gd name="T45" fmla="*/ 2147483647 h 76"/>
                <a:gd name="T46" fmla="*/ 2147483647 w 52"/>
                <a:gd name="T47" fmla="*/ 2147483647 h 76"/>
                <a:gd name="T48" fmla="*/ 2147483647 w 52"/>
                <a:gd name="T49" fmla="*/ 2147483647 h 76"/>
                <a:gd name="T50" fmla="*/ 2147483647 w 52"/>
                <a:gd name="T51" fmla="*/ 2147483647 h 76"/>
                <a:gd name="T52" fmla="*/ 2147483647 w 52"/>
                <a:gd name="T53" fmla="*/ 2147483647 h 76"/>
                <a:gd name="T54" fmla="*/ 2147483647 w 52"/>
                <a:gd name="T55" fmla="*/ 2147483647 h 76"/>
                <a:gd name="T56" fmla="*/ 2147483647 w 52"/>
                <a:gd name="T57" fmla="*/ 2147483647 h 76"/>
                <a:gd name="T58" fmla="*/ 2147483647 w 52"/>
                <a:gd name="T59" fmla="*/ 2147483647 h 76"/>
                <a:gd name="T60" fmla="*/ 2147483647 w 52"/>
                <a:gd name="T61" fmla="*/ 2147483647 h 76"/>
                <a:gd name="T62" fmla="*/ 2147483647 w 52"/>
                <a:gd name="T63" fmla="*/ 2147483647 h 76"/>
                <a:gd name="T64" fmla="*/ 0 w 52"/>
                <a:gd name="T65" fmla="*/ 2147483647 h 76"/>
                <a:gd name="T66" fmla="*/ 0 w 52"/>
                <a:gd name="T67" fmla="*/ 2147483647 h 76"/>
                <a:gd name="T68" fmla="*/ 2147483647 w 52"/>
                <a:gd name="T69" fmla="*/ 2147483647 h 76"/>
                <a:gd name="T70" fmla="*/ 2147483647 w 52"/>
                <a:gd name="T71" fmla="*/ 2147483647 h 76"/>
                <a:gd name="T72" fmla="*/ 2147483647 w 52"/>
                <a:gd name="T73" fmla="*/ 2147483647 h 76"/>
                <a:gd name="T74" fmla="*/ 2147483647 w 52"/>
                <a:gd name="T75" fmla="*/ 2147483647 h 76"/>
                <a:gd name="T76" fmla="*/ 2147483647 w 52"/>
                <a:gd name="T77" fmla="*/ 2147483647 h 76"/>
                <a:gd name="T78" fmla="*/ 2147483647 w 52"/>
                <a:gd name="T79" fmla="*/ 2147483647 h 76"/>
                <a:gd name="T80" fmla="*/ 2147483647 w 52"/>
                <a:gd name="T81" fmla="*/ 2147483647 h 76"/>
                <a:gd name="T82" fmla="*/ 2147483647 w 52"/>
                <a:gd name="T83" fmla="*/ 2147483647 h 76"/>
                <a:gd name="T84" fmla="*/ 2147483647 w 52"/>
                <a:gd name="T85" fmla="*/ 2147483647 h 76"/>
                <a:gd name="T86" fmla="*/ 2147483647 w 52"/>
                <a:gd name="T87" fmla="*/ 2147483647 h 76"/>
                <a:gd name="T88" fmla="*/ 2147483647 w 52"/>
                <a:gd name="T89" fmla="*/ 2147483647 h 76"/>
                <a:gd name="T90" fmla="*/ 2147483647 w 52"/>
                <a:gd name="T91" fmla="*/ 2147483647 h 76"/>
                <a:gd name="T92" fmla="*/ 2147483647 w 52"/>
                <a:gd name="T93" fmla="*/ 2147483647 h 76"/>
                <a:gd name="T94" fmla="*/ 2147483647 w 52"/>
                <a:gd name="T95" fmla="*/ 2147483647 h 76"/>
                <a:gd name="T96" fmla="*/ 2147483647 w 52"/>
                <a:gd name="T97" fmla="*/ 2147483647 h 76"/>
                <a:gd name="T98" fmla="*/ 2147483647 w 52"/>
                <a:gd name="T99" fmla="*/ 2147483647 h 76"/>
                <a:gd name="T100" fmla="*/ 2147483647 w 52"/>
                <a:gd name="T101" fmla="*/ 2147483647 h 76"/>
                <a:gd name="T102" fmla="*/ 2147483647 w 52"/>
                <a:gd name="T103" fmla="*/ 2147483647 h 76"/>
                <a:gd name="T104" fmla="*/ 2147483647 w 52"/>
                <a:gd name="T105" fmla="*/ 2147483647 h 76"/>
                <a:gd name="T106" fmla="*/ 2147483647 w 52"/>
                <a:gd name="T107" fmla="*/ 2147483647 h 76"/>
                <a:gd name="T108" fmla="*/ 2147483647 w 52"/>
                <a:gd name="T109" fmla="*/ 2147483647 h 76"/>
                <a:gd name="T110" fmla="*/ 2147483647 w 52"/>
                <a:gd name="T111" fmla="*/ 2147483647 h 76"/>
                <a:gd name="T112" fmla="*/ 2147483647 w 52"/>
                <a:gd name="T113" fmla="*/ 2147483647 h 76"/>
                <a:gd name="T114" fmla="*/ 2147483647 w 52"/>
                <a:gd name="T115" fmla="*/ 2147483647 h 7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2"/>
                <a:gd name="T175" fmla="*/ 0 h 76"/>
                <a:gd name="T176" fmla="*/ 52 w 52"/>
                <a:gd name="T177" fmla="*/ 76 h 7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2" h="76">
                  <a:moveTo>
                    <a:pt x="52" y="32"/>
                  </a:moveTo>
                  <a:lnTo>
                    <a:pt x="50" y="26"/>
                  </a:lnTo>
                  <a:lnTo>
                    <a:pt x="48" y="24"/>
                  </a:lnTo>
                  <a:lnTo>
                    <a:pt x="46" y="22"/>
                  </a:lnTo>
                  <a:lnTo>
                    <a:pt x="46" y="20"/>
                  </a:lnTo>
                  <a:lnTo>
                    <a:pt x="40" y="20"/>
                  </a:lnTo>
                  <a:lnTo>
                    <a:pt x="32" y="6"/>
                  </a:lnTo>
                  <a:lnTo>
                    <a:pt x="24" y="6"/>
                  </a:lnTo>
                  <a:lnTo>
                    <a:pt x="22" y="4"/>
                  </a:lnTo>
                  <a:lnTo>
                    <a:pt x="20" y="4"/>
                  </a:lnTo>
                  <a:lnTo>
                    <a:pt x="16" y="2"/>
                  </a:lnTo>
                  <a:lnTo>
                    <a:pt x="14" y="0"/>
                  </a:lnTo>
                  <a:lnTo>
                    <a:pt x="12" y="4"/>
                  </a:lnTo>
                  <a:lnTo>
                    <a:pt x="12" y="10"/>
                  </a:lnTo>
                  <a:lnTo>
                    <a:pt x="10" y="10"/>
                  </a:lnTo>
                  <a:lnTo>
                    <a:pt x="8" y="12"/>
                  </a:lnTo>
                  <a:lnTo>
                    <a:pt x="6" y="14"/>
                  </a:lnTo>
                  <a:lnTo>
                    <a:pt x="4" y="16"/>
                  </a:lnTo>
                  <a:lnTo>
                    <a:pt x="2" y="20"/>
                  </a:lnTo>
                  <a:lnTo>
                    <a:pt x="2" y="28"/>
                  </a:lnTo>
                  <a:lnTo>
                    <a:pt x="4" y="32"/>
                  </a:lnTo>
                  <a:lnTo>
                    <a:pt x="4" y="36"/>
                  </a:lnTo>
                  <a:lnTo>
                    <a:pt x="6" y="40"/>
                  </a:lnTo>
                  <a:lnTo>
                    <a:pt x="10" y="44"/>
                  </a:lnTo>
                  <a:lnTo>
                    <a:pt x="12" y="46"/>
                  </a:lnTo>
                  <a:lnTo>
                    <a:pt x="12" y="48"/>
                  </a:lnTo>
                  <a:lnTo>
                    <a:pt x="6" y="54"/>
                  </a:lnTo>
                  <a:lnTo>
                    <a:pt x="8" y="62"/>
                  </a:lnTo>
                  <a:lnTo>
                    <a:pt x="6" y="64"/>
                  </a:lnTo>
                  <a:lnTo>
                    <a:pt x="4" y="64"/>
                  </a:lnTo>
                  <a:lnTo>
                    <a:pt x="4" y="66"/>
                  </a:lnTo>
                  <a:lnTo>
                    <a:pt x="2" y="68"/>
                  </a:lnTo>
                  <a:lnTo>
                    <a:pt x="0" y="72"/>
                  </a:lnTo>
                  <a:lnTo>
                    <a:pt x="4" y="76"/>
                  </a:lnTo>
                  <a:lnTo>
                    <a:pt x="10" y="76"/>
                  </a:lnTo>
                  <a:lnTo>
                    <a:pt x="12" y="74"/>
                  </a:lnTo>
                  <a:lnTo>
                    <a:pt x="12" y="72"/>
                  </a:lnTo>
                  <a:lnTo>
                    <a:pt x="14" y="72"/>
                  </a:lnTo>
                  <a:lnTo>
                    <a:pt x="16" y="72"/>
                  </a:lnTo>
                  <a:lnTo>
                    <a:pt x="18" y="72"/>
                  </a:lnTo>
                  <a:lnTo>
                    <a:pt x="20" y="72"/>
                  </a:lnTo>
                  <a:lnTo>
                    <a:pt x="22" y="72"/>
                  </a:lnTo>
                  <a:lnTo>
                    <a:pt x="26" y="74"/>
                  </a:lnTo>
                  <a:lnTo>
                    <a:pt x="30" y="74"/>
                  </a:lnTo>
                  <a:lnTo>
                    <a:pt x="32" y="72"/>
                  </a:lnTo>
                  <a:lnTo>
                    <a:pt x="40" y="64"/>
                  </a:lnTo>
                  <a:lnTo>
                    <a:pt x="40" y="60"/>
                  </a:lnTo>
                  <a:lnTo>
                    <a:pt x="44" y="50"/>
                  </a:lnTo>
                  <a:lnTo>
                    <a:pt x="46" y="46"/>
                  </a:lnTo>
                  <a:lnTo>
                    <a:pt x="48" y="44"/>
                  </a:lnTo>
                  <a:lnTo>
                    <a:pt x="50" y="42"/>
                  </a:lnTo>
                  <a:lnTo>
                    <a:pt x="50" y="40"/>
                  </a:lnTo>
                  <a:lnTo>
                    <a:pt x="52" y="38"/>
                  </a:lnTo>
                  <a:lnTo>
                    <a:pt x="52" y="36"/>
                  </a:lnTo>
                  <a:lnTo>
                    <a:pt x="52" y="34"/>
                  </a:lnTo>
                  <a:lnTo>
                    <a:pt x="52" y="32"/>
                  </a:lnTo>
                  <a:close/>
                </a:path>
              </a:pathLst>
            </a:custGeom>
            <a:solidFill>
              <a:srgbClr val="658B26"/>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50" name="Guyana" descr="© INSCALE GmbH, 05.05.2010&#10;http://www.presentationload.com/"/>
            <p:cNvSpPr>
              <a:spLocks/>
            </p:cNvSpPr>
            <p:nvPr/>
          </p:nvSpPr>
          <p:spPr bwMode="gray">
            <a:xfrm>
              <a:off x="2455865" y="3803650"/>
              <a:ext cx="131762" cy="234950"/>
            </a:xfrm>
            <a:custGeom>
              <a:avLst/>
              <a:gdLst>
                <a:gd name="T0" fmla="*/ 2147483647 w 324"/>
                <a:gd name="T1" fmla="*/ 2147483647 h 582"/>
                <a:gd name="T2" fmla="*/ 2147483647 w 324"/>
                <a:gd name="T3" fmla="*/ 2147483647 h 582"/>
                <a:gd name="T4" fmla="*/ 2147483647 w 324"/>
                <a:gd name="T5" fmla="*/ 2147483647 h 582"/>
                <a:gd name="T6" fmla="*/ 2147483647 w 324"/>
                <a:gd name="T7" fmla="*/ 2147483647 h 582"/>
                <a:gd name="T8" fmla="*/ 2147483647 w 324"/>
                <a:gd name="T9" fmla="*/ 2147483647 h 582"/>
                <a:gd name="T10" fmla="*/ 2147483647 w 324"/>
                <a:gd name="T11" fmla="*/ 2147483647 h 582"/>
                <a:gd name="T12" fmla="*/ 2147483647 w 324"/>
                <a:gd name="T13" fmla="*/ 2147483647 h 582"/>
                <a:gd name="T14" fmla="*/ 2147483647 w 324"/>
                <a:gd name="T15" fmla="*/ 2147483647 h 582"/>
                <a:gd name="T16" fmla="*/ 0 w 324"/>
                <a:gd name="T17" fmla="*/ 2147483647 h 582"/>
                <a:gd name="T18" fmla="*/ 2147483647 w 324"/>
                <a:gd name="T19" fmla="*/ 2147483647 h 582"/>
                <a:gd name="T20" fmla="*/ 2147483647 w 324"/>
                <a:gd name="T21" fmla="*/ 2147483647 h 582"/>
                <a:gd name="T22" fmla="*/ 2147483647 w 324"/>
                <a:gd name="T23" fmla="*/ 2147483647 h 582"/>
                <a:gd name="T24" fmla="*/ 2147483647 w 324"/>
                <a:gd name="T25" fmla="*/ 2147483647 h 582"/>
                <a:gd name="T26" fmla="*/ 2147483647 w 324"/>
                <a:gd name="T27" fmla="*/ 2147483647 h 582"/>
                <a:gd name="T28" fmla="*/ 2147483647 w 324"/>
                <a:gd name="T29" fmla="*/ 2147483647 h 582"/>
                <a:gd name="T30" fmla="*/ 2147483647 w 324"/>
                <a:gd name="T31" fmla="*/ 2147483647 h 582"/>
                <a:gd name="T32" fmla="*/ 2147483647 w 324"/>
                <a:gd name="T33" fmla="*/ 2147483647 h 582"/>
                <a:gd name="T34" fmla="*/ 2147483647 w 324"/>
                <a:gd name="T35" fmla="*/ 2147483647 h 582"/>
                <a:gd name="T36" fmla="*/ 2147483647 w 324"/>
                <a:gd name="T37" fmla="*/ 2147483647 h 582"/>
                <a:gd name="T38" fmla="*/ 2147483647 w 324"/>
                <a:gd name="T39" fmla="*/ 2147483647 h 582"/>
                <a:gd name="T40" fmla="*/ 2147483647 w 324"/>
                <a:gd name="T41" fmla="*/ 2147483647 h 582"/>
                <a:gd name="T42" fmla="*/ 2147483647 w 324"/>
                <a:gd name="T43" fmla="*/ 2147483647 h 582"/>
                <a:gd name="T44" fmla="*/ 2147483647 w 324"/>
                <a:gd name="T45" fmla="*/ 2147483647 h 582"/>
                <a:gd name="T46" fmla="*/ 2147483647 w 324"/>
                <a:gd name="T47" fmla="*/ 2147483647 h 582"/>
                <a:gd name="T48" fmla="*/ 2147483647 w 324"/>
                <a:gd name="T49" fmla="*/ 2147483647 h 582"/>
                <a:gd name="T50" fmla="*/ 2147483647 w 324"/>
                <a:gd name="T51" fmla="*/ 2147483647 h 582"/>
                <a:gd name="T52" fmla="*/ 2147483647 w 324"/>
                <a:gd name="T53" fmla="*/ 2147483647 h 582"/>
                <a:gd name="T54" fmla="*/ 2147483647 w 324"/>
                <a:gd name="T55" fmla="*/ 2147483647 h 582"/>
                <a:gd name="T56" fmla="*/ 2147483647 w 324"/>
                <a:gd name="T57" fmla="*/ 2147483647 h 582"/>
                <a:gd name="T58" fmla="*/ 2147483647 w 324"/>
                <a:gd name="T59" fmla="*/ 2147483647 h 582"/>
                <a:gd name="T60" fmla="*/ 2147483647 w 324"/>
                <a:gd name="T61" fmla="*/ 2147483647 h 582"/>
                <a:gd name="T62" fmla="*/ 2147483647 w 324"/>
                <a:gd name="T63" fmla="*/ 2147483647 h 582"/>
                <a:gd name="T64" fmla="*/ 2147483647 w 324"/>
                <a:gd name="T65" fmla="*/ 2147483647 h 582"/>
                <a:gd name="T66" fmla="*/ 2147483647 w 324"/>
                <a:gd name="T67" fmla="*/ 2147483647 h 582"/>
                <a:gd name="T68" fmla="*/ 2147483647 w 324"/>
                <a:gd name="T69" fmla="*/ 2147483647 h 582"/>
                <a:gd name="T70" fmla="*/ 2147483647 w 324"/>
                <a:gd name="T71" fmla="*/ 2147483647 h 582"/>
                <a:gd name="T72" fmla="*/ 2147483647 w 324"/>
                <a:gd name="T73" fmla="*/ 2147483647 h 582"/>
                <a:gd name="T74" fmla="*/ 2147483647 w 324"/>
                <a:gd name="T75" fmla="*/ 2147483647 h 582"/>
                <a:gd name="T76" fmla="*/ 2147483647 w 324"/>
                <a:gd name="T77" fmla="*/ 2147483647 h 582"/>
                <a:gd name="T78" fmla="*/ 2147483647 w 324"/>
                <a:gd name="T79" fmla="*/ 2147483647 h 582"/>
                <a:gd name="T80" fmla="*/ 2147483647 w 324"/>
                <a:gd name="T81" fmla="*/ 2147483647 h 582"/>
                <a:gd name="T82" fmla="*/ 2147483647 w 324"/>
                <a:gd name="T83" fmla="*/ 2147483647 h 582"/>
                <a:gd name="T84" fmla="*/ 2147483647 w 324"/>
                <a:gd name="T85" fmla="*/ 2147483647 h 582"/>
                <a:gd name="T86" fmla="*/ 2147483647 w 324"/>
                <a:gd name="T87" fmla="*/ 2147483647 h 582"/>
                <a:gd name="T88" fmla="*/ 2147483647 w 324"/>
                <a:gd name="T89" fmla="*/ 2147483647 h 582"/>
                <a:gd name="T90" fmla="*/ 2147483647 w 324"/>
                <a:gd name="T91" fmla="*/ 2147483647 h 582"/>
                <a:gd name="T92" fmla="*/ 2147483647 w 324"/>
                <a:gd name="T93" fmla="*/ 2147483647 h 582"/>
                <a:gd name="T94" fmla="*/ 2147483647 w 324"/>
                <a:gd name="T95" fmla="*/ 2147483647 h 582"/>
                <a:gd name="T96" fmla="*/ 2147483647 w 324"/>
                <a:gd name="T97" fmla="*/ 2147483647 h 582"/>
                <a:gd name="T98" fmla="*/ 2147483647 w 324"/>
                <a:gd name="T99" fmla="*/ 2147483647 h 582"/>
                <a:gd name="T100" fmla="*/ 2147483647 w 324"/>
                <a:gd name="T101" fmla="*/ 2147483647 h 582"/>
                <a:gd name="T102" fmla="*/ 2147483647 w 324"/>
                <a:gd name="T103" fmla="*/ 2147483647 h 582"/>
                <a:gd name="T104" fmla="*/ 2147483647 w 324"/>
                <a:gd name="T105" fmla="*/ 2147483647 h 582"/>
                <a:gd name="T106" fmla="*/ 2147483647 w 324"/>
                <a:gd name="T107" fmla="*/ 2147483647 h 582"/>
                <a:gd name="T108" fmla="*/ 2147483647 w 324"/>
                <a:gd name="T109" fmla="*/ 2147483647 h 582"/>
                <a:gd name="T110" fmla="*/ 2147483647 w 324"/>
                <a:gd name="T111" fmla="*/ 2147483647 h 582"/>
                <a:gd name="T112" fmla="*/ 2147483647 w 324"/>
                <a:gd name="T113" fmla="*/ 2147483647 h 582"/>
                <a:gd name="T114" fmla="*/ 2147483647 w 324"/>
                <a:gd name="T115" fmla="*/ 2147483647 h 582"/>
                <a:gd name="T116" fmla="*/ 2147483647 w 324"/>
                <a:gd name="T117" fmla="*/ 2147483647 h 582"/>
                <a:gd name="T118" fmla="*/ 2147483647 w 324"/>
                <a:gd name="T119" fmla="*/ 2147483647 h 582"/>
                <a:gd name="T120" fmla="*/ 2147483647 w 324"/>
                <a:gd name="T121" fmla="*/ 2147483647 h 582"/>
                <a:gd name="T122" fmla="*/ 2147483647 w 324"/>
                <a:gd name="T123" fmla="*/ 0 h 582"/>
                <a:gd name="T124" fmla="*/ 2147483647 w 324"/>
                <a:gd name="T125" fmla="*/ 2147483647 h 58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24"/>
                <a:gd name="T190" fmla="*/ 0 h 582"/>
                <a:gd name="T191" fmla="*/ 324 w 324"/>
                <a:gd name="T192" fmla="*/ 582 h 58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24" h="582">
                  <a:moveTo>
                    <a:pt x="90" y="42"/>
                  </a:moveTo>
                  <a:lnTo>
                    <a:pt x="84" y="48"/>
                  </a:lnTo>
                  <a:lnTo>
                    <a:pt x="72" y="48"/>
                  </a:lnTo>
                  <a:lnTo>
                    <a:pt x="60" y="60"/>
                  </a:lnTo>
                  <a:lnTo>
                    <a:pt x="60" y="102"/>
                  </a:lnTo>
                  <a:lnTo>
                    <a:pt x="84" y="102"/>
                  </a:lnTo>
                  <a:lnTo>
                    <a:pt x="84" y="120"/>
                  </a:lnTo>
                  <a:lnTo>
                    <a:pt x="78" y="126"/>
                  </a:lnTo>
                  <a:lnTo>
                    <a:pt x="66" y="132"/>
                  </a:lnTo>
                  <a:lnTo>
                    <a:pt x="54" y="132"/>
                  </a:lnTo>
                  <a:lnTo>
                    <a:pt x="42" y="138"/>
                  </a:lnTo>
                  <a:lnTo>
                    <a:pt x="12" y="138"/>
                  </a:lnTo>
                  <a:lnTo>
                    <a:pt x="12" y="144"/>
                  </a:lnTo>
                  <a:lnTo>
                    <a:pt x="30" y="162"/>
                  </a:lnTo>
                  <a:lnTo>
                    <a:pt x="30" y="180"/>
                  </a:lnTo>
                  <a:lnTo>
                    <a:pt x="18" y="186"/>
                  </a:lnTo>
                  <a:lnTo>
                    <a:pt x="12" y="186"/>
                  </a:lnTo>
                  <a:lnTo>
                    <a:pt x="0" y="192"/>
                  </a:lnTo>
                  <a:lnTo>
                    <a:pt x="0" y="204"/>
                  </a:lnTo>
                  <a:lnTo>
                    <a:pt x="6" y="210"/>
                  </a:lnTo>
                  <a:lnTo>
                    <a:pt x="12" y="222"/>
                  </a:lnTo>
                  <a:lnTo>
                    <a:pt x="48" y="258"/>
                  </a:lnTo>
                  <a:lnTo>
                    <a:pt x="72" y="264"/>
                  </a:lnTo>
                  <a:lnTo>
                    <a:pt x="78" y="252"/>
                  </a:lnTo>
                  <a:lnTo>
                    <a:pt x="90" y="264"/>
                  </a:lnTo>
                  <a:lnTo>
                    <a:pt x="96" y="276"/>
                  </a:lnTo>
                  <a:lnTo>
                    <a:pt x="96" y="294"/>
                  </a:lnTo>
                  <a:lnTo>
                    <a:pt x="90" y="306"/>
                  </a:lnTo>
                  <a:lnTo>
                    <a:pt x="84" y="312"/>
                  </a:lnTo>
                  <a:lnTo>
                    <a:pt x="84" y="318"/>
                  </a:lnTo>
                  <a:lnTo>
                    <a:pt x="90" y="324"/>
                  </a:lnTo>
                  <a:lnTo>
                    <a:pt x="96" y="324"/>
                  </a:lnTo>
                  <a:lnTo>
                    <a:pt x="108" y="318"/>
                  </a:lnTo>
                  <a:lnTo>
                    <a:pt x="114" y="318"/>
                  </a:lnTo>
                  <a:lnTo>
                    <a:pt x="114" y="348"/>
                  </a:lnTo>
                  <a:lnTo>
                    <a:pt x="120" y="354"/>
                  </a:lnTo>
                  <a:lnTo>
                    <a:pt x="126" y="354"/>
                  </a:lnTo>
                  <a:lnTo>
                    <a:pt x="126" y="366"/>
                  </a:lnTo>
                  <a:lnTo>
                    <a:pt x="120" y="378"/>
                  </a:lnTo>
                  <a:lnTo>
                    <a:pt x="108" y="390"/>
                  </a:lnTo>
                  <a:lnTo>
                    <a:pt x="96" y="432"/>
                  </a:lnTo>
                  <a:lnTo>
                    <a:pt x="90" y="444"/>
                  </a:lnTo>
                  <a:lnTo>
                    <a:pt x="90" y="450"/>
                  </a:lnTo>
                  <a:lnTo>
                    <a:pt x="84" y="462"/>
                  </a:lnTo>
                  <a:lnTo>
                    <a:pt x="84" y="468"/>
                  </a:lnTo>
                  <a:lnTo>
                    <a:pt x="90" y="480"/>
                  </a:lnTo>
                  <a:lnTo>
                    <a:pt x="114" y="504"/>
                  </a:lnTo>
                  <a:lnTo>
                    <a:pt x="114" y="534"/>
                  </a:lnTo>
                  <a:lnTo>
                    <a:pt x="144" y="570"/>
                  </a:lnTo>
                  <a:lnTo>
                    <a:pt x="156" y="570"/>
                  </a:lnTo>
                  <a:lnTo>
                    <a:pt x="162" y="582"/>
                  </a:lnTo>
                  <a:lnTo>
                    <a:pt x="198" y="582"/>
                  </a:lnTo>
                  <a:lnTo>
                    <a:pt x="204" y="576"/>
                  </a:lnTo>
                  <a:lnTo>
                    <a:pt x="204" y="564"/>
                  </a:lnTo>
                  <a:lnTo>
                    <a:pt x="216" y="552"/>
                  </a:lnTo>
                  <a:lnTo>
                    <a:pt x="234" y="552"/>
                  </a:lnTo>
                  <a:lnTo>
                    <a:pt x="240" y="540"/>
                  </a:lnTo>
                  <a:lnTo>
                    <a:pt x="270" y="540"/>
                  </a:lnTo>
                  <a:lnTo>
                    <a:pt x="270" y="534"/>
                  </a:lnTo>
                  <a:lnTo>
                    <a:pt x="288" y="516"/>
                  </a:lnTo>
                  <a:lnTo>
                    <a:pt x="300" y="516"/>
                  </a:lnTo>
                  <a:lnTo>
                    <a:pt x="312" y="528"/>
                  </a:lnTo>
                  <a:lnTo>
                    <a:pt x="318" y="528"/>
                  </a:lnTo>
                  <a:lnTo>
                    <a:pt x="324" y="522"/>
                  </a:lnTo>
                  <a:lnTo>
                    <a:pt x="324" y="510"/>
                  </a:lnTo>
                  <a:lnTo>
                    <a:pt x="318" y="504"/>
                  </a:lnTo>
                  <a:lnTo>
                    <a:pt x="312" y="492"/>
                  </a:lnTo>
                  <a:lnTo>
                    <a:pt x="306" y="474"/>
                  </a:lnTo>
                  <a:lnTo>
                    <a:pt x="288" y="456"/>
                  </a:lnTo>
                  <a:lnTo>
                    <a:pt x="282" y="444"/>
                  </a:lnTo>
                  <a:lnTo>
                    <a:pt x="282" y="420"/>
                  </a:lnTo>
                  <a:lnTo>
                    <a:pt x="288" y="414"/>
                  </a:lnTo>
                  <a:lnTo>
                    <a:pt x="288" y="396"/>
                  </a:lnTo>
                  <a:lnTo>
                    <a:pt x="276" y="408"/>
                  </a:lnTo>
                  <a:lnTo>
                    <a:pt x="276" y="414"/>
                  </a:lnTo>
                  <a:lnTo>
                    <a:pt x="264" y="414"/>
                  </a:lnTo>
                  <a:lnTo>
                    <a:pt x="258" y="402"/>
                  </a:lnTo>
                  <a:lnTo>
                    <a:pt x="252" y="396"/>
                  </a:lnTo>
                  <a:lnTo>
                    <a:pt x="246" y="384"/>
                  </a:lnTo>
                  <a:lnTo>
                    <a:pt x="246" y="372"/>
                  </a:lnTo>
                  <a:lnTo>
                    <a:pt x="240" y="372"/>
                  </a:lnTo>
                  <a:lnTo>
                    <a:pt x="240" y="366"/>
                  </a:lnTo>
                  <a:lnTo>
                    <a:pt x="234" y="360"/>
                  </a:lnTo>
                  <a:lnTo>
                    <a:pt x="234" y="348"/>
                  </a:lnTo>
                  <a:lnTo>
                    <a:pt x="240" y="336"/>
                  </a:lnTo>
                  <a:lnTo>
                    <a:pt x="246" y="330"/>
                  </a:lnTo>
                  <a:lnTo>
                    <a:pt x="246" y="288"/>
                  </a:lnTo>
                  <a:lnTo>
                    <a:pt x="252" y="282"/>
                  </a:lnTo>
                  <a:lnTo>
                    <a:pt x="264" y="276"/>
                  </a:lnTo>
                  <a:lnTo>
                    <a:pt x="294" y="276"/>
                  </a:lnTo>
                  <a:lnTo>
                    <a:pt x="300" y="270"/>
                  </a:lnTo>
                  <a:lnTo>
                    <a:pt x="300" y="258"/>
                  </a:lnTo>
                  <a:lnTo>
                    <a:pt x="288" y="246"/>
                  </a:lnTo>
                  <a:lnTo>
                    <a:pt x="288" y="234"/>
                  </a:lnTo>
                  <a:lnTo>
                    <a:pt x="294" y="222"/>
                  </a:lnTo>
                  <a:lnTo>
                    <a:pt x="300" y="216"/>
                  </a:lnTo>
                  <a:lnTo>
                    <a:pt x="306" y="204"/>
                  </a:lnTo>
                  <a:lnTo>
                    <a:pt x="306" y="192"/>
                  </a:lnTo>
                  <a:lnTo>
                    <a:pt x="300" y="180"/>
                  </a:lnTo>
                  <a:lnTo>
                    <a:pt x="294" y="174"/>
                  </a:lnTo>
                  <a:lnTo>
                    <a:pt x="276" y="174"/>
                  </a:lnTo>
                  <a:lnTo>
                    <a:pt x="270" y="180"/>
                  </a:lnTo>
                  <a:lnTo>
                    <a:pt x="270" y="156"/>
                  </a:lnTo>
                  <a:lnTo>
                    <a:pt x="258" y="150"/>
                  </a:lnTo>
                  <a:lnTo>
                    <a:pt x="252" y="138"/>
                  </a:lnTo>
                  <a:lnTo>
                    <a:pt x="234" y="132"/>
                  </a:lnTo>
                  <a:lnTo>
                    <a:pt x="216" y="132"/>
                  </a:lnTo>
                  <a:lnTo>
                    <a:pt x="204" y="138"/>
                  </a:lnTo>
                  <a:lnTo>
                    <a:pt x="198" y="150"/>
                  </a:lnTo>
                  <a:lnTo>
                    <a:pt x="198" y="156"/>
                  </a:lnTo>
                  <a:lnTo>
                    <a:pt x="192" y="162"/>
                  </a:lnTo>
                  <a:lnTo>
                    <a:pt x="192" y="168"/>
                  </a:lnTo>
                  <a:lnTo>
                    <a:pt x="192" y="162"/>
                  </a:lnTo>
                  <a:lnTo>
                    <a:pt x="198" y="156"/>
                  </a:lnTo>
                  <a:lnTo>
                    <a:pt x="198" y="144"/>
                  </a:lnTo>
                  <a:lnTo>
                    <a:pt x="204" y="132"/>
                  </a:lnTo>
                  <a:lnTo>
                    <a:pt x="204" y="114"/>
                  </a:lnTo>
                  <a:lnTo>
                    <a:pt x="210" y="102"/>
                  </a:lnTo>
                  <a:lnTo>
                    <a:pt x="210" y="78"/>
                  </a:lnTo>
                  <a:lnTo>
                    <a:pt x="192" y="42"/>
                  </a:lnTo>
                  <a:lnTo>
                    <a:pt x="180" y="30"/>
                  </a:lnTo>
                  <a:lnTo>
                    <a:pt x="132" y="6"/>
                  </a:lnTo>
                  <a:lnTo>
                    <a:pt x="126" y="0"/>
                  </a:lnTo>
                  <a:lnTo>
                    <a:pt x="120" y="0"/>
                  </a:lnTo>
                  <a:lnTo>
                    <a:pt x="102" y="36"/>
                  </a:lnTo>
                  <a:lnTo>
                    <a:pt x="96" y="42"/>
                  </a:lnTo>
                  <a:lnTo>
                    <a:pt x="90" y="42"/>
                  </a:lnTo>
                  <a:close/>
                </a:path>
              </a:pathLst>
            </a:custGeom>
            <a:solidFill>
              <a:srgbClr val="658B26"/>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51" name="Guinea-Bissau" descr="© INSCALE GmbH, 05.05.2010&#10;http://www.presentationload.com/"/>
            <p:cNvSpPr>
              <a:spLocks/>
            </p:cNvSpPr>
            <p:nvPr/>
          </p:nvSpPr>
          <p:spPr bwMode="gray">
            <a:xfrm>
              <a:off x="3751266" y="3663950"/>
              <a:ext cx="74612" cy="63499"/>
            </a:xfrm>
            <a:custGeom>
              <a:avLst/>
              <a:gdLst>
                <a:gd name="T0" fmla="*/ 2147483647 w 186"/>
                <a:gd name="T1" fmla="*/ 2147483647 h 156"/>
                <a:gd name="T2" fmla="*/ 2147483647 w 186"/>
                <a:gd name="T3" fmla="*/ 2147483647 h 156"/>
                <a:gd name="T4" fmla="*/ 2147483647 w 186"/>
                <a:gd name="T5" fmla="*/ 2147483647 h 156"/>
                <a:gd name="T6" fmla="*/ 2147483647 w 186"/>
                <a:gd name="T7" fmla="*/ 2147483647 h 156"/>
                <a:gd name="T8" fmla="*/ 2147483647 w 186"/>
                <a:gd name="T9" fmla="*/ 2147483647 h 156"/>
                <a:gd name="T10" fmla="*/ 2147483647 w 186"/>
                <a:gd name="T11" fmla="*/ 2147483647 h 156"/>
                <a:gd name="T12" fmla="*/ 2147483647 w 186"/>
                <a:gd name="T13" fmla="*/ 2147483647 h 156"/>
                <a:gd name="T14" fmla="*/ 2147483647 w 186"/>
                <a:gd name="T15" fmla="*/ 2147483647 h 156"/>
                <a:gd name="T16" fmla="*/ 2147483647 w 186"/>
                <a:gd name="T17" fmla="*/ 2147483647 h 156"/>
                <a:gd name="T18" fmla="*/ 2147483647 w 186"/>
                <a:gd name="T19" fmla="*/ 2147483647 h 156"/>
                <a:gd name="T20" fmla="*/ 2147483647 w 186"/>
                <a:gd name="T21" fmla="*/ 2147483647 h 156"/>
                <a:gd name="T22" fmla="*/ 2147483647 w 186"/>
                <a:gd name="T23" fmla="*/ 2147483647 h 156"/>
                <a:gd name="T24" fmla="*/ 2147483647 w 186"/>
                <a:gd name="T25" fmla="*/ 2147483647 h 156"/>
                <a:gd name="T26" fmla="*/ 2147483647 w 186"/>
                <a:gd name="T27" fmla="*/ 2147483647 h 156"/>
                <a:gd name="T28" fmla="*/ 2147483647 w 186"/>
                <a:gd name="T29" fmla="*/ 0 h 156"/>
                <a:gd name="T30" fmla="*/ 2147483647 w 186"/>
                <a:gd name="T31" fmla="*/ 2147483647 h 156"/>
                <a:gd name="T32" fmla="*/ 2147483647 w 186"/>
                <a:gd name="T33" fmla="*/ 2147483647 h 156"/>
                <a:gd name="T34" fmla="*/ 2147483647 w 186"/>
                <a:gd name="T35" fmla="*/ 2147483647 h 156"/>
                <a:gd name="T36" fmla="*/ 0 w 186"/>
                <a:gd name="T37" fmla="*/ 2147483647 h 156"/>
                <a:gd name="T38" fmla="*/ 2147483647 w 186"/>
                <a:gd name="T39" fmla="*/ 2147483647 h 156"/>
                <a:gd name="T40" fmla="*/ 2147483647 w 186"/>
                <a:gd name="T41" fmla="*/ 2147483647 h 156"/>
                <a:gd name="T42" fmla="*/ 2147483647 w 186"/>
                <a:gd name="T43" fmla="*/ 2147483647 h 156"/>
                <a:gd name="T44" fmla="*/ 2147483647 w 186"/>
                <a:gd name="T45" fmla="*/ 2147483647 h 156"/>
                <a:gd name="T46" fmla="*/ 2147483647 w 186"/>
                <a:gd name="T47" fmla="*/ 2147483647 h 156"/>
                <a:gd name="T48" fmla="*/ 2147483647 w 186"/>
                <a:gd name="T49" fmla="*/ 2147483647 h 156"/>
                <a:gd name="T50" fmla="*/ 2147483647 w 186"/>
                <a:gd name="T51" fmla="*/ 2147483647 h 156"/>
                <a:gd name="T52" fmla="*/ 2147483647 w 186"/>
                <a:gd name="T53" fmla="*/ 2147483647 h 156"/>
                <a:gd name="T54" fmla="*/ 2147483647 w 186"/>
                <a:gd name="T55" fmla="*/ 2147483647 h 156"/>
                <a:gd name="T56" fmla="*/ 2147483647 w 186"/>
                <a:gd name="T57" fmla="*/ 2147483647 h 156"/>
                <a:gd name="T58" fmla="*/ 2147483647 w 186"/>
                <a:gd name="T59" fmla="*/ 2147483647 h 156"/>
                <a:gd name="T60" fmla="*/ 2147483647 w 186"/>
                <a:gd name="T61" fmla="*/ 2147483647 h 156"/>
                <a:gd name="T62" fmla="*/ 2147483647 w 186"/>
                <a:gd name="T63" fmla="*/ 2147483647 h 156"/>
                <a:gd name="T64" fmla="*/ 2147483647 w 186"/>
                <a:gd name="T65" fmla="*/ 2147483647 h 156"/>
                <a:gd name="T66" fmla="*/ 2147483647 w 186"/>
                <a:gd name="T67" fmla="*/ 2147483647 h 156"/>
                <a:gd name="T68" fmla="*/ 2147483647 w 186"/>
                <a:gd name="T69" fmla="*/ 2147483647 h 156"/>
                <a:gd name="T70" fmla="*/ 2147483647 w 186"/>
                <a:gd name="T71" fmla="*/ 2147483647 h 156"/>
                <a:gd name="T72" fmla="*/ 2147483647 w 186"/>
                <a:gd name="T73" fmla="*/ 2147483647 h 1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56"/>
                <a:gd name="T113" fmla="*/ 186 w 186"/>
                <a:gd name="T114" fmla="*/ 156 h 1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56">
                  <a:moveTo>
                    <a:pt x="126" y="102"/>
                  </a:moveTo>
                  <a:lnTo>
                    <a:pt x="132" y="96"/>
                  </a:lnTo>
                  <a:lnTo>
                    <a:pt x="144" y="90"/>
                  </a:lnTo>
                  <a:lnTo>
                    <a:pt x="174" y="90"/>
                  </a:lnTo>
                  <a:lnTo>
                    <a:pt x="180" y="84"/>
                  </a:lnTo>
                  <a:lnTo>
                    <a:pt x="186" y="72"/>
                  </a:lnTo>
                  <a:lnTo>
                    <a:pt x="186" y="66"/>
                  </a:lnTo>
                  <a:lnTo>
                    <a:pt x="180" y="60"/>
                  </a:lnTo>
                  <a:lnTo>
                    <a:pt x="168" y="54"/>
                  </a:lnTo>
                  <a:lnTo>
                    <a:pt x="162" y="48"/>
                  </a:lnTo>
                  <a:lnTo>
                    <a:pt x="162" y="36"/>
                  </a:lnTo>
                  <a:lnTo>
                    <a:pt x="168" y="30"/>
                  </a:lnTo>
                  <a:lnTo>
                    <a:pt x="186" y="30"/>
                  </a:lnTo>
                  <a:lnTo>
                    <a:pt x="186" y="6"/>
                  </a:lnTo>
                  <a:lnTo>
                    <a:pt x="84" y="0"/>
                  </a:lnTo>
                  <a:lnTo>
                    <a:pt x="54" y="24"/>
                  </a:lnTo>
                  <a:lnTo>
                    <a:pt x="18" y="24"/>
                  </a:lnTo>
                  <a:lnTo>
                    <a:pt x="6" y="36"/>
                  </a:lnTo>
                  <a:lnTo>
                    <a:pt x="0" y="72"/>
                  </a:lnTo>
                  <a:lnTo>
                    <a:pt x="6" y="78"/>
                  </a:lnTo>
                  <a:lnTo>
                    <a:pt x="18" y="78"/>
                  </a:lnTo>
                  <a:lnTo>
                    <a:pt x="42" y="66"/>
                  </a:lnTo>
                  <a:lnTo>
                    <a:pt x="66" y="66"/>
                  </a:lnTo>
                  <a:lnTo>
                    <a:pt x="90" y="60"/>
                  </a:lnTo>
                  <a:lnTo>
                    <a:pt x="90" y="84"/>
                  </a:lnTo>
                  <a:lnTo>
                    <a:pt x="78" y="78"/>
                  </a:lnTo>
                  <a:lnTo>
                    <a:pt x="72" y="78"/>
                  </a:lnTo>
                  <a:lnTo>
                    <a:pt x="66" y="72"/>
                  </a:lnTo>
                  <a:lnTo>
                    <a:pt x="54" y="72"/>
                  </a:lnTo>
                  <a:lnTo>
                    <a:pt x="54" y="96"/>
                  </a:lnTo>
                  <a:lnTo>
                    <a:pt x="60" y="102"/>
                  </a:lnTo>
                  <a:lnTo>
                    <a:pt x="90" y="96"/>
                  </a:lnTo>
                  <a:lnTo>
                    <a:pt x="54" y="114"/>
                  </a:lnTo>
                  <a:lnTo>
                    <a:pt x="84" y="156"/>
                  </a:lnTo>
                  <a:lnTo>
                    <a:pt x="90" y="132"/>
                  </a:lnTo>
                  <a:lnTo>
                    <a:pt x="108" y="102"/>
                  </a:lnTo>
                  <a:lnTo>
                    <a:pt x="126" y="102"/>
                  </a:lnTo>
                  <a:close/>
                </a:path>
              </a:pathLst>
            </a:custGeom>
            <a:solidFill>
              <a:srgbClr val="692864"/>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52" name="Guinea" descr="© INSCALE GmbH, 05.05.2010&#10;http://www.presentationload.com/"/>
            <p:cNvSpPr>
              <a:spLocks/>
            </p:cNvSpPr>
            <p:nvPr/>
          </p:nvSpPr>
          <p:spPr bwMode="gray">
            <a:xfrm>
              <a:off x="3787777" y="3667125"/>
              <a:ext cx="209550" cy="177800"/>
            </a:xfrm>
            <a:custGeom>
              <a:avLst/>
              <a:gdLst>
                <a:gd name="T0" fmla="*/ 2147483647 w 522"/>
                <a:gd name="T1" fmla="*/ 2147483647 h 444"/>
                <a:gd name="T2" fmla="*/ 2147483647 w 522"/>
                <a:gd name="T3" fmla="*/ 2147483647 h 444"/>
                <a:gd name="T4" fmla="*/ 2147483647 w 522"/>
                <a:gd name="T5" fmla="*/ 2147483647 h 444"/>
                <a:gd name="T6" fmla="*/ 2147483647 w 522"/>
                <a:gd name="T7" fmla="*/ 2147483647 h 444"/>
                <a:gd name="T8" fmla="*/ 2147483647 w 522"/>
                <a:gd name="T9" fmla="*/ 2147483647 h 444"/>
                <a:gd name="T10" fmla="*/ 2147483647 w 522"/>
                <a:gd name="T11" fmla="*/ 2147483647 h 444"/>
                <a:gd name="T12" fmla="*/ 2147483647 w 522"/>
                <a:gd name="T13" fmla="*/ 2147483647 h 444"/>
                <a:gd name="T14" fmla="*/ 2147483647 w 522"/>
                <a:gd name="T15" fmla="*/ 2147483647 h 444"/>
                <a:gd name="T16" fmla="*/ 2147483647 w 522"/>
                <a:gd name="T17" fmla="*/ 2147483647 h 444"/>
                <a:gd name="T18" fmla="*/ 2147483647 w 522"/>
                <a:gd name="T19" fmla="*/ 2147483647 h 444"/>
                <a:gd name="T20" fmla="*/ 2147483647 w 522"/>
                <a:gd name="T21" fmla="*/ 2147483647 h 444"/>
                <a:gd name="T22" fmla="*/ 2147483647 w 522"/>
                <a:gd name="T23" fmla="*/ 2147483647 h 444"/>
                <a:gd name="T24" fmla="*/ 2147483647 w 522"/>
                <a:gd name="T25" fmla="*/ 2147483647 h 444"/>
                <a:gd name="T26" fmla="*/ 2147483647 w 522"/>
                <a:gd name="T27" fmla="*/ 2147483647 h 444"/>
                <a:gd name="T28" fmla="*/ 2147483647 w 522"/>
                <a:gd name="T29" fmla="*/ 2147483647 h 444"/>
                <a:gd name="T30" fmla="*/ 2147483647 w 522"/>
                <a:gd name="T31" fmla="*/ 2147483647 h 444"/>
                <a:gd name="T32" fmla="*/ 2147483647 w 522"/>
                <a:gd name="T33" fmla="*/ 2147483647 h 444"/>
                <a:gd name="T34" fmla="*/ 2147483647 w 522"/>
                <a:gd name="T35" fmla="*/ 2147483647 h 444"/>
                <a:gd name="T36" fmla="*/ 2147483647 w 522"/>
                <a:gd name="T37" fmla="*/ 2147483647 h 444"/>
                <a:gd name="T38" fmla="*/ 2147483647 w 522"/>
                <a:gd name="T39" fmla="*/ 2147483647 h 444"/>
                <a:gd name="T40" fmla="*/ 2147483647 w 522"/>
                <a:gd name="T41" fmla="*/ 2147483647 h 444"/>
                <a:gd name="T42" fmla="*/ 2147483647 w 522"/>
                <a:gd name="T43" fmla="*/ 2147483647 h 444"/>
                <a:gd name="T44" fmla="*/ 2147483647 w 522"/>
                <a:gd name="T45" fmla="*/ 2147483647 h 444"/>
                <a:gd name="T46" fmla="*/ 2147483647 w 522"/>
                <a:gd name="T47" fmla="*/ 2147483647 h 444"/>
                <a:gd name="T48" fmla="*/ 2147483647 w 522"/>
                <a:gd name="T49" fmla="*/ 2147483647 h 444"/>
                <a:gd name="T50" fmla="*/ 2147483647 w 522"/>
                <a:gd name="T51" fmla="*/ 2147483647 h 444"/>
                <a:gd name="T52" fmla="*/ 2147483647 w 522"/>
                <a:gd name="T53" fmla="*/ 2147483647 h 444"/>
                <a:gd name="T54" fmla="*/ 2147483647 w 522"/>
                <a:gd name="T55" fmla="*/ 2147483647 h 444"/>
                <a:gd name="T56" fmla="*/ 2147483647 w 522"/>
                <a:gd name="T57" fmla="*/ 2147483647 h 444"/>
                <a:gd name="T58" fmla="*/ 2147483647 w 522"/>
                <a:gd name="T59" fmla="*/ 2147483647 h 444"/>
                <a:gd name="T60" fmla="*/ 2147483647 w 522"/>
                <a:gd name="T61" fmla="*/ 2147483647 h 444"/>
                <a:gd name="T62" fmla="*/ 2147483647 w 522"/>
                <a:gd name="T63" fmla="*/ 2147483647 h 444"/>
                <a:gd name="T64" fmla="*/ 2147483647 w 522"/>
                <a:gd name="T65" fmla="*/ 2147483647 h 444"/>
                <a:gd name="T66" fmla="*/ 2147483647 w 522"/>
                <a:gd name="T67" fmla="*/ 2147483647 h 444"/>
                <a:gd name="T68" fmla="*/ 2147483647 w 522"/>
                <a:gd name="T69" fmla="*/ 2147483647 h 444"/>
                <a:gd name="T70" fmla="*/ 2147483647 w 522"/>
                <a:gd name="T71" fmla="*/ 2147483647 h 444"/>
                <a:gd name="T72" fmla="*/ 2147483647 w 522"/>
                <a:gd name="T73" fmla="*/ 2147483647 h 444"/>
                <a:gd name="T74" fmla="*/ 2147483647 w 522"/>
                <a:gd name="T75" fmla="*/ 2147483647 h 444"/>
                <a:gd name="T76" fmla="*/ 2147483647 w 522"/>
                <a:gd name="T77" fmla="*/ 2147483647 h 444"/>
                <a:gd name="T78" fmla="*/ 2147483647 w 522"/>
                <a:gd name="T79" fmla="*/ 2147483647 h 444"/>
                <a:gd name="T80" fmla="*/ 2147483647 w 522"/>
                <a:gd name="T81" fmla="*/ 2147483647 h 444"/>
                <a:gd name="T82" fmla="*/ 2147483647 w 522"/>
                <a:gd name="T83" fmla="*/ 2147483647 h 444"/>
                <a:gd name="T84" fmla="*/ 2147483647 w 522"/>
                <a:gd name="T85" fmla="*/ 2147483647 h 444"/>
                <a:gd name="T86" fmla="*/ 2147483647 w 522"/>
                <a:gd name="T87" fmla="*/ 2147483647 h 444"/>
                <a:gd name="T88" fmla="*/ 2147483647 w 522"/>
                <a:gd name="T89" fmla="*/ 2147483647 h 444"/>
                <a:gd name="T90" fmla="*/ 2147483647 w 522"/>
                <a:gd name="T91" fmla="*/ 2147483647 h 444"/>
                <a:gd name="T92" fmla="*/ 2147483647 w 522"/>
                <a:gd name="T93" fmla="*/ 2147483647 h 44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22"/>
                <a:gd name="T142" fmla="*/ 0 h 444"/>
                <a:gd name="T143" fmla="*/ 522 w 522"/>
                <a:gd name="T144" fmla="*/ 444 h 44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22" h="444">
                  <a:moveTo>
                    <a:pt x="96" y="0"/>
                  </a:moveTo>
                  <a:lnTo>
                    <a:pt x="96" y="24"/>
                  </a:lnTo>
                  <a:lnTo>
                    <a:pt x="78" y="24"/>
                  </a:lnTo>
                  <a:lnTo>
                    <a:pt x="72" y="30"/>
                  </a:lnTo>
                  <a:lnTo>
                    <a:pt x="72" y="42"/>
                  </a:lnTo>
                  <a:lnTo>
                    <a:pt x="78" y="48"/>
                  </a:lnTo>
                  <a:lnTo>
                    <a:pt x="90" y="54"/>
                  </a:lnTo>
                  <a:lnTo>
                    <a:pt x="96" y="60"/>
                  </a:lnTo>
                  <a:lnTo>
                    <a:pt x="96" y="66"/>
                  </a:lnTo>
                  <a:lnTo>
                    <a:pt x="90" y="78"/>
                  </a:lnTo>
                  <a:lnTo>
                    <a:pt x="84" y="84"/>
                  </a:lnTo>
                  <a:lnTo>
                    <a:pt x="54" y="84"/>
                  </a:lnTo>
                  <a:lnTo>
                    <a:pt x="42" y="90"/>
                  </a:lnTo>
                  <a:lnTo>
                    <a:pt x="36" y="96"/>
                  </a:lnTo>
                  <a:lnTo>
                    <a:pt x="18" y="96"/>
                  </a:lnTo>
                  <a:lnTo>
                    <a:pt x="0" y="126"/>
                  </a:lnTo>
                  <a:lnTo>
                    <a:pt x="0" y="132"/>
                  </a:lnTo>
                  <a:lnTo>
                    <a:pt x="18" y="150"/>
                  </a:lnTo>
                  <a:lnTo>
                    <a:pt x="30" y="150"/>
                  </a:lnTo>
                  <a:lnTo>
                    <a:pt x="30" y="162"/>
                  </a:lnTo>
                  <a:lnTo>
                    <a:pt x="24" y="168"/>
                  </a:lnTo>
                  <a:lnTo>
                    <a:pt x="30" y="180"/>
                  </a:lnTo>
                  <a:lnTo>
                    <a:pt x="30" y="192"/>
                  </a:lnTo>
                  <a:lnTo>
                    <a:pt x="54" y="204"/>
                  </a:lnTo>
                  <a:lnTo>
                    <a:pt x="72" y="204"/>
                  </a:lnTo>
                  <a:lnTo>
                    <a:pt x="72" y="228"/>
                  </a:lnTo>
                  <a:lnTo>
                    <a:pt x="84" y="228"/>
                  </a:lnTo>
                  <a:lnTo>
                    <a:pt x="90" y="222"/>
                  </a:lnTo>
                  <a:lnTo>
                    <a:pt x="90" y="234"/>
                  </a:lnTo>
                  <a:lnTo>
                    <a:pt x="96" y="246"/>
                  </a:lnTo>
                  <a:lnTo>
                    <a:pt x="96" y="258"/>
                  </a:lnTo>
                  <a:lnTo>
                    <a:pt x="114" y="276"/>
                  </a:lnTo>
                  <a:lnTo>
                    <a:pt x="126" y="282"/>
                  </a:lnTo>
                  <a:lnTo>
                    <a:pt x="132" y="288"/>
                  </a:lnTo>
                  <a:lnTo>
                    <a:pt x="138" y="282"/>
                  </a:lnTo>
                  <a:lnTo>
                    <a:pt x="150" y="276"/>
                  </a:lnTo>
                  <a:lnTo>
                    <a:pt x="156" y="264"/>
                  </a:lnTo>
                  <a:lnTo>
                    <a:pt x="168" y="252"/>
                  </a:lnTo>
                  <a:lnTo>
                    <a:pt x="174" y="240"/>
                  </a:lnTo>
                  <a:lnTo>
                    <a:pt x="180" y="234"/>
                  </a:lnTo>
                  <a:lnTo>
                    <a:pt x="180" y="228"/>
                  </a:lnTo>
                  <a:lnTo>
                    <a:pt x="216" y="228"/>
                  </a:lnTo>
                  <a:lnTo>
                    <a:pt x="222" y="210"/>
                  </a:lnTo>
                  <a:lnTo>
                    <a:pt x="258" y="210"/>
                  </a:lnTo>
                  <a:lnTo>
                    <a:pt x="300" y="270"/>
                  </a:lnTo>
                  <a:lnTo>
                    <a:pt x="300" y="288"/>
                  </a:lnTo>
                  <a:lnTo>
                    <a:pt x="312" y="300"/>
                  </a:lnTo>
                  <a:lnTo>
                    <a:pt x="312" y="318"/>
                  </a:lnTo>
                  <a:lnTo>
                    <a:pt x="306" y="330"/>
                  </a:lnTo>
                  <a:lnTo>
                    <a:pt x="300" y="336"/>
                  </a:lnTo>
                  <a:lnTo>
                    <a:pt x="294" y="354"/>
                  </a:lnTo>
                  <a:lnTo>
                    <a:pt x="324" y="342"/>
                  </a:lnTo>
                  <a:lnTo>
                    <a:pt x="348" y="348"/>
                  </a:lnTo>
                  <a:lnTo>
                    <a:pt x="348" y="336"/>
                  </a:lnTo>
                  <a:lnTo>
                    <a:pt x="354" y="330"/>
                  </a:lnTo>
                  <a:lnTo>
                    <a:pt x="360" y="330"/>
                  </a:lnTo>
                  <a:lnTo>
                    <a:pt x="372" y="336"/>
                  </a:lnTo>
                  <a:lnTo>
                    <a:pt x="384" y="348"/>
                  </a:lnTo>
                  <a:lnTo>
                    <a:pt x="390" y="366"/>
                  </a:lnTo>
                  <a:lnTo>
                    <a:pt x="390" y="426"/>
                  </a:lnTo>
                  <a:lnTo>
                    <a:pt x="402" y="426"/>
                  </a:lnTo>
                  <a:lnTo>
                    <a:pt x="402" y="432"/>
                  </a:lnTo>
                  <a:lnTo>
                    <a:pt x="414" y="444"/>
                  </a:lnTo>
                  <a:lnTo>
                    <a:pt x="420" y="444"/>
                  </a:lnTo>
                  <a:lnTo>
                    <a:pt x="432" y="432"/>
                  </a:lnTo>
                  <a:lnTo>
                    <a:pt x="432" y="420"/>
                  </a:lnTo>
                  <a:lnTo>
                    <a:pt x="438" y="408"/>
                  </a:lnTo>
                  <a:lnTo>
                    <a:pt x="444" y="402"/>
                  </a:lnTo>
                  <a:lnTo>
                    <a:pt x="456" y="402"/>
                  </a:lnTo>
                  <a:lnTo>
                    <a:pt x="468" y="408"/>
                  </a:lnTo>
                  <a:lnTo>
                    <a:pt x="474" y="414"/>
                  </a:lnTo>
                  <a:lnTo>
                    <a:pt x="480" y="414"/>
                  </a:lnTo>
                  <a:lnTo>
                    <a:pt x="486" y="408"/>
                  </a:lnTo>
                  <a:lnTo>
                    <a:pt x="486" y="390"/>
                  </a:lnTo>
                  <a:lnTo>
                    <a:pt x="480" y="384"/>
                  </a:lnTo>
                  <a:lnTo>
                    <a:pt x="480" y="378"/>
                  </a:lnTo>
                  <a:lnTo>
                    <a:pt x="498" y="378"/>
                  </a:lnTo>
                  <a:lnTo>
                    <a:pt x="492" y="366"/>
                  </a:lnTo>
                  <a:lnTo>
                    <a:pt x="480" y="360"/>
                  </a:lnTo>
                  <a:lnTo>
                    <a:pt x="474" y="348"/>
                  </a:lnTo>
                  <a:lnTo>
                    <a:pt x="474" y="336"/>
                  </a:lnTo>
                  <a:lnTo>
                    <a:pt x="492" y="336"/>
                  </a:lnTo>
                  <a:lnTo>
                    <a:pt x="498" y="342"/>
                  </a:lnTo>
                  <a:lnTo>
                    <a:pt x="510" y="342"/>
                  </a:lnTo>
                  <a:lnTo>
                    <a:pt x="516" y="348"/>
                  </a:lnTo>
                  <a:lnTo>
                    <a:pt x="516" y="342"/>
                  </a:lnTo>
                  <a:lnTo>
                    <a:pt x="522" y="336"/>
                  </a:lnTo>
                  <a:lnTo>
                    <a:pt x="522" y="324"/>
                  </a:lnTo>
                  <a:lnTo>
                    <a:pt x="516" y="324"/>
                  </a:lnTo>
                  <a:lnTo>
                    <a:pt x="504" y="318"/>
                  </a:lnTo>
                  <a:lnTo>
                    <a:pt x="498" y="318"/>
                  </a:lnTo>
                  <a:lnTo>
                    <a:pt x="498" y="306"/>
                  </a:lnTo>
                  <a:lnTo>
                    <a:pt x="504" y="294"/>
                  </a:lnTo>
                  <a:lnTo>
                    <a:pt x="510" y="288"/>
                  </a:lnTo>
                  <a:lnTo>
                    <a:pt x="492" y="282"/>
                  </a:lnTo>
                  <a:lnTo>
                    <a:pt x="504" y="264"/>
                  </a:lnTo>
                  <a:lnTo>
                    <a:pt x="486" y="258"/>
                  </a:lnTo>
                  <a:lnTo>
                    <a:pt x="480" y="222"/>
                  </a:lnTo>
                  <a:lnTo>
                    <a:pt x="498" y="198"/>
                  </a:lnTo>
                  <a:lnTo>
                    <a:pt x="468" y="168"/>
                  </a:lnTo>
                  <a:lnTo>
                    <a:pt x="468" y="132"/>
                  </a:lnTo>
                  <a:lnTo>
                    <a:pt x="444" y="132"/>
                  </a:lnTo>
                  <a:lnTo>
                    <a:pt x="468" y="96"/>
                  </a:lnTo>
                  <a:lnTo>
                    <a:pt x="432" y="78"/>
                  </a:lnTo>
                  <a:lnTo>
                    <a:pt x="444" y="48"/>
                  </a:lnTo>
                  <a:lnTo>
                    <a:pt x="426" y="36"/>
                  </a:lnTo>
                  <a:lnTo>
                    <a:pt x="426" y="18"/>
                  </a:lnTo>
                  <a:lnTo>
                    <a:pt x="414" y="12"/>
                  </a:lnTo>
                  <a:lnTo>
                    <a:pt x="402" y="12"/>
                  </a:lnTo>
                  <a:lnTo>
                    <a:pt x="396" y="18"/>
                  </a:lnTo>
                  <a:lnTo>
                    <a:pt x="396" y="36"/>
                  </a:lnTo>
                  <a:lnTo>
                    <a:pt x="378" y="54"/>
                  </a:lnTo>
                  <a:lnTo>
                    <a:pt x="366" y="48"/>
                  </a:lnTo>
                  <a:lnTo>
                    <a:pt x="360" y="42"/>
                  </a:lnTo>
                  <a:lnTo>
                    <a:pt x="348" y="36"/>
                  </a:lnTo>
                  <a:lnTo>
                    <a:pt x="342" y="36"/>
                  </a:lnTo>
                  <a:lnTo>
                    <a:pt x="336" y="30"/>
                  </a:lnTo>
                  <a:lnTo>
                    <a:pt x="330" y="30"/>
                  </a:lnTo>
                  <a:lnTo>
                    <a:pt x="324" y="42"/>
                  </a:lnTo>
                  <a:lnTo>
                    <a:pt x="312" y="54"/>
                  </a:lnTo>
                  <a:lnTo>
                    <a:pt x="306" y="66"/>
                  </a:lnTo>
                  <a:lnTo>
                    <a:pt x="306" y="54"/>
                  </a:lnTo>
                  <a:lnTo>
                    <a:pt x="300" y="42"/>
                  </a:lnTo>
                  <a:lnTo>
                    <a:pt x="288" y="30"/>
                  </a:lnTo>
                  <a:lnTo>
                    <a:pt x="276" y="42"/>
                  </a:lnTo>
                  <a:lnTo>
                    <a:pt x="270" y="54"/>
                  </a:lnTo>
                  <a:lnTo>
                    <a:pt x="264" y="60"/>
                  </a:lnTo>
                  <a:lnTo>
                    <a:pt x="258" y="54"/>
                  </a:lnTo>
                  <a:lnTo>
                    <a:pt x="258" y="48"/>
                  </a:lnTo>
                  <a:lnTo>
                    <a:pt x="252" y="36"/>
                  </a:lnTo>
                  <a:lnTo>
                    <a:pt x="252" y="24"/>
                  </a:lnTo>
                  <a:lnTo>
                    <a:pt x="210" y="24"/>
                  </a:lnTo>
                  <a:lnTo>
                    <a:pt x="204" y="30"/>
                  </a:lnTo>
                  <a:lnTo>
                    <a:pt x="192" y="36"/>
                  </a:lnTo>
                  <a:lnTo>
                    <a:pt x="180" y="36"/>
                  </a:lnTo>
                  <a:lnTo>
                    <a:pt x="174" y="30"/>
                  </a:lnTo>
                  <a:lnTo>
                    <a:pt x="168" y="18"/>
                  </a:lnTo>
                  <a:lnTo>
                    <a:pt x="162" y="12"/>
                  </a:lnTo>
                  <a:lnTo>
                    <a:pt x="156" y="18"/>
                  </a:lnTo>
                  <a:lnTo>
                    <a:pt x="138" y="18"/>
                  </a:lnTo>
                  <a:lnTo>
                    <a:pt x="132" y="6"/>
                  </a:lnTo>
                  <a:lnTo>
                    <a:pt x="132" y="0"/>
                  </a:lnTo>
                  <a:lnTo>
                    <a:pt x="96" y="0"/>
                  </a:lnTo>
                  <a:close/>
                </a:path>
              </a:pathLst>
            </a:custGeom>
            <a:solidFill>
              <a:srgbClr val="692864"/>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53" name="Guatemala" descr="© INSCALE GmbH, 05.05.2010&#10;http://www.presentationload.com/"/>
            <p:cNvSpPr>
              <a:spLocks/>
            </p:cNvSpPr>
            <p:nvPr/>
          </p:nvSpPr>
          <p:spPr bwMode="gray">
            <a:xfrm>
              <a:off x="1595438" y="3497262"/>
              <a:ext cx="119063" cy="134938"/>
            </a:xfrm>
            <a:custGeom>
              <a:avLst/>
              <a:gdLst>
                <a:gd name="T0" fmla="*/ 2147483647 w 300"/>
                <a:gd name="T1" fmla="*/ 2147483647 h 336"/>
                <a:gd name="T2" fmla="*/ 2147483647 w 300"/>
                <a:gd name="T3" fmla="*/ 2147483647 h 336"/>
                <a:gd name="T4" fmla="*/ 2147483647 w 300"/>
                <a:gd name="T5" fmla="*/ 2147483647 h 336"/>
                <a:gd name="T6" fmla="*/ 2147483647 w 300"/>
                <a:gd name="T7" fmla="*/ 2147483647 h 336"/>
                <a:gd name="T8" fmla="*/ 2147483647 w 300"/>
                <a:gd name="T9" fmla="*/ 2147483647 h 336"/>
                <a:gd name="T10" fmla="*/ 2147483647 w 300"/>
                <a:gd name="T11" fmla="*/ 0 h 336"/>
                <a:gd name="T12" fmla="*/ 2147483647 w 300"/>
                <a:gd name="T13" fmla="*/ 2147483647 h 336"/>
                <a:gd name="T14" fmla="*/ 2147483647 w 300"/>
                <a:gd name="T15" fmla="*/ 2147483647 h 336"/>
                <a:gd name="T16" fmla="*/ 2147483647 w 300"/>
                <a:gd name="T17" fmla="*/ 2147483647 h 336"/>
                <a:gd name="T18" fmla="*/ 2147483647 w 300"/>
                <a:gd name="T19" fmla="*/ 2147483647 h 336"/>
                <a:gd name="T20" fmla="*/ 2147483647 w 300"/>
                <a:gd name="T21" fmla="*/ 2147483647 h 336"/>
                <a:gd name="T22" fmla="*/ 2147483647 w 300"/>
                <a:gd name="T23" fmla="*/ 2147483647 h 336"/>
                <a:gd name="T24" fmla="*/ 2147483647 w 300"/>
                <a:gd name="T25" fmla="*/ 2147483647 h 336"/>
                <a:gd name="T26" fmla="*/ 2147483647 w 300"/>
                <a:gd name="T27" fmla="*/ 2147483647 h 336"/>
                <a:gd name="T28" fmla="*/ 2147483647 w 300"/>
                <a:gd name="T29" fmla="*/ 2147483647 h 336"/>
                <a:gd name="T30" fmla="*/ 2147483647 w 300"/>
                <a:gd name="T31" fmla="*/ 2147483647 h 336"/>
                <a:gd name="T32" fmla="*/ 2147483647 w 300"/>
                <a:gd name="T33" fmla="*/ 2147483647 h 336"/>
                <a:gd name="T34" fmla="*/ 2147483647 w 300"/>
                <a:gd name="T35" fmla="*/ 2147483647 h 336"/>
                <a:gd name="T36" fmla="*/ 2147483647 w 300"/>
                <a:gd name="T37" fmla="*/ 2147483647 h 336"/>
                <a:gd name="T38" fmla="*/ 2147483647 w 300"/>
                <a:gd name="T39" fmla="*/ 2147483647 h 336"/>
                <a:gd name="T40" fmla="*/ 2147483647 w 300"/>
                <a:gd name="T41" fmla="*/ 2147483647 h 336"/>
                <a:gd name="T42" fmla="*/ 2147483647 w 300"/>
                <a:gd name="T43" fmla="*/ 2147483647 h 336"/>
                <a:gd name="T44" fmla="*/ 2147483647 w 300"/>
                <a:gd name="T45" fmla="*/ 2147483647 h 336"/>
                <a:gd name="T46" fmla="*/ 2147483647 w 300"/>
                <a:gd name="T47" fmla="*/ 2147483647 h 336"/>
                <a:gd name="T48" fmla="*/ 2147483647 w 300"/>
                <a:gd name="T49" fmla="*/ 2147483647 h 336"/>
                <a:gd name="T50" fmla="*/ 2147483647 w 300"/>
                <a:gd name="T51" fmla="*/ 2147483647 h 336"/>
                <a:gd name="T52" fmla="*/ 2147483647 w 300"/>
                <a:gd name="T53" fmla="*/ 2147483647 h 336"/>
                <a:gd name="T54" fmla="*/ 2147483647 w 300"/>
                <a:gd name="T55" fmla="*/ 2147483647 h 336"/>
                <a:gd name="T56" fmla="*/ 2147483647 w 300"/>
                <a:gd name="T57" fmla="*/ 2147483647 h 336"/>
                <a:gd name="T58" fmla="*/ 0 w 300"/>
                <a:gd name="T59" fmla="*/ 2147483647 h 336"/>
                <a:gd name="T60" fmla="*/ 2147483647 w 300"/>
                <a:gd name="T61" fmla="*/ 2147483647 h 336"/>
                <a:gd name="T62" fmla="*/ 2147483647 w 300"/>
                <a:gd name="T63" fmla="*/ 2147483647 h 336"/>
                <a:gd name="T64" fmla="*/ 2147483647 w 300"/>
                <a:gd name="T65" fmla="*/ 2147483647 h 336"/>
                <a:gd name="T66" fmla="*/ 2147483647 w 300"/>
                <a:gd name="T67" fmla="*/ 2147483647 h 336"/>
                <a:gd name="T68" fmla="*/ 2147483647 w 300"/>
                <a:gd name="T69" fmla="*/ 2147483647 h 336"/>
                <a:gd name="T70" fmla="*/ 2147483647 w 300"/>
                <a:gd name="T71" fmla="*/ 2147483647 h 336"/>
                <a:gd name="T72" fmla="*/ 2147483647 w 300"/>
                <a:gd name="T73" fmla="*/ 2147483647 h 336"/>
                <a:gd name="T74" fmla="*/ 2147483647 w 300"/>
                <a:gd name="T75" fmla="*/ 2147483647 h 336"/>
                <a:gd name="T76" fmla="*/ 2147483647 w 300"/>
                <a:gd name="T77" fmla="*/ 2147483647 h 336"/>
                <a:gd name="T78" fmla="*/ 2147483647 w 300"/>
                <a:gd name="T79" fmla="*/ 2147483647 h 336"/>
                <a:gd name="T80" fmla="*/ 2147483647 w 300"/>
                <a:gd name="T81" fmla="*/ 2147483647 h 336"/>
                <a:gd name="T82" fmla="*/ 2147483647 w 300"/>
                <a:gd name="T83" fmla="*/ 2147483647 h 336"/>
                <a:gd name="T84" fmla="*/ 2147483647 w 300"/>
                <a:gd name="T85" fmla="*/ 2147483647 h 336"/>
                <a:gd name="T86" fmla="*/ 2147483647 w 300"/>
                <a:gd name="T87" fmla="*/ 2147483647 h 336"/>
                <a:gd name="T88" fmla="*/ 2147483647 w 300"/>
                <a:gd name="T89" fmla="*/ 2147483647 h 336"/>
                <a:gd name="T90" fmla="*/ 2147483647 w 300"/>
                <a:gd name="T91" fmla="*/ 2147483647 h 336"/>
                <a:gd name="T92" fmla="*/ 2147483647 w 300"/>
                <a:gd name="T93" fmla="*/ 2147483647 h 336"/>
                <a:gd name="T94" fmla="*/ 2147483647 w 300"/>
                <a:gd name="T95" fmla="*/ 2147483647 h 336"/>
                <a:gd name="T96" fmla="*/ 2147483647 w 300"/>
                <a:gd name="T97" fmla="*/ 2147483647 h 336"/>
                <a:gd name="T98" fmla="*/ 2147483647 w 300"/>
                <a:gd name="T99" fmla="*/ 2147483647 h 336"/>
                <a:gd name="T100" fmla="*/ 2147483647 w 300"/>
                <a:gd name="T101" fmla="*/ 2147483647 h 336"/>
                <a:gd name="T102" fmla="*/ 2147483647 w 300"/>
                <a:gd name="T103" fmla="*/ 2147483647 h 336"/>
                <a:gd name="T104" fmla="*/ 2147483647 w 300"/>
                <a:gd name="T105" fmla="*/ 2147483647 h 336"/>
                <a:gd name="T106" fmla="*/ 2147483647 w 300"/>
                <a:gd name="T107" fmla="*/ 2147483647 h 336"/>
                <a:gd name="T108" fmla="*/ 2147483647 w 300"/>
                <a:gd name="T109" fmla="*/ 2147483647 h 336"/>
                <a:gd name="T110" fmla="*/ 2147483647 w 300"/>
                <a:gd name="T111" fmla="*/ 2147483647 h 336"/>
                <a:gd name="T112" fmla="*/ 2147483647 w 300"/>
                <a:gd name="T113" fmla="*/ 2147483647 h 336"/>
                <a:gd name="T114" fmla="*/ 2147483647 w 300"/>
                <a:gd name="T115" fmla="*/ 2147483647 h 336"/>
                <a:gd name="T116" fmla="*/ 2147483647 w 300"/>
                <a:gd name="T117" fmla="*/ 2147483647 h 336"/>
                <a:gd name="T118" fmla="*/ 2147483647 w 300"/>
                <a:gd name="T119" fmla="*/ 2147483647 h 336"/>
                <a:gd name="T120" fmla="*/ 2147483647 w 300"/>
                <a:gd name="T121" fmla="*/ 2147483647 h 3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0"/>
                <a:gd name="T184" fmla="*/ 0 h 336"/>
                <a:gd name="T185" fmla="*/ 300 w 300"/>
                <a:gd name="T186" fmla="*/ 336 h 3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0" h="336">
                  <a:moveTo>
                    <a:pt x="288" y="156"/>
                  </a:moveTo>
                  <a:lnTo>
                    <a:pt x="270" y="168"/>
                  </a:lnTo>
                  <a:lnTo>
                    <a:pt x="258" y="162"/>
                  </a:lnTo>
                  <a:lnTo>
                    <a:pt x="228" y="162"/>
                  </a:lnTo>
                  <a:lnTo>
                    <a:pt x="252" y="6"/>
                  </a:lnTo>
                  <a:lnTo>
                    <a:pt x="120" y="0"/>
                  </a:lnTo>
                  <a:lnTo>
                    <a:pt x="120" y="12"/>
                  </a:lnTo>
                  <a:lnTo>
                    <a:pt x="126" y="24"/>
                  </a:lnTo>
                  <a:lnTo>
                    <a:pt x="126" y="48"/>
                  </a:lnTo>
                  <a:lnTo>
                    <a:pt x="120" y="48"/>
                  </a:lnTo>
                  <a:lnTo>
                    <a:pt x="108" y="54"/>
                  </a:lnTo>
                  <a:lnTo>
                    <a:pt x="84" y="54"/>
                  </a:lnTo>
                  <a:lnTo>
                    <a:pt x="96" y="60"/>
                  </a:lnTo>
                  <a:lnTo>
                    <a:pt x="96" y="66"/>
                  </a:lnTo>
                  <a:lnTo>
                    <a:pt x="102" y="78"/>
                  </a:lnTo>
                  <a:lnTo>
                    <a:pt x="108" y="84"/>
                  </a:lnTo>
                  <a:lnTo>
                    <a:pt x="114" y="84"/>
                  </a:lnTo>
                  <a:lnTo>
                    <a:pt x="126" y="90"/>
                  </a:lnTo>
                  <a:lnTo>
                    <a:pt x="132" y="90"/>
                  </a:lnTo>
                  <a:lnTo>
                    <a:pt x="138" y="114"/>
                  </a:lnTo>
                  <a:lnTo>
                    <a:pt x="156" y="114"/>
                  </a:lnTo>
                  <a:lnTo>
                    <a:pt x="156" y="126"/>
                  </a:lnTo>
                  <a:lnTo>
                    <a:pt x="150" y="132"/>
                  </a:lnTo>
                  <a:lnTo>
                    <a:pt x="144" y="132"/>
                  </a:lnTo>
                  <a:lnTo>
                    <a:pt x="144" y="150"/>
                  </a:lnTo>
                  <a:lnTo>
                    <a:pt x="54" y="144"/>
                  </a:lnTo>
                  <a:lnTo>
                    <a:pt x="24" y="192"/>
                  </a:lnTo>
                  <a:lnTo>
                    <a:pt x="24" y="264"/>
                  </a:lnTo>
                  <a:lnTo>
                    <a:pt x="18" y="270"/>
                  </a:lnTo>
                  <a:lnTo>
                    <a:pt x="0" y="270"/>
                  </a:lnTo>
                  <a:lnTo>
                    <a:pt x="6" y="282"/>
                  </a:lnTo>
                  <a:lnTo>
                    <a:pt x="12" y="288"/>
                  </a:lnTo>
                  <a:lnTo>
                    <a:pt x="24" y="288"/>
                  </a:lnTo>
                  <a:lnTo>
                    <a:pt x="42" y="300"/>
                  </a:lnTo>
                  <a:lnTo>
                    <a:pt x="60" y="318"/>
                  </a:lnTo>
                  <a:lnTo>
                    <a:pt x="72" y="324"/>
                  </a:lnTo>
                  <a:lnTo>
                    <a:pt x="120" y="324"/>
                  </a:lnTo>
                  <a:lnTo>
                    <a:pt x="126" y="330"/>
                  </a:lnTo>
                  <a:lnTo>
                    <a:pt x="132" y="330"/>
                  </a:lnTo>
                  <a:lnTo>
                    <a:pt x="138" y="336"/>
                  </a:lnTo>
                  <a:lnTo>
                    <a:pt x="150" y="324"/>
                  </a:lnTo>
                  <a:lnTo>
                    <a:pt x="162" y="318"/>
                  </a:lnTo>
                  <a:lnTo>
                    <a:pt x="168" y="312"/>
                  </a:lnTo>
                  <a:lnTo>
                    <a:pt x="174" y="312"/>
                  </a:lnTo>
                  <a:lnTo>
                    <a:pt x="180" y="300"/>
                  </a:lnTo>
                  <a:lnTo>
                    <a:pt x="186" y="294"/>
                  </a:lnTo>
                  <a:lnTo>
                    <a:pt x="186" y="282"/>
                  </a:lnTo>
                  <a:lnTo>
                    <a:pt x="204" y="282"/>
                  </a:lnTo>
                  <a:lnTo>
                    <a:pt x="210" y="276"/>
                  </a:lnTo>
                  <a:lnTo>
                    <a:pt x="222" y="270"/>
                  </a:lnTo>
                  <a:lnTo>
                    <a:pt x="222" y="264"/>
                  </a:lnTo>
                  <a:lnTo>
                    <a:pt x="228" y="252"/>
                  </a:lnTo>
                  <a:lnTo>
                    <a:pt x="228" y="234"/>
                  </a:lnTo>
                  <a:lnTo>
                    <a:pt x="234" y="222"/>
                  </a:lnTo>
                  <a:lnTo>
                    <a:pt x="246" y="216"/>
                  </a:lnTo>
                  <a:lnTo>
                    <a:pt x="258" y="204"/>
                  </a:lnTo>
                  <a:lnTo>
                    <a:pt x="270" y="198"/>
                  </a:lnTo>
                  <a:lnTo>
                    <a:pt x="282" y="186"/>
                  </a:lnTo>
                  <a:lnTo>
                    <a:pt x="294" y="180"/>
                  </a:lnTo>
                  <a:lnTo>
                    <a:pt x="300" y="168"/>
                  </a:lnTo>
                  <a:lnTo>
                    <a:pt x="288" y="156"/>
                  </a:lnTo>
                  <a:close/>
                </a:path>
              </a:pathLst>
            </a:custGeom>
            <a:solidFill>
              <a:srgbClr val="658B26"/>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54" name="Greenland" descr="© INSCALE GmbH, 05.05.2010&#10;http://www.presentationload.com/"/>
            <p:cNvSpPr>
              <a:spLocks noEditPoints="1"/>
            </p:cNvSpPr>
            <p:nvPr/>
          </p:nvSpPr>
          <p:spPr bwMode="gray">
            <a:xfrm>
              <a:off x="2984503" y="1547813"/>
              <a:ext cx="1127126" cy="614363"/>
            </a:xfrm>
            <a:custGeom>
              <a:avLst/>
              <a:gdLst>
                <a:gd name="T0" fmla="*/ 2147483647 w 732"/>
                <a:gd name="T1" fmla="*/ 2147483647 h 398"/>
                <a:gd name="T2" fmla="*/ 2147483647 w 732"/>
                <a:gd name="T3" fmla="*/ 2147483647 h 398"/>
                <a:gd name="T4" fmla="*/ 2147483647 w 732"/>
                <a:gd name="T5" fmla="*/ 2147483647 h 398"/>
                <a:gd name="T6" fmla="*/ 2147483647 w 732"/>
                <a:gd name="T7" fmla="*/ 2147483647 h 398"/>
                <a:gd name="T8" fmla="*/ 2147483647 w 732"/>
                <a:gd name="T9" fmla="*/ 2147483647 h 398"/>
                <a:gd name="T10" fmla="*/ 2147483647 w 732"/>
                <a:gd name="T11" fmla="*/ 2147483647 h 398"/>
                <a:gd name="T12" fmla="*/ 2147483647 w 732"/>
                <a:gd name="T13" fmla="*/ 2147483647 h 398"/>
                <a:gd name="T14" fmla="*/ 2147483647 w 732"/>
                <a:gd name="T15" fmla="*/ 2147483647 h 398"/>
                <a:gd name="T16" fmla="*/ 2147483647 w 732"/>
                <a:gd name="T17" fmla="*/ 2147483647 h 398"/>
                <a:gd name="T18" fmla="*/ 2147483647 w 732"/>
                <a:gd name="T19" fmla="*/ 2147483647 h 398"/>
                <a:gd name="T20" fmla="*/ 2147483647 w 732"/>
                <a:gd name="T21" fmla="*/ 2147483647 h 398"/>
                <a:gd name="T22" fmla="*/ 2147483647 w 732"/>
                <a:gd name="T23" fmla="*/ 2147483647 h 398"/>
                <a:gd name="T24" fmla="*/ 2147483647 w 732"/>
                <a:gd name="T25" fmla="*/ 2147483647 h 398"/>
                <a:gd name="T26" fmla="*/ 2147483647 w 732"/>
                <a:gd name="T27" fmla="*/ 2147483647 h 398"/>
                <a:gd name="T28" fmla="*/ 2147483647 w 732"/>
                <a:gd name="T29" fmla="*/ 2147483647 h 398"/>
                <a:gd name="T30" fmla="*/ 2147483647 w 732"/>
                <a:gd name="T31" fmla="*/ 2147483647 h 398"/>
                <a:gd name="T32" fmla="*/ 2147483647 w 732"/>
                <a:gd name="T33" fmla="*/ 2147483647 h 398"/>
                <a:gd name="T34" fmla="*/ 2147483647 w 732"/>
                <a:gd name="T35" fmla="*/ 2147483647 h 398"/>
                <a:gd name="T36" fmla="*/ 2147483647 w 732"/>
                <a:gd name="T37" fmla="*/ 2147483647 h 398"/>
                <a:gd name="T38" fmla="*/ 2147483647 w 732"/>
                <a:gd name="T39" fmla="*/ 2147483647 h 398"/>
                <a:gd name="T40" fmla="*/ 2147483647 w 732"/>
                <a:gd name="T41" fmla="*/ 2147483647 h 398"/>
                <a:gd name="T42" fmla="*/ 2147483647 w 732"/>
                <a:gd name="T43" fmla="*/ 2147483647 h 398"/>
                <a:gd name="T44" fmla="*/ 2147483647 w 732"/>
                <a:gd name="T45" fmla="*/ 2147483647 h 398"/>
                <a:gd name="T46" fmla="*/ 2147483647 w 732"/>
                <a:gd name="T47" fmla="*/ 2147483647 h 398"/>
                <a:gd name="T48" fmla="*/ 2147483647 w 732"/>
                <a:gd name="T49" fmla="*/ 2147483647 h 398"/>
                <a:gd name="T50" fmla="*/ 2147483647 w 732"/>
                <a:gd name="T51" fmla="*/ 2147483647 h 398"/>
                <a:gd name="T52" fmla="*/ 2147483647 w 732"/>
                <a:gd name="T53" fmla="*/ 2147483647 h 398"/>
                <a:gd name="T54" fmla="*/ 2147483647 w 732"/>
                <a:gd name="T55" fmla="*/ 2147483647 h 398"/>
                <a:gd name="T56" fmla="*/ 2147483647 w 732"/>
                <a:gd name="T57" fmla="*/ 2147483647 h 398"/>
                <a:gd name="T58" fmla="*/ 2147483647 w 732"/>
                <a:gd name="T59" fmla="*/ 2147483647 h 398"/>
                <a:gd name="T60" fmla="*/ 2147483647 w 732"/>
                <a:gd name="T61" fmla="*/ 2147483647 h 398"/>
                <a:gd name="T62" fmla="*/ 2147483647 w 732"/>
                <a:gd name="T63" fmla="*/ 2147483647 h 398"/>
                <a:gd name="T64" fmla="*/ 2147483647 w 732"/>
                <a:gd name="T65" fmla="*/ 2147483647 h 398"/>
                <a:gd name="T66" fmla="*/ 2147483647 w 732"/>
                <a:gd name="T67" fmla="*/ 2147483647 h 398"/>
                <a:gd name="T68" fmla="*/ 2147483647 w 732"/>
                <a:gd name="T69" fmla="*/ 2147483647 h 398"/>
                <a:gd name="T70" fmla="*/ 2147483647 w 732"/>
                <a:gd name="T71" fmla="*/ 2147483647 h 398"/>
                <a:gd name="T72" fmla="*/ 2147483647 w 732"/>
                <a:gd name="T73" fmla="*/ 2147483647 h 398"/>
                <a:gd name="T74" fmla="*/ 2147483647 w 732"/>
                <a:gd name="T75" fmla="*/ 2147483647 h 398"/>
                <a:gd name="T76" fmla="*/ 2147483647 w 732"/>
                <a:gd name="T77" fmla="*/ 2147483647 h 398"/>
                <a:gd name="T78" fmla="*/ 2147483647 w 732"/>
                <a:gd name="T79" fmla="*/ 2147483647 h 398"/>
                <a:gd name="T80" fmla="*/ 2147483647 w 732"/>
                <a:gd name="T81" fmla="*/ 2147483647 h 398"/>
                <a:gd name="T82" fmla="*/ 2147483647 w 732"/>
                <a:gd name="T83" fmla="*/ 2147483647 h 398"/>
                <a:gd name="T84" fmla="*/ 2147483647 w 732"/>
                <a:gd name="T85" fmla="*/ 2147483647 h 398"/>
                <a:gd name="T86" fmla="*/ 2147483647 w 732"/>
                <a:gd name="T87" fmla="*/ 2147483647 h 398"/>
                <a:gd name="T88" fmla="*/ 2147483647 w 732"/>
                <a:gd name="T89" fmla="*/ 2147483647 h 398"/>
                <a:gd name="T90" fmla="*/ 2147483647 w 732"/>
                <a:gd name="T91" fmla="*/ 2147483647 h 398"/>
                <a:gd name="T92" fmla="*/ 2147483647 w 732"/>
                <a:gd name="T93" fmla="*/ 2147483647 h 398"/>
                <a:gd name="T94" fmla="*/ 2147483647 w 732"/>
                <a:gd name="T95" fmla="*/ 2147483647 h 398"/>
                <a:gd name="T96" fmla="*/ 2147483647 w 732"/>
                <a:gd name="T97" fmla="*/ 2147483647 h 398"/>
                <a:gd name="T98" fmla="*/ 2147483647 w 732"/>
                <a:gd name="T99" fmla="*/ 2147483647 h 398"/>
                <a:gd name="T100" fmla="*/ 2147483647 w 732"/>
                <a:gd name="T101" fmla="*/ 2147483647 h 398"/>
                <a:gd name="T102" fmla="*/ 2147483647 w 732"/>
                <a:gd name="T103" fmla="*/ 2147483647 h 398"/>
                <a:gd name="T104" fmla="*/ 2147483647 w 732"/>
                <a:gd name="T105" fmla="*/ 2147483647 h 398"/>
                <a:gd name="T106" fmla="*/ 2147483647 w 732"/>
                <a:gd name="T107" fmla="*/ 2147483647 h 398"/>
                <a:gd name="T108" fmla="*/ 2147483647 w 732"/>
                <a:gd name="T109" fmla="*/ 2147483647 h 398"/>
                <a:gd name="T110" fmla="*/ 2147483647 w 732"/>
                <a:gd name="T111" fmla="*/ 2147483647 h 398"/>
                <a:gd name="T112" fmla="*/ 2147483647 w 732"/>
                <a:gd name="T113" fmla="*/ 2147483647 h 398"/>
                <a:gd name="T114" fmla="*/ 2147483647 w 732"/>
                <a:gd name="T115" fmla="*/ 2147483647 h 398"/>
                <a:gd name="T116" fmla="*/ 2147483647 w 732"/>
                <a:gd name="T117" fmla="*/ 2147483647 h 398"/>
                <a:gd name="T118" fmla="*/ 2147483647 w 732"/>
                <a:gd name="T119" fmla="*/ 2147483647 h 398"/>
                <a:gd name="T120" fmla="*/ 2147483647 w 732"/>
                <a:gd name="T121" fmla="*/ 2147483647 h 398"/>
                <a:gd name="T122" fmla="*/ 2147483647 w 732"/>
                <a:gd name="T123" fmla="*/ 2147483647 h 39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32"/>
                <a:gd name="T187" fmla="*/ 0 h 398"/>
                <a:gd name="T188" fmla="*/ 732 w 732"/>
                <a:gd name="T189" fmla="*/ 398 h 39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32" h="398">
                  <a:moveTo>
                    <a:pt x="730" y="24"/>
                  </a:moveTo>
                  <a:lnTo>
                    <a:pt x="728" y="24"/>
                  </a:lnTo>
                  <a:lnTo>
                    <a:pt x="723" y="24"/>
                  </a:lnTo>
                  <a:lnTo>
                    <a:pt x="718" y="22"/>
                  </a:lnTo>
                  <a:lnTo>
                    <a:pt x="678" y="22"/>
                  </a:lnTo>
                  <a:lnTo>
                    <a:pt x="678" y="24"/>
                  </a:lnTo>
                  <a:lnTo>
                    <a:pt x="670" y="26"/>
                  </a:lnTo>
                  <a:lnTo>
                    <a:pt x="659" y="26"/>
                  </a:lnTo>
                  <a:lnTo>
                    <a:pt x="651" y="24"/>
                  </a:lnTo>
                  <a:lnTo>
                    <a:pt x="637" y="24"/>
                  </a:lnTo>
                  <a:lnTo>
                    <a:pt x="623" y="29"/>
                  </a:lnTo>
                  <a:lnTo>
                    <a:pt x="616" y="34"/>
                  </a:lnTo>
                  <a:lnTo>
                    <a:pt x="611" y="34"/>
                  </a:lnTo>
                  <a:lnTo>
                    <a:pt x="606" y="34"/>
                  </a:lnTo>
                  <a:lnTo>
                    <a:pt x="604" y="36"/>
                  </a:lnTo>
                  <a:lnTo>
                    <a:pt x="602" y="36"/>
                  </a:lnTo>
                  <a:lnTo>
                    <a:pt x="597" y="38"/>
                  </a:lnTo>
                  <a:lnTo>
                    <a:pt x="592" y="38"/>
                  </a:lnTo>
                  <a:lnTo>
                    <a:pt x="599" y="34"/>
                  </a:lnTo>
                  <a:lnTo>
                    <a:pt x="609" y="31"/>
                  </a:lnTo>
                  <a:lnTo>
                    <a:pt x="621" y="26"/>
                  </a:lnTo>
                  <a:lnTo>
                    <a:pt x="623" y="24"/>
                  </a:lnTo>
                  <a:lnTo>
                    <a:pt x="618" y="19"/>
                  </a:lnTo>
                  <a:lnTo>
                    <a:pt x="606" y="19"/>
                  </a:lnTo>
                  <a:lnTo>
                    <a:pt x="604" y="22"/>
                  </a:lnTo>
                  <a:lnTo>
                    <a:pt x="602" y="22"/>
                  </a:lnTo>
                  <a:lnTo>
                    <a:pt x="597" y="24"/>
                  </a:lnTo>
                  <a:lnTo>
                    <a:pt x="594" y="24"/>
                  </a:lnTo>
                  <a:lnTo>
                    <a:pt x="566" y="26"/>
                  </a:lnTo>
                  <a:lnTo>
                    <a:pt x="566" y="29"/>
                  </a:lnTo>
                  <a:lnTo>
                    <a:pt x="563" y="29"/>
                  </a:lnTo>
                  <a:lnTo>
                    <a:pt x="566" y="26"/>
                  </a:lnTo>
                  <a:lnTo>
                    <a:pt x="568" y="26"/>
                  </a:lnTo>
                  <a:lnTo>
                    <a:pt x="573" y="26"/>
                  </a:lnTo>
                  <a:lnTo>
                    <a:pt x="578" y="24"/>
                  </a:lnTo>
                  <a:lnTo>
                    <a:pt x="580" y="24"/>
                  </a:lnTo>
                  <a:lnTo>
                    <a:pt x="582" y="24"/>
                  </a:lnTo>
                  <a:lnTo>
                    <a:pt x="585" y="22"/>
                  </a:lnTo>
                  <a:lnTo>
                    <a:pt x="578" y="19"/>
                  </a:lnTo>
                  <a:lnTo>
                    <a:pt x="552" y="19"/>
                  </a:lnTo>
                  <a:lnTo>
                    <a:pt x="542" y="22"/>
                  </a:lnTo>
                  <a:lnTo>
                    <a:pt x="525" y="19"/>
                  </a:lnTo>
                  <a:lnTo>
                    <a:pt x="523" y="19"/>
                  </a:lnTo>
                  <a:lnTo>
                    <a:pt x="523" y="22"/>
                  </a:lnTo>
                  <a:lnTo>
                    <a:pt x="518" y="22"/>
                  </a:lnTo>
                  <a:lnTo>
                    <a:pt x="514" y="24"/>
                  </a:lnTo>
                  <a:lnTo>
                    <a:pt x="511" y="24"/>
                  </a:lnTo>
                  <a:lnTo>
                    <a:pt x="509" y="24"/>
                  </a:lnTo>
                  <a:lnTo>
                    <a:pt x="506" y="24"/>
                  </a:lnTo>
                  <a:lnTo>
                    <a:pt x="509" y="22"/>
                  </a:lnTo>
                  <a:lnTo>
                    <a:pt x="518" y="19"/>
                  </a:lnTo>
                  <a:lnTo>
                    <a:pt x="530" y="19"/>
                  </a:lnTo>
                  <a:lnTo>
                    <a:pt x="563" y="19"/>
                  </a:lnTo>
                  <a:lnTo>
                    <a:pt x="580" y="17"/>
                  </a:lnTo>
                  <a:lnTo>
                    <a:pt x="625" y="17"/>
                  </a:lnTo>
                  <a:lnTo>
                    <a:pt x="632" y="14"/>
                  </a:lnTo>
                  <a:lnTo>
                    <a:pt x="628" y="12"/>
                  </a:lnTo>
                  <a:lnTo>
                    <a:pt x="618" y="10"/>
                  </a:lnTo>
                  <a:lnTo>
                    <a:pt x="592" y="10"/>
                  </a:lnTo>
                  <a:lnTo>
                    <a:pt x="594" y="10"/>
                  </a:lnTo>
                  <a:lnTo>
                    <a:pt x="597" y="7"/>
                  </a:lnTo>
                  <a:lnTo>
                    <a:pt x="594" y="5"/>
                  </a:lnTo>
                  <a:lnTo>
                    <a:pt x="585" y="5"/>
                  </a:lnTo>
                  <a:lnTo>
                    <a:pt x="582" y="7"/>
                  </a:lnTo>
                  <a:lnTo>
                    <a:pt x="568" y="7"/>
                  </a:lnTo>
                  <a:lnTo>
                    <a:pt x="566" y="5"/>
                  </a:lnTo>
                  <a:lnTo>
                    <a:pt x="571" y="5"/>
                  </a:lnTo>
                  <a:lnTo>
                    <a:pt x="573" y="5"/>
                  </a:lnTo>
                  <a:lnTo>
                    <a:pt x="578" y="5"/>
                  </a:lnTo>
                  <a:lnTo>
                    <a:pt x="578" y="2"/>
                  </a:lnTo>
                  <a:lnTo>
                    <a:pt x="575" y="2"/>
                  </a:lnTo>
                  <a:lnTo>
                    <a:pt x="571" y="0"/>
                  </a:lnTo>
                  <a:lnTo>
                    <a:pt x="537" y="0"/>
                  </a:lnTo>
                  <a:lnTo>
                    <a:pt x="528" y="2"/>
                  </a:lnTo>
                  <a:lnTo>
                    <a:pt x="518" y="2"/>
                  </a:lnTo>
                  <a:lnTo>
                    <a:pt x="509" y="0"/>
                  </a:lnTo>
                  <a:lnTo>
                    <a:pt x="483" y="0"/>
                  </a:lnTo>
                  <a:lnTo>
                    <a:pt x="478" y="2"/>
                  </a:lnTo>
                  <a:lnTo>
                    <a:pt x="454" y="2"/>
                  </a:lnTo>
                  <a:lnTo>
                    <a:pt x="452" y="0"/>
                  </a:lnTo>
                  <a:lnTo>
                    <a:pt x="447" y="0"/>
                  </a:lnTo>
                  <a:lnTo>
                    <a:pt x="445" y="2"/>
                  </a:lnTo>
                  <a:lnTo>
                    <a:pt x="442" y="2"/>
                  </a:lnTo>
                  <a:lnTo>
                    <a:pt x="442" y="5"/>
                  </a:lnTo>
                  <a:lnTo>
                    <a:pt x="445" y="5"/>
                  </a:lnTo>
                  <a:lnTo>
                    <a:pt x="447" y="5"/>
                  </a:lnTo>
                  <a:lnTo>
                    <a:pt x="442" y="7"/>
                  </a:lnTo>
                  <a:lnTo>
                    <a:pt x="428" y="7"/>
                  </a:lnTo>
                  <a:lnTo>
                    <a:pt x="409" y="5"/>
                  </a:lnTo>
                  <a:lnTo>
                    <a:pt x="378" y="5"/>
                  </a:lnTo>
                  <a:lnTo>
                    <a:pt x="373" y="5"/>
                  </a:lnTo>
                  <a:lnTo>
                    <a:pt x="371" y="5"/>
                  </a:lnTo>
                  <a:lnTo>
                    <a:pt x="368" y="7"/>
                  </a:lnTo>
                  <a:lnTo>
                    <a:pt x="366" y="7"/>
                  </a:lnTo>
                  <a:lnTo>
                    <a:pt x="366" y="10"/>
                  </a:lnTo>
                  <a:lnTo>
                    <a:pt x="368" y="10"/>
                  </a:lnTo>
                  <a:lnTo>
                    <a:pt x="378" y="10"/>
                  </a:lnTo>
                  <a:lnTo>
                    <a:pt x="387" y="10"/>
                  </a:lnTo>
                  <a:lnTo>
                    <a:pt x="399" y="12"/>
                  </a:lnTo>
                  <a:lnTo>
                    <a:pt x="404" y="12"/>
                  </a:lnTo>
                  <a:lnTo>
                    <a:pt x="426" y="14"/>
                  </a:lnTo>
                  <a:lnTo>
                    <a:pt x="399" y="14"/>
                  </a:lnTo>
                  <a:lnTo>
                    <a:pt x="395" y="14"/>
                  </a:lnTo>
                  <a:lnTo>
                    <a:pt x="392" y="14"/>
                  </a:lnTo>
                  <a:lnTo>
                    <a:pt x="387" y="12"/>
                  </a:lnTo>
                  <a:lnTo>
                    <a:pt x="378" y="12"/>
                  </a:lnTo>
                  <a:lnTo>
                    <a:pt x="380" y="14"/>
                  </a:lnTo>
                  <a:lnTo>
                    <a:pt x="383" y="14"/>
                  </a:lnTo>
                  <a:lnTo>
                    <a:pt x="385" y="14"/>
                  </a:lnTo>
                  <a:lnTo>
                    <a:pt x="376" y="14"/>
                  </a:lnTo>
                  <a:lnTo>
                    <a:pt x="373" y="17"/>
                  </a:lnTo>
                  <a:lnTo>
                    <a:pt x="373" y="19"/>
                  </a:lnTo>
                  <a:lnTo>
                    <a:pt x="371" y="22"/>
                  </a:lnTo>
                  <a:lnTo>
                    <a:pt x="371" y="24"/>
                  </a:lnTo>
                  <a:lnTo>
                    <a:pt x="368" y="24"/>
                  </a:lnTo>
                  <a:lnTo>
                    <a:pt x="366" y="24"/>
                  </a:lnTo>
                  <a:lnTo>
                    <a:pt x="364" y="24"/>
                  </a:lnTo>
                  <a:lnTo>
                    <a:pt x="359" y="24"/>
                  </a:lnTo>
                  <a:lnTo>
                    <a:pt x="357" y="22"/>
                  </a:lnTo>
                  <a:lnTo>
                    <a:pt x="345" y="19"/>
                  </a:lnTo>
                  <a:lnTo>
                    <a:pt x="330" y="14"/>
                  </a:lnTo>
                  <a:lnTo>
                    <a:pt x="309" y="14"/>
                  </a:lnTo>
                  <a:lnTo>
                    <a:pt x="309" y="24"/>
                  </a:lnTo>
                  <a:lnTo>
                    <a:pt x="297" y="24"/>
                  </a:lnTo>
                  <a:lnTo>
                    <a:pt x="292" y="22"/>
                  </a:lnTo>
                  <a:lnTo>
                    <a:pt x="288" y="22"/>
                  </a:lnTo>
                  <a:lnTo>
                    <a:pt x="285" y="19"/>
                  </a:lnTo>
                  <a:lnTo>
                    <a:pt x="278" y="19"/>
                  </a:lnTo>
                  <a:lnTo>
                    <a:pt x="273" y="22"/>
                  </a:lnTo>
                  <a:lnTo>
                    <a:pt x="273" y="24"/>
                  </a:lnTo>
                  <a:lnTo>
                    <a:pt x="269" y="24"/>
                  </a:lnTo>
                  <a:lnTo>
                    <a:pt x="271" y="19"/>
                  </a:lnTo>
                  <a:lnTo>
                    <a:pt x="269" y="17"/>
                  </a:lnTo>
                  <a:lnTo>
                    <a:pt x="238" y="17"/>
                  </a:lnTo>
                  <a:lnTo>
                    <a:pt x="228" y="19"/>
                  </a:lnTo>
                  <a:lnTo>
                    <a:pt x="209" y="19"/>
                  </a:lnTo>
                  <a:lnTo>
                    <a:pt x="214" y="22"/>
                  </a:lnTo>
                  <a:lnTo>
                    <a:pt x="223" y="26"/>
                  </a:lnTo>
                  <a:lnTo>
                    <a:pt x="226" y="29"/>
                  </a:lnTo>
                  <a:lnTo>
                    <a:pt x="223" y="29"/>
                  </a:lnTo>
                  <a:lnTo>
                    <a:pt x="223" y="26"/>
                  </a:lnTo>
                  <a:lnTo>
                    <a:pt x="214" y="24"/>
                  </a:lnTo>
                  <a:lnTo>
                    <a:pt x="207" y="24"/>
                  </a:lnTo>
                  <a:lnTo>
                    <a:pt x="202" y="22"/>
                  </a:lnTo>
                  <a:lnTo>
                    <a:pt x="197" y="22"/>
                  </a:lnTo>
                  <a:lnTo>
                    <a:pt x="192" y="19"/>
                  </a:lnTo>
                  <a:lnTo>
                    <a:pt x="190" y="19"/>
                  </a:lnTo>
                  <a:lnTo>
                    <a:pt x="188" y="22"/>
                  </a:lnTo>
                  <a:lnTo>
                    <a:pt x="185" y="24"/>
                  </a:lnTo>
                  <a:lnTo>
                    <a:pt x="183" y="26"/>
                  </a:lnTo>
                  <a:lnTo>
                    <a:pt x="178" y="29"/>
                  </a:lnTo>
                  <a:lnTo>
                    <a:pt x="176" y="29"/>
                  </a:lnTo>
                  <a:lnTo>
                    <a:pt x="171" y="31"/>
                  </a:lnTo>
                  <a:lnTo>
                    <a:pt x="150" y="31"/>
                  </a:lnTo>
                  <a:lnTo>
                    <a:pt x="143" y="34"/>
                  </a:lnTo>
                  <a:lnTo>
                    <a:pt x="133" y="36"/>
                  </a:lnTo>
                  <a:lnTo>
                    <a:pt x="124" y="38"/>
                  </a:lnTo>
                  <a:lnTo>
                    <a:pt x="119" y="38"/>
                  </a:lnTo>
                  <a:lnTo>
                    <a:pt x="102" y="41"/>
                  </a:lnTo>
                  <a:lnTo>
                    <a:pt x="97" y="43"/>
                  </a:lnTo>
                  <a:lnTo>
                    <a:pt x="100" y="46"/>
                  </a:lnTo>
                  <a:lnTo>
                    <a:pt x="105" y="48"/>
                  </a:lnTo>
                  <a:lnTo>
                    <a:pt x="126" y="48"/>
                  </a:lnTo>
                  <a:lnTo>
                    <a:pt x="116" y="50"/>
                  </a:lnTo>
                  <a:lnTo>
                    <a:pt x="112" y="55"/>
                  </a:lnTo>
                  <a:lnTo>
                    <a:pt x="109" y="55"/>
                  </a:lnTo>
                  <a:lnTo>
                    <a:pt x="93" y="60"/>
                  </a:lnTo>
                  <a:lnTo>
                    <a:pt x="88" y="60"/>
                  </a:lnTo>
                  <a:lnTo>
                    <a:pt x="66" y="60"/>
                  </a:lnTo>
                  <a:lnTo>
                    <a:pt x="57" y="62"/>
                  </a:lnTo>
                  <a:lnTo>
                    <a:pt x="47" y="65"/>
                  </a:lnTo>
                  <a:lnTo>
                    <a:pt x="45" y="67"/>
                  </a:lnTo>
                  <a:lnTo>
                    <a:pt x="40" y="67"/>
                  </a:lnTo>
                  <a:lnTo>
                    <a:pt x="38" y="65"/>
                  </a:lnTo>
                  <a:lnTo>
                    <a:pt x="31" y="70"/>
                  </a:lnTo>
                  <a:lnTo>
                    <a:pt x="9" y="70"/>
                  </a:lnTo>
                  <a:lnTo>
                    <a:pt x="7" y="70"/>
                  </a:lnTo>
                  <a:lnTo>
                    <a:pt x="2" y="70"/>
                  </a:lnTo>
                  <a:lnTo>
                    <a:pt x="0" y="74"/>
                  </a:lnTo>
                  <a:lnTo>
                    <a:pt x="2" y="74"/>
                  </a:lnTo>
                  <a:lnTo>
                    <a:pt x="9" y="79"/>
                  </a:lnTo>
                  <a:lnTo>
                    <a:pt x="12" y="82"/>
                  </a:lnTo>
                  <a:lnTo>
                    <a:pt x="14" y="84"/>
                  </a:lnTo>
                  <a:lnTo>
                    <a:pt x="24" y="79"/>
                  </a:lnTo>
                  <a:lnTo>
                    <a:pt x="24" y="84"/>
                  </a:lnTo>
                  <a:lnTo>
                    <a:pt x="28" y="86"/>
                  </a:lnTo>
                  <a:lnTo>
                    <a:pt x="33" y="86"/>
                  </a:lnTo>
                  <a:lnTo>
                    <a:pt x="36" y="84"/>
                  </a:lnTo>
                  <a:lnTo>
                    <a:pt x="38" y="84"/>
                  </a:lnTo>
                  <a:lnTo>
                    <a:pt x="40" y="82"/>
                  </a:lnTo>
                  <a:lnTo>
                    <a:pt x="40" y="84"/>
                  </a:lnTo>
                  <a:lnTo>
                    <a:pt x="43" y="86"/>
                  </a:lnTo>
                  <a:lnTo>
                    <a:pt x="45" y="86"/>
                  </a:lnTo>
                  <a:lnTo>
                    <a:pt x="47" y="84"/>
                  </a:lnTo>
                  <a:lnTo>
                    <a:pt x="52" y="84"/>
                  </a:lnTo>
                  <a:lnTo>
                    <a:pt x="57" y="84"/>
                  </a:lnTo>
                  <a:lnTo>
                    <a:pt x="59" y="82"/>
                  </a:lnTo>
                  <a:lnTo>
                    <a:pt x="64" y="82"/>
                  </a:lnTo>
                  <a:lnTo>
                    <a:pt x="64" y="84"/>
                  </a:lnTo>
                  <a:lnTo>
                    <a:pt x="64" y="86"/>
                  </a:lnTo>
                  <a:lnTo>
                    <a:pt x="62" y="86"/>
                  </a:lnTo>
                  <a:lnTo>
                    <a:pt x="57" y="91"/>
                  </a:lnTo>
                  <a:lnTo>
                    <a:pt x="55" y="91"/>
                  </a:lnTo>
                  <a:lnTo>
                    <a:pt x="52" y="89"/>
                  </a:lnTo>
                  <a:lnTo>
                    <a:pt x="40" y="89"/>
                  </a:lnTo>
                  <a:lnTo>
                    <a:pt x="36" y="91"/>
                  </a:lnTo>
                  <a:lnTo>
                    <a:pt x="33" y="91"/>
                  </a:lnTo>
                  <a:lnTo>
                    <a:pt x="21" y="89"/>
                  </a:lnTo>
                  <a:lnTo>
                    <a:pt x="19" y="89"/>
                  </a:lnTo>
                  <a:lnTo>
                    <a:pt x="14" y="86"/>
                  </a:lnTo>
                  <a:lnTo>
                    <a:pt x="7" y="86"/>
                  </a:lnTo>
                  <a:lnTo>
                    <a:pt x="2" y="89"/>
                  </a:lnTo>
                  <a:lnTo>
                    <a:pt x="2" y="93"/>
                  </a:lnTo>
                  <a:lnTo>
                    <a:pt x="2" y="96"/>
                  </a:lnTo>
                  <a:lnTo>
                    <a:pt x="7" y="98"/>
                  </a:lnTo>
                  <a:lnTo>
                    <a:pt x="19" y="98"/>
                  </a:lnTo>
                  <a:lnTo>
                    <a:pt x="17" y="101"/>
                  </a:lnTo>
                  <a:lnTo>
                    <a:pt x="14" y="101"/>
                  </a:lnTo>
                  <a:lnTo>
                    <a:pt x="9" y="101"/>
                  </a:lnTo>
                  <a:lnTo>
                    <a:pt x="12" y="103"/>
                  </a:lnTo>
                  <a:lnTo>
                    <a:pt x="19" y="105"/>
                  </a:lnTo>
                  <a:lnTo>
                    <a:pt x="21" y="105"/>
                  </a:lnTo>
                  <a:lnTo>
                    <a:pt x="24" y="108"/>
                  </a:lnTo>
                  <a:lnTo>
                    <a:pt x="33" y="108"/>
                  </a:lnTo>
                  <a:lnTo>
                    <a:pt x="33" y="105"/>
                  </a:lnTo>
                  <a:lnTo>
                    <a:pt x="36" y="105"/>
                  </a:lnTo>
                  <a:lnTo>
                    <a:pt x="38" y="105"/>
                  </a:lnTo>
                  <a:lnTo>
                    <a:pt x="43" y="108"/>
                  </a:lnTo>
                  <a:lnTo>
                    <a:pt x="52" y="105"/>
                  </a:lnTo>
                  <a:lnTo>
                    <a:pt x="52" y="108"/>
                  </a:lnTo>
                  <a:lnTo>
                    <a:pt x="57" y="108"/>
                  </a:lnTo>
                  <a:lnTo>
                    <a:pt x="62" y="105"/>
                  </a:lnTo>
                  <a:lnTo>
                    <a:pt x="64" y="105"/>
                  </a:lnTo>
                  <a:lnTo>
                    <a:pt x="69" y="103"/>
                  </a:lnTo>
                  <a:lnTo>
                    <a:pt x="76" y="105"/>
                  </a:lnTo>
                  <a:lnTo>
                    <a:pt x="81" y="105"/>
                  </a:lnTo>
                  <a:lnTo>
                    <a:pt x="83" y="105"/>
                  </a:lnTo>
                  <a:lnTo>
                    <a:pt x="85" y="103"/>
                  </a:lnTo>
                  <a:lnTo>
                    <a:pt x="88" y="103"/>
                  </a:lnTo>
                  <a:lnTo>
                    <a:pt x="93" y="105"/>
                  </a:lnTo>
                  <a:lnTo>
                    <a:pt x="97" y="105"/>
                  </a:lnTo>
                  <a:lnTo>
                    <a:pt x="112" y="105"/>
                  </a:lnTo>
                  <a:lnTo>
                    <a:pt x="121" y="110"/>
                  </a:lnTo>
                  <a:lnTo>
                    <a:pt x="124" y="110"/>
                  </a:lnTo>
                  <a:lnTo>
                    <a:pt x="128" y="115"/>
                  </a:lnTo>
                  <a:lnTo>
                    <a:pt x="135" y="115"/>
                  </a:lnTo>
                  <a:lnTo>
                    <a:pt x="133" y="117"/>
                  </a:lnTo>
                  <a:lnTo>
                    <a:pt x="133" y="120"/>
                  </a:lnTo>
                  <a:lnTo>
                    <a:pt x="133" y="125"/>
                  </a:lnTo>
                  <a:lnTo>
                    <a:pt x="138" y="125"/>
                  </a:lnTo>
                  <a:lnTo>
                    <a:pt x="140" y="125"/>
                  </a:lnTo>
                  <a:lnTo>
                    <a:pt x="145" y="127"/>
                  </a:lnTo>
                  <a:lnTo>
                    <a:pt x="147" y="129"/>
                  </a:lnTo>
                  <a:lnTo>
                    <a:pt x="143" y="134"/>
                  </a:lnTo>
                  <a:lnTo>
                    <a:pt x="145" y="141"/>
                  </a:lnTo>
                  <a:lnTo>
                    <a:pt x="152" y="144"/>
                  </a:lnTo>
                  <a:lnTo>
                    <a:pt x="145" y="149"/>
                  </a:lnTo>
                  <a:lnTo>
                    <a:pt x="150" y="151"/>
                  </a:lnTo>
                  <a:lnTo>
                    <a:pt x="147" y="151"/>
                  </a:lnTo>
                  <a:lnTo>
                    <a:pt x="145" y="153"/>
                  </a:lnTo>
                  <a:lnTo>
                    <a:pt x="145" y="156"/>
                  </a:lnTo>
                  <a:lnTo>
                    <a:pt x="150" y="161"/>
                  </a:lnTo>
                  <a:lnTo>
                    <a:pt x="152" y="161"/>
                  </a:lnTo>
                  <a:lnTo>
                    <a:pt x="152" y="163"/>
                  </a:lnTo>
                  <a:lnTo>
                    <a:pt x="147" y="165"/>
                  </a:lnTo>
                  <a:lnTo>
                    <a:pt x="145" y="168"/>
                  </a:lnTo>
                  <a:lnTo>
                    <a:pt x="143" y="168"/>
                  </a:lnTo>
                  <a:lnTo>
                    <a:pt x="147" y="170"/>
                  </a:lnTo>
                  <a:lnTo>
                    <a:pt x="143" y="170"/>
                  </a:lnTo>
                  <a:lnTo>
                    <a:pt x="140" y="170"/>
                  </a:lnTo>
                  <a:lnTo>
                    <a:pt x="138" y="170"/>
                  </a:lnTo>
                  <a:lnTo>
                    <a:pt x="133" y="173"/>
                  </a:lnTo>
                  <a:lnTo>
                    <a:pt x="131" y="173"/>
                  </a:lnTo>
                  <a:lnTo>
                    <a:pt x="131" y="175"/>
                  </a:lnTo>
                  <a:lnTo>
                    <a:pt x="143" y="175"/>
                  </a:lnTo>
                  <a:lnTo>
                    <a:pt x="138" y="180"/>
                  </a:lnTo>
                  <a:lnTo>
                    <a:pt x="126" y="180"/>
                  </a:lnTo>
                  <a:lnTo>
                    <a:pt x="124" y="180"/>
                  </a:lnTo>
                  <a:lnTo>
                    <a:pt x="124" y="182"/>
                  </a:lnTo>
                  <a:lnTo>
                    <a:pt x="133" y="189"/>
                  </a:lnTo>
                  <a:lnTo>
                    <a:pt x="138" y="189"/>
                  </a:lnTo>
                  <a:lnTo>
                    <a:pt x="145" y="184"/>
                  </a:lnTo>
                  <a:lnTo>
                    <a:pt x="147" y="184"/>
                  </a:lnTo>
                  <a:lnTo>
                    <a:pt x="152" y="184"/>
                  </a:lnTo>
                  <a:lnTo>
                    <a:pt x="154" y="182"/>
                  </a:lnTo>
                  <a:lnTo>
                    <a:pt x="157" y="182"/>
                  </a:lnTo>
                  <a:lnTo>
                    <a:pt x="157" y="180"/>
                  </a:lnTo>
                  <a:lnTo>
                    <a:pt x="157" y="175"/>
                  </a:lnTo>
                  <a:lnTo>
                    <a:pt x="159" y="173"/>
                  </a:lnTo>
                  <a:lnTo>
                    <a:pt x="159" y="180"/>
                  </a:lnTo>
                  <a:lnTo>
                    <a:pt x="166" y="175"/>
                  </a:lnTo>
                  <a:lnTo>
                    <a:pt x="164" y="177"/>
                  </a:lnTo>
                  <a:lnTo>
                    <a:pt x="164" y="180"/>
                  </a:lnTo>
                  <a:lnTo>
                    <a:pt x="166" y="180"/>
                  </a:lnTo>
                  <a:lnTo>
                    <a:pt x="169" y="182"/>
                  </a:lnTo>
                  <a:lnTo>
                    <a:pt x="176" y="182"/>
                  </a:lnTo>
                  <a:lnTo>
                    <a:pt x="171" y="187"/>
                  </a:lnTo>
                  <a:lnTo>
                    <a:pt x="171" y="189"/>
                  </a:lnTo>
                  <a:lnTo>
                    <a:pt x="173" y="192"/>
                  </a:lnTo>
                  <a:lnTo>
                    <a:pt x="176" y="194"/>
                  </a:lnTo>
                  <a:lnTo>
                    <a:pt x="178" y="196"/>
                  </a:lnTo>
                  <a:lnTo>
                    <a:pt x="181" y="199"/>
                  </a:lnTo>
                  <a:lnTo>
                    <a:pt x="178" y="201"/>
                  </a:lnTo>
                  <a:lnTo>
                    <a:pt x="173" y="201"/>
                  </a:lnTo>
                  <a:lnTo>
                    <a:pt x="173" y="204"/>
                  </a:lnTo>
                  <a:lnTo>
                    <a:pt x="166" y="204"/>
                  </a:lnTo>
                  <a:lnTo>
                    <a:pt x="164" y="201"/>
                  </a:lnTo>
                  <a:lnTo>
                    <a:pt x="162" y="201"/>
                  </a:lnTo>
                  <a:lnTo>
                    <a:pt x="159" y="201"/>
                  </a:lnTo>
                  <a:lnTo>
                    <a:pt x="157" y="199"/>
                  </a:lnTo>
                  <a:lnTo>
                    <a:pt x="143" y="199"/>
                  </a:lnTo>
                  <a:lnTo>
                    <a:pt x="140" y="196"/>
                  </a:lnTo>
                  <a:lnTo>
                    <a:pt x="138" y="194"/>
                  </a:lnTo>
                  <a:lnTo>
                    <a:pt x="131" y="194"/>
                  </a:lnTo>
                  <a:lnTo>
                    <a:pt x="128" y="199"/>
                  </a:lnTo>
                  <a:lnTo>
                    <a:pt x="128" y="201"/>
                  </a:lnTo>
                  <a:lnTo>
                    <a:pt x="133" y="201"/>
                  </a:lnTo>
                  <a:lnTo>
                    <a:pt x="133" y="204"/>
                  </a:lnTo>
                  <a:lnTo>
                    <a:pt x="140" y="204"/>
                  </a:lnTo>
                  <a:lnTo>
                    <a:pt x="143" y="206"/>
                  </a:lnTo>
                  <a:lnTo>
                    <a:pt x="145" y="206"/>
                  </a:lnTo>
                  <a:lnTo>
                    <a:pt x="147" y="206"/>
                  </a:lnTo>
                  <a:lnTo>
                    <a:pt x="152" y="211"/>
                  </a:lnTo>
                  <a:lnTo>
                    <a:pt x="162" y="211"/>
                  </a:lnTo>
                  <a:lnTo>
                    <a:pt x="164" y="211"/>
                  </a:lnTo>
                  <a:lnTo>
                    <a:pt x="166" y="211"/>
                  </a:lnTo>
                  <a:lnTo>
                    <a:pt x="173" y="213"/>
                  </a:lnTo>
                  <a:lnTo>
                    <a:pt x="178" y="208"/>
                  </a:lnTo>
                  <a:lnTo>
                    <a:pt x="178" y="216"/>
                  </a:lnTo>
                  <a:lnTo>
                    <a:pt x="176" y="213"/>
                  </a:lnTo>
                  <a:lnTo>
                    <a:pt x="173" y="213"/>
                  </a:lnTo>
                  <a:lnTo>
                    <a:pt x="171" y="213"/>
                  </a:lnTo>
                  <a:lnTo>
                    <a:pt x="171" y="216"/>
                  </a:lnTo>
                  <a:lnTo>
                    <a:pt x="173" y="220"/>
                  </a:lnTo>
                  <a:lnTo>
                    <a:pt x="169" y="220"/>
                  </a:lnTo>
                  <a:lnTo>
                    <a:pt x="166" y="220"/>
                  </a:lnTo>
                  <a:lnTo>
                    <a:pt x="164" y="220"/>
                  </a:lnTo>
                  <a:lnTo>
                    <a:pt x="164" y="223"/>
                  </a:lnTo>
                  <a:lnTo>
                    <a:pt x="164" y="225"/>
                  </a:lnTo>
                  <a:lnTo>
                    <a:pt x="173" y="225"/>
                  </a:lnTo>
                  <a:lnTo>
                    <a:pt x="171" y="225"/>
                  </a:lnTo>
                  <a:lnTo>
                    <a:pt x="171" y="228"/>
                  </a:lnTo>
                  <a:lnTo>
                    <a:pt x="169" y="230"/>
                  </a:lnTo>
                  <a:lnTo>
                    <a:pt x="162" y="225"/>
                  </a:lnTo>
                  <a:lnTo>
                    <a:pt x="159" y="225"/>
                  </a:lnTo>
                  <a:lnTo>
                    <a:pt x="159" y="228"/>
                  </a:lnTo>
                  <a:lnTo>
                    <a:pt x="159" y="230"/>
                  </a:lnTo>
                  <a:lnTo>
                    <a:pt x="162" y="232"/>
                  </a:lnTo>
                  <a:lnTo>
                    <a:pt x="157" y="232"/>
                  </a:lnTo>
                  <a:lnTo>
                    <a:pt x="157" y="237"/>
                  </a:lnTo>
                  <a:lnTo>
                    <a:pt x="154" y="237"/>
                  </a:lnTo>
                  <a:lnTo>
                    <a:pt x="152" y="240"/>
                  </a:lnTo>
                  <a:lnTo>
                    <a:pt x="152" y="242"/>
                  </a:lnTo>
                  <a:lnTo>
                    <a:pt x="157" y="247"/>
                  </a:lnTo>
                  <a:lnTo>
                    <a:pt x="159" y="247"/>
                  </a:lnTo>
                  <a:lnTo>
                    <a:pt x="159" y="252"/>
                  </a:lnTo>
                  <a:lnTo>
                    <a:pt x="157" y="252"/>
                  </a:lnTo>
                  <a:lnTo>
                    <a:pt x="154" y="252"/>
                  </a:lnTo>
                  <a:lnTo>
                    <a:pt x="152" y="249"/>
                  </a:lnTo>
                  <a:lnTo>
                    <a:pt x="150" y="244"/>
                  </a:lnTo>
                  <a:lnTo>
                    <a:pt x="147" y="242"/>
                  </a:lnTo>
                  <a:lnTo>
                    <a:pt x="147" y="240"/>
                  </a:lnTo>
                  <a:lnTo>
                    <a:pt x="145" y="237"/>
                  </a:lnTo>
                  <a:lnTo>
                    <a:pt x="143" y="235"/>
                  </a:lnTo>
                  <a:lnTo>
                    <a:pt x="140" y="235"/>
                  </a:lnTo>
                  <a:lnTo>
                    <a:pt x="135" y="235"/>
                  </a:lnTo>
                  <a:lnTo>
                    <a:pt x="133" y="235"/>
                  </a:lnTo>
                  <a:lnTo>
                    <a:pt x="128" y="240"/>
                  </a:lnTo>
                  <a:lnTo>
                    <a:pt x="128" y="242"/>
                  </a:lnTo>
                  <a:lnTo>
                    <a:pt x="133" y="244"/>
                  </a:lnTo>
                  <a:lnTo>
                    <a:pt x="138" y="244"/>
                  </a:lnTo>
                  <a:lnTo>
                    <a:pt x="140" y="247"/>
                  </a:lnTo>
                  <a:lnTo>
                    <a:pt x="135" y="249"/>
                  </a:lnTo>
                  <a:lnTo>
                    <a:pt x="131" y="249"/>
                  </a:lnTo>
                  <a:lnTo>
                    <a:pt x="128" y="247"/>
                  </a:lnTo>
                  <a:lnTo>
                    <a:pt x="121" y="247"/>
                  </a:lnTo>
                  <a:lnTo>
                    <a:pt x="119" y="249"/>
                  </a:lnTo>
                  <a:lnTo>
                    <a:pt x="116" y="249"/>
                  </a:lnTo>
                  <a:lnTo>
                    <a:pt x="114" y="249"/>
                  </a:lnTo>
                  <a:lnTo>
                    <a:pt x="112" y="252"/>
                  </a:lnTo>
                  <a:lnTo>
                    <a:pt x="109" y="252"/>
                  </a:lnTo>
                  <a:lnTo>
                    <a:pt x="121" y="252"/>
                  </a:lnTo>
                  <a:lnTo>
                    <a:pt x="126" y="252"/>
                  </a:lnTo>
                  <a:lnTo>
                    <a:pt x="140" y="252"/>
                  </a:lnTo>
                  <a:lnTo>
                    <a:pt x="143" y="252"/>
                  </a:lnTo>
                  <a:lnTo>
                    <a:pt x="131" y="252"/>
                  </a:lnTo>
                  <a:lnTo>
                    <a:pt x="112" y="256"/>
                  </a:lnTo>
                  <a:lnTo>
                    <a:pt x="107" y="256"/>
                  </a:lnTo>
                  <a:lnTo>
                    <a:pt x="105" y="259"/>
                  </a:lnTo>
                  <a:lnTo>
                    <a:pt x="107" y="259"/>
                  </a:lnTo>
                  <a:lnTo>
                    <a:pt x="107" y="261"/>
                  </a:lnTo>
                  <a:lnTo>
                    <a:pt x="114" y="261"/>
                  </a:lnTo>
                  <a:lnTo>
                    <a:pt x="119" y="259"/>
                  </a:lnTo>
                  <a:lnTo>
                    <a:pt x="124" y="259"/>
                  </a:lnTo>
                  <a:lnTo>
                    <a:pt x="128" y="256"/>
                  </a:lnTo>
                  <a:lnTo>
                    <a:pt x="138" y="256"/>
                  </a:lnTo>
                  <a:lnTo>
                    <a:pt x="140" y="259"/>
                  </a:lnTo>
                  <a:lnTo>
                    <a:pt x="138" y="261"/>
                  </a:lnTo>
                  <a:lnTo>
                    <a:pt x="114" y="261"/>
                  </a:lnTo>
                  <a:lnTo>
                    <a:pt x="112" y="261"/>
                  </a:lnTo>
                  <a:lnTo>
                    <a:pt x="102" y="261"/>
                  </a:lnTo>
                  <a:lnTo>
                    <a:pt x="102" y="264"/>
                  </a:lnTo>
                  <a:lnTo>
                    <a:pt x="107" y="264"/>
                  </a:lnTo>
                  <a:lnTo>
                    <a:pt x="107" y="266"/>
                  </a:lnTo>
                  <a:lnTo>
                    <a:pt x="112" y="266"/>
                  </a:lnTo>
                  <a:lnTo>
                    <a:pt x="114" y="266"/>
                  </a:lnTo>
                  <a:lnTo>
                    <a:pt x="109" y="266"/>
                  </a:lnTo>
                  <a:lnTo>
                    <a:pt x="107" y="268"/>
                  </a:lnTo>
                  <a:lnTo>
                    <a:pt x="107" y="271"/>
                  </a:lnTo>
                  <a:lnTo>
                    <a:pt x="105" y="273"/>
                  </a:lnTo>
                  <a:lnTo>
                    <a:pt x="102" y="273"/>
                  </a:lnTo>
                  <a:lnTo>
                    <a:pt x="100" y="275"/>
                  </a:lnTo>
                  <a:lnTo>
                    <a:pt x="97" y="275"/>
                  </a:lnTo>
                  <a:lnTo>
                    <a:pt x="107" y="278"/>
                  </a:lnTo>
                  <a:lnTo>
                    <a:pt x="97" y="280"/>
                  </a:lnTo>
                  <a:lnTo>
                    <a:pt x="97" y="283"/>
                  </a:lnTo>
                  <a:lnTo>
                    <a:pt x="100" y="285"/>
                  </a:lnTo>
                  <a:lnTo>
                    <a:pt x="105" y="285"/>
                  </a:lnTo>
                  <a:lnTo>
                    <a:pt x="107" y="285"/>
                  </a:lnTo>
                  <a:lnTo>
                    <a:pt x="114" y="285"/>
                  </a:lnTo>
                  <a:lnTo>
                    <a:pt x="112" y="285"/>
                  </a:lnTo>
                  <a:lnTo>
                    <a:pt x="109" y="285"/>
                  </a:lnTo>
                  <a:lnTo>
                    <a:pt x="107" y="287"/>
                  </a:lnTo>
                  <a:lnTo>
                    <a:pt x="102" y="290"/>
                  </a:lnTo>
                  <a:lnTo>
                    <a:pt x="102" y="292"/>
                  </a:lnTo>
                  <a:lnTo>
                    <a:pt x="105" y="295"/>
                  </a:lnTo>
                  <a:lnTo>
                    <a:pt x="107" y="295"/>
                  </a:lnTo>
                  <a:lnTo>
                    <a:pt x="109" y="292"/>
                  </a:lnTo>
                  <a:lnTo>
                    <a:pt x="114" y="290"/>
                  </a:lnTo>
                  <a:lnTo>
                    <a:pt x="112" y="295"/>
                  </a:lnTo>
                  <a:lnTo>
                    <a:pt x="109" y="295"/>
                  </a:lnTo>
                  <a:lnTo>
                    <a:pt x="107" y="299"/>
                  </a:lnTo>
                  <a:lnTo>
                    <a:pt x="107" y="304"/>
                  </a:lnTo>
                  <a:lnTo>
                    <a:pt x="109" y="304"/>
                  </a:lnTo>
                  <a:lnTo>
                    <a:pt x="109" y="302"/>
                  </a:lnTo>
                  <a:lnTo>
                    <a:pt x="114" y="302"/>
                  </a:lnTo>
                  <a:lnTo>
                    <a:pt x="109" y="307"/>
                  </a:lnTo>
                  <a:lnTo>
                    <a:pt x="107" y="307"/>
                  </a:lnTo>
                  <a:lnTo>
                    <a:pt x="105" y="309"/>
                  </a:lnTo>
                  <a:lnTo>
                    <a:pt x="102" y="311"/>
                  </a:lnTo>
                  <a:lnTo>
                    <a:pt x="102" y="316"/>
                  </a:lnTo>
                  <a:lnTo>
                    <a:pt x="105" y="316"/>
                  </a:lnTo>
                  <a:lnTo>
                    <a:pt x="107" y="314"/>
                  </a:lnTo>
                  <a:lnTo>
                    <a:pt x="114" y="307"/>
                  </a:lnTo>
                  <a:lnTo>
                    <a:pt x="124" y="307"/>
                  </a:lnTo>
                  <a:lnTo>
                    <a:pt x="126" y="304"/>
                  </a:lnTo>
                  <a:lnTo>
                    <a:pt x="128" y="304"/>
                  </a:lnTo>
                  <a:lnTo>
                    <a:pt x="128" y="307"/>
                  </a:lnTo>
                  <a:lnTo>
                    <a:pt x="133" y="304"/>
                  </a:lnTo>
                  <a:lnTo>
                    <a:pt x="128" y="311"/>
                  </a:lnTo>
                  <a:lnTo>
                    <a:pt x="135" y="311"/>
                  </a:lnTo>
                  <a:lnTo>
                    <a:pt x="128" y="311"/>
                  </a:lnTo>
                  <a:lnTo>
                    <a:pt x="124" y="314"/>
                  </a:lnTo>
                  <a:lnTo>
                    <a:pt x="124" y="316"/>
                  </a:lnTo>
                  <a:lnTo>
                    <a:pt x="119" y="316"/>
                  </a:lnTo>
                  <a:lnTo>
                    <a:pt x="116" y="316"/>
                  </a:lnTo>
                  <a:lnTo>
                    <a:pt x="114" y="319"/>
                  </a:lnTo>
                  <a:lnTo>
                    <a:pt x="114" y="321"/>
                  </a:lnTo>
                  <a:lnTo>
                    <a:pt x="112" y="321"/>
                  </a:lnTo>
                  <a:lnTo>
                    <a:pt x="107" y="323"/>
                  </a:lnTo>
                  <a:lnTo>
                    <a:pt x="105" y="326"/>
                  </a:lnTo>
                  <a:lnTo>
                    <a:pt x="109" y="326"/>
                  </a:lnTo>
                  <a:lnTo>
                    <a:pt x="107" y="326"/>
                  </a:lnTo>
                  <a:lnTo>
                    <a:pt x="107" y="328"/>
                  </a:lnTo>
                  <a:lnTo>
                    <a:pt x="107" y="331"/>
                  </a:lnTo>
                  <a:lnTo>
                    <a:pt x="109" y="331"/>
                  </a:lnTo>
                  <a:lnTo>
                    <a:pt x="107" y="333"/>
                  </a:lnTo>
                  <a:lnTo>
                    <a:pt x="107" y="335"/>
                  </a:lnTo>
                  <a:lnTo>
                    <a:pt x="116" y="335"/>
                  </a:lnTo>
                  <a:lnTo>
                    <a:pt x="112" y="343"/>
                  </a:lnTo>
                  <a:lnTo>
                    <a:pt x="116" y="340"/>
                  </a:lnTo>
                  <a:lnTo>
                    <a:pt x="119" y="340"/>
                  </a:lnTo>
                  <a:lnTo>
                    <a:pt x="116" y="340"/>
                  </a:lnTo>
                  <a:lnTo>
                    <a:pt x="114" y="343"/>
                  </a:lnTo>
                  <a:lnTo>
                    <a:pt x="114" y="345"/>
                  </a:lnTo>
                  <a:lnTo>
                    <a:pt x="112" y="347"/>
                  </a:lnTo>
                  <a:lnTo>
                    <a:pt x="112" y="352"/>
                  </a:lnTo>
                  <a:lnTo>
                    <a:pt x="114" y="352"/>
                  </a:lnTo>
                  <a:lnTo>
                    <a:pt x="121" y="352"/>
                  </a:lnTo>
                  <a:lnTo>
                    <a:pt x="116" y="359"/>
                  </a:lnTo>
                  <a:lnTo>
                    <a:pt x="126" y="357"/>
                  </a:lnTo>
                  <a:lnTo>
                    <a:pt x="121" y="362"/>
                  </a:lnTo>
                  <a:lnTo>
                    <a:pt x="124" y="366"/>
                  </a:lnTo>
                  <a:lnTo>
                    <a:pt x="128" y="366"/>
                  </a:lnTo>
                  <a:lnTo>
                    <a:pt x="126" y="366"/>
                  </a:lnTo>
                  <a:lnTo>
                    <a:pt x="126" y="369"/>
                  </a:lnTo>
                  <a:lnTo>
                    <a:pt x="128" y="371"/>
                  </a:lnTo>
                  <a:lnTo>
                    <a:pt x="133" y="371"/>
                  </a:lnTo>
                  <a:lnTo>
                    <a:pt x="128" y="376"/>
                  </a:lnTo>
                  <a:lnTo>
                    <a:pt x="135" y="376"/>
                  </a:lnTo>
                  <a:lnTo>
                    <a:pt x="133" y="381"/>
                  </a:lnTo>
                  <a:lnTo>
                    <a:pt x="145" y="378"/>
                  </a:lnTo>
                  <a:lnTo>
                    <a:pt x="147" y="381"/>
                  </a:lnTo>
                  <a:lnTo>
                    <a:pt x="150" y="381"/>
                  </a:lnTo>
                  <a:lnTo>
                    <a:pt x="152" y="378"/>
                  </a:lnTo>
                  <a:lnTo>
                    <a:pt x="162" y="374"/>
                  </a:lnTo>
                  <a:lnTo>
                    <a:pt x="164" y="371"/>
                  </a:lnTo>
                  <a:lnTo>
                    <a:pt x="164" y="374"/>
                  </a:lnTo>
                  <a:lnTo>
                    <a:pt x="162" y="376"/>
                  </a:lnTo>
                  <a:lnTo>
                    <a:pt x="169" y="378"/>
                  </a:lnTo>
                  <a:lnTo>
                    <a:pt x="171" y="376"/>
                  </a:lnTo>
                  <a:lnTo>
                    <a:pt x="173" y="376"/>
                  </a:lnTo>
                  <a:lnTo>
                    <a:pt x="169" y="378"/>
                  </a:lnTo>
                  <a:lnTo>
                    <a:pt x="164" y="381"/>
                  </a:lnTo>
                  <a:lnTo>
                    <a:pt x="162" y="383"/>
                  </a:lnTo>
                  <a:lnTo>
                    <a:pt x="162" y="386"/>
                  </a:lnTo>
                  <a:lnTo>
                    <a:pt x="169" y="386"/>
                  </a:lnTo>
                  <a:lnTo>
                    <a:pt x="173" y="386"/>
                  </a:lnTo>
                  <a:lnTo>
                    <a:pt x="176" y="386"/>
                  </a:lnTo>
                  <a:lnTo>
                    <a:pt x="173" y="386"/>
                  </a:lnTo>
                  <a:lnTo>
                    <a:pt x="171" y="388"/>
                  </a:lnTo>
                  <a:lnTo>
                    <a:pt x="169" y="390"/>
                  </a:lnTo>
                  <a:lnTo>
                    <a:pt x="169" y="393"/>
                  </a:lnTo>
                  <a:lnTo>
                    <a:pt x="169" y="395"/>
                  </a:lnTo>
                  <a:lnTo>
                    <a:pt x="176" y="395"/>
                  </a:lnTo>
                  <a:lnTo>
                    <a:pt x="178" y="393"/>
                  </a:lnTo>
                  <a:lnTo>
                    <a:pt x="178" y="395"/>
                  </a:lnTo>
                  <a:lnTo>
                    <a:pt x="183" y="398"/>
                  </a:lnTo>
                  <a:lnTo>
                    <a:pt x="188" y="398"/>
                  </a:lnTo>
                  <a:lnTo>
                    <a:pt x="192" y="395"/>
                  </a:lnTo>
                  <a:lnTo>
                    <a:pt x="195" y="393"/>
                  </a:lnTo>
                  <a:lnTo>
                    <a:pt x="192" y="390"/>
                  </a:lnTo>
                  <a:lnTo>
                    <a:pt x="192" y="388"/>
                  </a:lnTo>
                  <a:lnTo>
                    <a:pt x="197" y="388"/>
                  </a:lnTo>
                  <a:lnTo>
                    <a:pt x="200" y="386"/>
                  </a:lnTo>
                  <a:lnTo>
                    <a:pt x="200" y="378"/>
                  </a:lnTo>
                  <a:lnTo>
                    <a:pt x="202" y="381"/>
                  </a:lnTo>
                  <a:lnTo>
                    <a:pt x="207" y="381"/>
                  </a:lnTo>
                  <a:lnTo>
                    <a:pt x="207" y="376"/>
                  </a:lnTo>
                  <a:lnTo>
                    <a:pt x="207" y="374"/>
                  </a:lnTo>
                  <a:lnTo>
                    <a:pt x="207" y="371"/>
                  </a:lnTo>
                  <a:lnTo>
                    <a:pt x="207" y="374"/>
                  </a:lnTo>
                  <a:lnTo>
                    <a:pt x="209" y="376"/>
                  </a:lnTo>
                  <a:lnTo>
                    <a:pt x="212" y="376"/>
                  </a:lnTo>
                  <a:lnTo>
                    <a:pt x="214" y="374"/>
                  </a:lnTo>
                  <a:lnTo>
                    <a:pt x="214" y="371"/>
                  </a:lnTo>
                  <a:lnTo>
                    <a:pt x="209" y="366"/>
                  </a:lnTo>
                  <a:lnTo>
                    <a:pt x="216" y="366"/>
                  </a:lnTo>
                  <a:lnTo>
                    <a:pt x="216" y="364"/>
                  </a:lnTo>
                  <a:lnTo>
                    <a:pt x="214" y="362"/>
                  </a:lnTo>
                  <a:lnTo>
                    <a:pt x="223" y="362"/>
                  </a:lnTo>
                  <a:lnTo>
                    <a:pt x="219" y="357"/>
                  </a:lnTo>
                  <a:lnTo>
                    <a:pt x="223" y="355"/>
                  </a:lnTo>
                  <a:lnTo>
                    <a:pt x="219" y="352"/>
                  </a:lnTo>
                  <a:lnTo>
                    <a:pt x="216" y="350"/>
                  </a:lnTo>
                  <a:lnTo>
                    <a:pt x="219" y="350"/>
                  </a:lnTo>
                  <a:lnTo>
                    <a:pt x="221" y="350"/>
                  </a:lnTo>
                  <a:lnTo>
                    <a:pt x="216" y="343"/>
                  </a:lnTo>
                  <a:lnTo>
                    <a:pt x="221" y="347"/>
                  </a:lnTo>
                  <a:lnTo>
                    <a:pt x="223" y="347"/>
                  </a:lnTo>
                  <a:lnTo>
                    <a:pt x="228" y="343"/>
                  </a:lnTo>
                  <a:lnTo>
                    <a:pt x="235" y="343"/>
                  </a:lnTo>
                  <a:lnTo>
                    <a:pt x="235" y="340"/>
                  </a:lnTo>
                  <a:lnTo>
                    <a:pt x="233" y="338"/>
                  </a:lnTo>
                  <a:lnTo>
                    <a:pt x="238" y="338"/>
                  </a:lnTo>
                  <a:lnTo>
                    <a:pt x="242" y="331"/>
                  </a:lnTo>
                  <a:lnTo>
                    <a:pt x="245" y="331"/>
                  </a:lnTo>
                  <a:lnTo>
                    <a:pt x="252" y="331"/>
                  </a:lnTo>
                  <a:lnTo>
                    <a:pt x="252" y="326"/>
                  </a:lnTo>
                  <a:lnTo>
                    <a:pt x="257" y="331"/>
                  </a:lnTo>
                  <a:lnTo>
                    <a:pt x="259" y="326"/>
                  </a:lnTo>
                  <a:lnTo>
                    <a:pt x="259" y="319"/>
                  </a:lnTo>
                  <a:lnTo>
                    <a:pt x="252" y="316"/>
                  </a:lnTo>
                  <a:lnTo>
                    <a:pt x="257" y="316"/>
                  </a:lnTo>
                  <a:lnTo>
                    <a:pt x="264" y="311"/>
                  </a:lnTo>
                  <a:lnTo>
                    <a:pt x="266" y="307"/>
                  </a:lnTo>
                  <a:lnTo>
                    <a:pt x="259" y="304"/>
                  </a:lnTo>
                  <a:lnTo>
                    <a:pt x="264" y="299"/>
                  </a:lnTo>
                  <a:lnTo>
                    <a:pt x="278" y="299"/>
                  </a:lnTo>
                  <a:lnTo>
                    <a:pt x="280" y="297"/>
                  </a:lnTo>
                  <a:lnTo>
                    <a:pt x="280" y="292"/>
                  </a:lnTo>
                  <a:lnTo>
                    <a:pt x="288" y="290"/>
                  </a:lnTo>
                  <a:lnTo>
                    <a:pt x="292" y="290"/>
                  </a:lnTo>
                  <a:lnTo>
                    <a:pt x="295" y="292"/>
                  </a:lnTo>
                  <a:lnTo>
                    <a:pt x="302" y="292"/>
                  </a:lnTo>
                  <a:lnTo>
                    <a:pt x="311" y="283"/>
                  </a:lnTo>
                  <a:lnTo>
                    <a:pt x="311" y="280"/>
                  </a:lnTo>
                  <a:lnTo>
                    <a:pt x="314" y="280"/>
                  </a:lnTo>
                  <a:lnTo>
                    <a:pt x="316" y="278"/>
                  </a:lnTo>
                  <a:lnTo>
                    <a:pt x="319" y="278"/>
                  </a:lnTo>
                  <a:lnTo>
                    <a:pt x="319" y="280"/>
                  </a:lnTo>
                  <a:lnTo>
                    <a:pt x="316" y="283"/>
                  </a:lnTo>
                  <a:lnTo>
                    <a:pt x="314" y="285"/>
                  </a:lnTo>
                  <a:lnTo>
                    <a:pt x="311" y="290"/>
                  </a:lnTo>
                  <a:lnTo>
                    <a:pt x="319" y="290"/>
                  </a:lnTo>
                  <a:lnTo>
                    <a:pt x="319" y="285"/>
                  </a:lnTo>
                  <a:lnTo>
                    <a:pt x="323" y="285"/>
                  </a:lnTo>
                  <a:lnTo>
                    <a:pt x="326" y="283"/>
                  </a:lnTo>
                  <a:lnTo>
                    <a:pt x="328" y="283"/>
                  </a:lnTo>
                  <a:lnTo>
                    <a:pt x="328" y="285"/>
                  </a:lnTo>
                  <a:lnTo>
                    <a:pt x="333" y="285"/>
                  </a:lnTo>
                  <a:lnTo>
                    <a:pt x="335" y="285"/>
                  </a:lnTo>
                  <a:lnTo>
                    <a:pt x="342" y="283"/>
                  </a:lnTo>
                  <a:lnTo>
                    <a:pt x="347" y="278"/>
                  </a:lnTo>
                  <a:lnTo>
                    <a:pt x="349" y="275"/>
                  </a:lnTo>
                  <a:lnTo>
                    <a:pt x="359" y="275"/>
                  </a:lnTo>
                  <a:lnTo>
                    <a:pt x="366" y="275"/>
                  </a:lnTo>
                  <a:lnTo>
                    <a:pt x="371" y="271"/>
                  </a:lnTo>
                  <a:lnTo>
                    <a:pt x="373" y="268"/>
                  </a:lnTo>
                  <a:lnTo>
                    <a:pt x="376" y="266"/>
                  </a:lnTo>
                  <a:lnTo>
                    <a:pt x="383" y="259"/>
                  </a:lnTo>
                  <a:lnTo>
                    <a:pt x="385" y="256"/>
                  </a:lnTo>
                  <a:lnTo>
                    <a:pt x="390" y="254"/>
                  </a:lnTo>
                  <a:lnTo>
                    <a:pt x="399" y="252"/>
                  </a:lnTo>
                  <a:lnTo>
                    <a:pt x="402" y="252"/>
                  </a:lnTo>
                  <a:lnTo>
                    <a:pt x="404" y="249"/>
                  </a:lnTo>
                  <a:lnTo>
                    <a:pt x="407" y="249"/>
                  </a:lnTo>
                  <a:lnTo>
                    <a:pt x="407" y="247"/>
                  </a:lnTo>
                  <a:lnTo>
                    <a:pt x="407" y="244"/>
                  </a:lnTo>
                  <a:lnTo>
                    <a:pt x="407" y="240"/>
                  </a:lnTo>
                  <a:lnTo>
                    <a:pt x="407" y="235"/>
                  </a:lnTo>
                  <a:lnTo>
                    <a:pt x="414" y="242"/>
                  </a:lnTo>
                  <a:lnTo>
                    <a:pt x="416" y="244"/>
                  </a:lnTo>
                  <a:lnTo>
                    <a:pt x="418" y="244"/>
                  </a:lnTo>
                  <a:lnTo>
                    <a:pt x="437" y="244"/>
                  </a:lnTo>
                  <a:lnTo>
                    <a:pt x="447" y="242"/>
                  </a:lnTo>
                  <a:lnTo>
                    <a:pt x="454" y="240"/>
                  </a:lnTo>
                  <a:lnTo>
                    <a:pt x="459" y="240"/>
                  </a:lnTo>
                  <a:lnTo>
                    <a:pt x="468" y="237"/>
                  </a:lnTo>
                  <a:lnTo>
                    <a:pt x="480" y="235"/>
                  </a:lnTo>
                  <a:lnTo>
                    <a:pt x="487" y="235"/>
                  </a:lnTo>
                  <a:lnTo>
                    <a:pt x="492" y="230"/>
                  </a:lnTo>
                  <a:lnTo>
                    <a:pt x="499" y="230"/>
                  </a:lnTo>
                  <a:lnTo>
                    <a:pt x="502" y="228"/>
                  </a:lnTo>
                  <a:lnTo>
                    <a:pt x="509" y="228"/>
                  </a:lnTo>
                  <a:lnTo>
                    <a:pt x="516" y="220"/>
                  </a:lnTo>
                  <a:lnTo>
                    <a:pt x="518" y="220"/>
                  </a:lnTo>
                  <a:lnTo>
                    <a:pt x="518" y="218"/>
                  </a:lnTo>
                  <a:lnTo>
                    <a:pt x="523" y="218"/>
                  </a:lnTo>
                  <a:lnTo>
                    <a:pt x="525" y="216"/>
                  </a:lnTo>
                  <a:lnTo>
                    <a:pt x="528" y="216"/>
                  </a:lnTo>
                  <a:lnTo>
                    <a:pt x="542" y="213"/>
                  </a:lnTo>
                  <a:lnTo>
                    <a:pt x="552" y="211"/>
                  </a:lnTo>
                  <a:lnTo>
                    <a:pt x="552" y="206"/>
                  </a:lnTo>
                  <a:lnTo>
                    <a:pt x="549" y="206"/>
                  </a:lnTo>
                  <a:lnTo>
                    <a:pt x="547" y="208"/>
                  </a:lnTo>
                  <a:lnTo>
                    <a:pt x="537" y="208"/>
                  </a:lnTo>
                  <a:lnTo>
                    <a:pt x="530" y="206"/>
                  </a:lnTo>
                  <a:lnTo>
                    <a:pt x="525" y="206"/>
                  </a:lnTo>
                  <a:lnTo>
                    <a:pt x="521" y="204"/>
                  </a:lnTo>
                  <a:lnTo>
                    <a:pt x="509" y="204"/>
                  </a:lnTo>
                  <a:lnTo>
                    <a:pt x="499" y="206"/>
                  </a:lnTo>
                  <a:lnTo>
                    <a:pt x="490" y="206"/>
                  </a:lnTo>
                  <a:lnTo>
                    <a:pt x="487" y="211"/>
                  </a:lnTo>
                  <a:lnTo>
                    <a:pt x="471" y="211"/>
                  </a:lnTo>
                  <a:lnTo>
                    <a:pt x="485" y="206"/>
                  </a:lnTo>
                  <a:lnTo>
                    <a:pt x="494" y="204"/>
                  </a:lnTo>
                  <a:lnTo>
                    <a:pt x="499" y="204"/>
                  </a:lnTo>
                  <a:lnTo>
                    <a:pt x="502" y="201"/>
                  </a:lnTo>
                  <a:lnTo>
                    <a:pt x="506" y="201"/>
                  </a:lnTo>
                  <a:lnTo>
                    <a:pt x="511" y="199"/>
                  </a:lnTo>
                  <a:lnTo>
                    <a:pt x="514" y="199"/>
                  </a:lnTo>
                  <a:lnTo>
                    <a:pt x="516" y="199"/>
                  </a:lnTo>
                  <a:lnTo>
                    <a:pt x="514" y="196"/>
                  </a:lnTo>
                  <a:lnTo>
                    <a:pt x="509" y="194"/>
                  </a:lnTo>
                  <a:lnTo>
                    <a:pt x="506" y="194"/>
                  </a:lnTo>
                  <a:lnTo>
                    <a:pt x="504" y="194"/>
                  </a:lnTo>
                  <a:lnTo>
                    <a:pt x="497" y="196"/>
                  </a:lnTo>
                  <a:lnTo>
                    <a:pt x="483" y="201"/>
                  </a:lnTo>
                  <a:lnTo>
                    <a:pt x="468" y="201"/>
                  </a:lnTo>
                  <a:lnTo>
                    <a:pt x="478" y="196"/>
                  </a:lnTo>
                  <a:lnTo>
                    <a:pt x="485" y="192"/>
                  </a:lnTo>
                  <a:lnTo>
                    <a:pt x="487" y="192"/>
                  </a:lnTo>
                  <a:lnTo>
                    <a:pt x="492" y="194"/>
                  </a:lnTo>
                  <a:lnTo>
                    <a:pt x="497" y="194"/>
                  </a:lnTo>
                  <a:lnTo>
                    <a:pt x="499" y="192"/>
                  </a:lnTo>
                  <a:lnTo>
                    <a:pt x="504" y="192"/>
                  </a:lnTo>
                  <a:lnTo>
                    <a:pt x="506" y="189"/>
                  </a:lnTo>
                  <a:lnTo>
                    <a:pt x="516" y="189"/>
                  </a:lnTo>
                  <a:lnTo>
                    <a:pt x="518" y="189"/>
                  </a:lnTo>
                  <a:lnTo>
                    <a:pt x="516" y="187"/>
                  </a:lnTo>
                  <a:lnTo>
                    <a:pt x="514" y="187"/>
                  </a:lnTo>
                  <a:lnTo>
                    <a:pt x="509" y="184"/>
                  </a:lnTo>
                  <a:lnTo>
                    <a:pt x="485" y="184"/>
                  </a:lnTo>
                  <a:lnTo>
                    <a:pt x="492" y="182"/>
                  </a:lnTo>
                  <a:lnTo>
                    <a:pt x="485" y="180"/>
                  </a:lnTo>
                  <a:lnTo>
                    <a:pt x="485" y="175"/>
                  </a:lnTo>
                  <a:lnTo>
                    <a:pt x="487" y="175"/>
                  </a:lnTo>
                  <a:lnTo>
                    <a:pt x="490" y="177"/>
                  </a:lnTo>
                  <a:lnTo>
                    <a:pt x="492" y="180"/>
                  </a:lnTo>
                  <a:lnTo>
                    <a:pt x="497" y="182"/>
                  </a:lnTo>
                  <a:lnTo>
                    <a:pt x="504" y="182"/>
                  </a:lnTo>
                  <a:lnTo>
                    <a:pt x="506" y="184"/>
                  </a:lnTo>
                  <a:lnTo>
                    <a:pt x="509" y="184"/>
                  </a:lnTo>
                  <a:lnTo>
                    <a:pt x="514" y="184"/>
                  </a:lnTo>
                  <a:lnTo>
                    <a:pt x="518" y="184"/>
                  </a:lnTo>
                  <a:lnTo>
                    <a:pt x="518" y="187"/>
                  </a:lnTo>
                  <a:lnTo>
                    <a:pt x="523" y="187"/>
                  </a:lnTo>
                  <a:lnTo>
                    <a:pt x="523" y="184"/>
                  </a:lnTo>
                  <a:lnTo>
                    <a:pt x="528" y="184"/>
                  </a:lnTo>
                  <a:lnTo>
                    <a:pt x="528" y="187"/>
                  </a:lnTo>
                  <a:lnTo>
                    <a:pt x="528" y="189"/>
                  </a:lnTo>
                  <a:lnTo>
                    <a:pt x="528" y="192"/>
                  </a:lnTo>
                  <a:lnTo>
                    <a:pt x="528" y="196"/>
                  </a:lnTo>
                  <a:lnTo>
                    <a:pt x="528" y="199"/>
                  </a:lnTo>
                  <a:lnTo>
                    <a:pt x="533" y="199"/>
                  </a:lnTo>
                  <a:lnTo>
                    <a:pt x="537" y="201"/>
                  </a:lnTo>
                  <a:lnTo>
                    <a:pt x="542" y="201"/>
                  </a:lnTo>
                  <a:lnTo>
                    <a:pt x="547" y="201"/>
                  </a:lnTo>
                  <a:lnTo>
                    <a:pt x="549" y="201"/>
                  </a:lnTo>
                  <a:lnTo>
                    <a:pt x="552" y="199"/>
                  </a:lnTo>
                  <a:lnTo>
                    <a:pt x="554" y="199"/>
                  </a:lnTo>
                  <a:lnTo>
                    <a:pt x="554" y="204"/>
                  </a:lnTo>
                  <a:lnTo>
                    <a:pt x="559" y="204"/>
                  </a:lnTo>
                  <a:lnTo>
                    <a:pt x="561" y="201"/>
                  </a:lnTo>
                  <a:lnTo>
                    <a:pt x="563" y="201"/>
                  </a:lnTo>
                  <a:lnTo>
                    <a:pt x="563" y="194"/>
                  </a:lnTo>
                  <a:lnTo>
                    <a:pt x="561" y="194"/>
                  </a:lnTo>
                  <a:lnTo>
                    <a:pt x="563" y="189"/>
                  </a:lnTo>
                  <a:lnTo>
                    <a:pt x="563" y="187"/>
                  </a:lnTo>
                  <a:lnTo>
                    <a:pt x="559" y="187"/>
                  </a:lnTo>
                  <a:lnTo>
                    <a:pt x="556" y="182"/>
                  </a:lnTo>
                  <a:lnTo>
                    <a:pt x="552" y="180"/>
                  </a:lnTo>
                  <a:lnTo>
                    <a:pt x="552" y="175"/>
                  </a:lnTo>
                  <a:lnTo>
                    <a:pt x="533" y="170"/>
                  </a:lnTo>
                  <a:lnTo>
                    <a:pt x="523" y="170"/>
                  </a:lnTo>
                  <a:lnTo>
                    <a:pt x="521" y="170"/>
                  </a:lnTo>
                  <a:lnTo>
                    <a:pt x="528" y="168"/>
                  </a:lnTo>
                  <a:lnTo>
                    <a:pt x="530" y="165"/>
                  </a:lnTo>
                  <a:lnTo>
                    <a:pt x="528" y="165"/>
                  </a:lnTo>
                  <a:lnTo>
                    <a:pt x="525" y="163"/>
                  </a:lnTo>
                  <a:lnTo>
                    <a:pt x="514" y="163"/>
                  </a:lnTo>
                  <a:lnTo>
                    <a:pt x="509" y="161"/>
                  </a:lnTo>
                  <a:lnTo>
                    <a:pt x="504" y="161"/>
                  </a:lnTo>
                  <a:lnTo>
                    <a:pt x="509" y="156"/>
                  </a:lnTo>
                  <a:lnTo>
                    <a:pt x="523" y="156"/>
                  </a:lnTo>
                  <a:lnTo>
                    <a:pt x="528" y="153"/>
                  </a:lnTo>
                  <a:lnTo>
                    <a:pt x="533" y="153"/>
                  </a:lnTo>
                  <a:lnTo>
                    <a:pt x="547" y="156"/>
                  </a:lnTo>
                  <a:lnTo>
                    <a:pt x="552" y="156"/>
                  </a:lnTo>
                  <a:lnTo>
                    <a:pt x="554" y="156"/>
                  </a:lnTo>
                  <a:lnTo>
                    <a:pt x="556" y="158"/>
                  </a:lnTo>
                  <a:lnTo>
                    <a:pt x="559" y="161"/>
                  </a:lnTo>
                  <a:lnTo>
                    <a:pt x="563" y="165"/>
                  </a:lnTo>
                  <a:lnTo>
                    <a:pt x="568" y="165"/>
                  </a:lnTo>
                  <a:lnTo>
                    <a:pt x="568" y="163"/>
                  </a:lnTo>
                  <a:lnTo>
                    <a:pt x="568" y="158"/>
                  </a:lnTo>
                  <a:lnTo>
                    <a:pt x="559" y="156"/>
                  </a:lnTo>
                  <a:lnTo>
                    <a:pt x="552" y="153"/>
                  </a:lnTo>
                  <a:lnTo>
                    <a:pt x="540" y="151"/>
                  </a:lnTo>
                  <a:lnTo>
                    <a:pt x="544" y="149"/>
                  </a:lnTo>
                  <a:lnTo>
                    <a:pt x="547" y="149"/>
                  </a:lnTo>
                  <a:lnTo>
                    <a:pt x="552" y="151"/>
                  </a:lnTo>
                  <a:lnTo>
                    <a:pt x="556" y="151"/>
                  </a:lnTo>
                  <a:lnTo>
                    <a:pt x="559" y="153"/>
                  </a:lnTo>
                  <a:lnTo>
                    <a:pt x="578" y="153"/>
                  </a:lnTo>
                  <a:lnTo>
                    <a:pt x="594" y="151"/>
                  </a:lnTo>
                  <a:lnTo>
                    <a:pt x="594" y="144"/>
                  </a:lnTo>
                  <a:lnTo>
                    <a:pt x="582" y="141"/>
                  </a:lnTo>
                  <a:lnTo>
                    <a:pt x="578" y="146"/>
                  </a:lnTo>
                  <a:lnTo>
                    <a:pt x="573" y="141"/>
                  </a:lnTo>
                  <a:lnTo>
                    <a:pt x="573" y="139"/>
                  </a:lnTo>
                  <a:lnTo>
                    <a:pt x="587" y="139"/>
                  </a:lnTo>
                  <a:lnTo>
                    <a:pt x="599" y="137"/>
                  </a:lnTo>
                  <a:lnTo>
                    <a:pt x="602" y="139"/>
                  </a:lnTo>
                  <a:lnTo>
                    <a:pt x="609" y="139"/>
                  </a:lnTo>
                  <a:lnTo>
                    <a:pt x="616" y="134"/>
                  </a:lnTo>
                  <a:lnTo>
                    <a:pt x="618" y="134"/>
                  </a:lnTo>
                  <a:lnTo>
                    <a:pt x="618" y="132"/>
                  </a:lnTo>
                  <a:lnTo>
                    <a:pt x="599" y="132"/>
                  </a:lnTo>
                  <a:lnTo>
                    <a:pt x="599" y="129"/>
                  </a:lnTo>
                  <a:lnTo>
                    <a:pt x="597" y="129"/>
                  </a:lnTo>
                  <a:lnTo>
                    <a:pt x="597" y="127"/>
                  </a:lnTo>
                  <a:lnTo>
                    <a:pt x="592" y="127"/>
                  </a:lnTo>
                  <a:lnTo>
                    <a:pt x="587" y="125"/>
                  </a:lnTo>
                  <a:lnTo>
                    <a:pt x="592" y="125"/>
                  </a:lnTo>
                  <a:lnTo>
                    <a:pt x="594" y="125"/>
                  </a:lnTo>
                  <a:lnTo>
                    <a:pt x="594" y="122"/>
                  </a:lnTo>
                  <a:lnTo>
                    <a:pt x="592" y="120"/>
                  </a:lnTo>
                  <a:lnTo>
                    <a:pt x="590" y="120"/>
                  </a:lnTo>
                  <a:lnTo>
                    <a:pt x="582" y="117"/>
                  </a:lnTo>
                  <a:lnTo>
                    <a:pt x="592" y="117"/>
                  </a:lnTo>
                  <a:lnTo>
                    <a:pt x="594" y="120"/>
                  </a:lnTo>
                  <a:lnTo>
                    <a:pt x="597" y="120"/>
                  </a:lnTo>
                  <a:lnTo>
                    <a:pt x="602" y="120"/>
                  </a:lnTo>
                  <a:lnTo>
                    <a:pt x="606" y="120"/>
                  </a:lnTo>
                  <a:lnTo>
                    <a:pt x="609" y="125"/>
                  </a:lnTo>
                  <a:lnTo>
                    <a:pt x="613" y="125"/>
                  </a:lnTo>
                  <a:lnTo>
                    <a:pt x="618" y="120"/>
                  </a:lnTo>
                  <a:lnTo>
                    <a:pt x="618" y="113"/>
                  </a:lnTo>
                  <a:lnTo>
                    <a:pt x="616" y="110"/>
                  </a:lnTo>
                  <a:lnTo>
                    <a:pt x="613" y="110"/>
                  </a:lnTo>
                  <a:lnTo>
                    <a:pt x="611" y="108"/>
                  </a:lnTo>
                  <a:lnTo>
                    <a:pt x="609" y="105"/>
                  </a:lnTo>
                  <a:lnTo>
                    <a:pt x="592" y="103"/>
                  </a:lnTo>
                  <a:lnTo>
                    <a:pt x="587" y="101"/>
                  </a:lnTo>
                  <a:lnTo>
                    <a:pt x="587" y="98"/>
                  </a:lnTo>
                  <a:lnTo>
                    <a:pt x="590" y="98"/>
                  </a:lnTo>
                  <a:lnTo>
                    <a:pt x="599" y="98"/>
                  </a:lnTo>
                  <a:lnTo>
                    <a:pt x="611" y="96"/>
                  </a:lnTo>
                  <a:lnTo>
                    <a:pt x="618" y="96"/>
                  </a:lnTo>
                  <a:lnTo>
                    <a:pt x="623" y="98"/>
                  </a:lnTo>
                  <a:lnTo>
                    <a:pt x="632" y="98"/>
                  </a:lnTo>
                  <a:lnTo>
                    <a:pt x="637" y="96"/>
                  </a:lnTo>
                  <a:lnTo>
                    <a:pt x="642" y="93"/>
                  </a:lnTo>
                  <a:lnTo>
                    <a:pt x="642" y="91"/>
                  </a:lnTo>
                  <a:lnTo>
                    <a:pt x="642" y="89"/>
                  </a:lnTo>
                  <a:lnTo>
                    <a:pt x="632" y="89"/>
                  </a:lnTo>
                  <a:lnTo>
                    <a:pt x="625" y="86"/>
                  </a:lnTo>
                  <a:lnTo>
                    <a:pt x="616" y="86"/>
                  </a:lnTo>
                  <a:lnTo>
                    <a:pt x="613" y="84"/>
                  </a:lnTo>
                  <a:lnTo>
                    <a:pt x="623" y="84"/>
                  </a:lnTo>
                  <a:lnTo>
                    <a:pt x="621" y="82"/>
                  </a:lnTo>
                  <a:lnTo>
                    <a:pt x="618" y="79"/>
                  </a:lnTo>
                  <a:lnTo>
                    <a:pt x="618" y="77"/>
                  </a:lnTo>
                  <a:lnTo>
                    <a:pt x="613" y="77"/>
                  </a:lnTo>
                  <a:lnTo>
                    <a:pt x="611" y="79"/>
                  </a:lnTo>
                  <a:lnTo>
                    <a:pt x="611" y="84"/>
                  </a:lnTo>
                  <a:lnTo>
                    <a:pt x="606" y="84"/>
                  </a:lnTo>
                  <a:lnTo>
                    <a:pt x="604" y="84"/>
                  </a:lnTo>
                  <a:lnTo>
                    <a:pt x="602" y="82"/>
                  </a:lnTo>
                  <a:lnTo>
                    <a:pt x="599" y="79"/>
                  </a:lnTo>
                  <a:lnTo>
                    <a:pt x="602" y="79"/>
                  </a:lnTo>
                  <a:lnTo>
                    <a:pt x="606" y="77"/>
                  </a:lnTo>
                  <a:lnTo>
                    <a:pt x="609" y="74"/>
                  </a:lnTo>
                  <a:lnTo>
                    <a:pt x="613" y="70"/>
                  </a:lnTo>
                  <a:lnTo>
                    <a:pt x="616" y="67"/>
                  </a:lnTo>
                  <a:lnTo>
                    <a:pt x="618" y="65"/>
                  </a:lnTo>
                  <a:lnTo>
                    <a:pt x="621" y="65"/>
                  </a:lnTo>
                  <a:lnTo>
                    <a:pt x="623" y="65"/>
                  </a:lnTo>
                  <a:lnTo>
                    <a:pt x="628" y="65"/>
                  </a:lnTo>
                  <a:lnTo>
                    <a:pt x="630" y="65"/>
                  </a:lnTo>
                  <a:lnTo>
                    <a:pt x="632" y="62"/>
                  </a:lnTo>
                  <a:lnTo>
                    <a:pt x="637" y="60"/>
                  </a:lnTo>
                  <a:lnTo>
                    <a:pt x="635" y="55"/>
                  </a:lnTo>
                  <a:lnTo>
                    <a:pt x="637" y="53"/>
                  </a:lnTo>
                  <a:lnTo>
                    <a:pt x="640" y="50"/>
                  </a:lnTo>
                  <a:lnTo>
                    <a:pt x="642" y="50"/>
                  </a:lnTo>
                  <a:lnTo>
                    <a:pt x="647" y="50"/>
                  </a:lnTo>
                  <a:lnTo>
                    <a:pt x="649" y="50"/>
                  </a:lnTo>
                  <a:lnTo>
                    <a:pt x="651" y="53"/>
                  </a:lnTo>
                  <a:lnTo>
                    <a:pt x="656" y="53"/>
                  </a:lnTo>
                  <a:lnTo>
                    <a:pt x="659" y="50"/>
                  </a:lnTo>
                  <a:lnTo>
                    <a:pt x="661" y="50"/>
                  </a:lnTo>
                  <a:lnTo>
                    <a:pt x="663" y="48"/>
                  </a:lnTo>
                  <a:lnTo>
                    <a:pt x="644" y="48"/>
                  </a:lnTo>
                  <a:lnTo>
                    <a:pt x="642" y="48"/>
                  </a:lnTo>
                  <a:lnTo>
                    <a:pt x="637" y="48"/>
                  </a:lnTo>
                  <a:lnTo>
                    <a:pt x="635" y="50"/>
                  </a:lnTo>
                  <a:lnTo>
                    <a:pt x="630" y="50"/>
                  </a:lnTo>
                  <a:lnTo>
                    <a:pt x="630" y="48"/>
                  </a:lnTo>
                  <a:lnTo>
                    <a:pt x="640" y="43"/>
                  </a:lnTo>
                  <a:lnTo>
                    <a:pt x="670" y="43"/>
                  </a:lnTo>
                  <a:lnTo>
                    <a:pt x="675" y="43"/>
                  </a:lnTo>
                  <a:lnTo>
                    <a:pt x="678" y="43"/>
                  </a:lnTo>
                  <a:lnTo>
                    <a:pt x="682" y="41"/>
                  </a:lnTo>
                  <a:lnTo>
                    <a:pt x="678" y="41"/>
                  </a:lnTo>
                  <a:lnTo>
                    <a:pt x="673" y="38"/>
                  </a:lnTo>
                  <a:lnTo>
                    <a:pt x="656" y="38"/>
                  </a:lnTo>
                  <a:lnTo>
                    <a:pt x="651" y="41"/>
                  </a:lnTo>
                  <a:lnTo>
                    <a:pt x="635" y="41"/>
                  </a:lnTo>
                  <a:lnTo>
                    <a:pt x="635" y="38"/>
                  </a:lnTo>
                  <a:lnTo>
                    <a:pt x="637" y="38"/>
                  </a:lnTo>
                  <a:lnTo>
                    <a:pt x="642" y="38"/>
                  </a:lnTo>
                  <a:lnTo>
                    <a:pt x="687" y="38"/>
                  </a:lnTo>
                  <a:lnTo>
                    <a:pt x="692" y="36"/>
                  </a:lnTo>
                  <a:lnTo>
                    <a:pt x="699" y="34"/>
                  </a:lnTo>
                  <a:lnTo>
                    <a:pt x="701" y="31"/>
                  </a:lnTo>
                  <a:lnTo>
                    <a:pt x="718" y="31"/>
                  </a:lnTo>
                  <a:lnTo>
                    <a:pt x="723" y="29"/>
                  </a:lnTo>
                  <a:lnTo>
                    <a:pt x="725" y="29"/>
                  </a:lnTo>
                  <a:lnTo>
                    <a:pt x="730" y="29"/>
                  </a:lnTo>
                  <a:lnTo>
                    <a:pt x="732" y="26"/>
                  </a:lnTo>
                  <a:lnTo>
                    <a:pt x="730" y="24"/>
                  </a:lnTo>
                  <a:close/>
                  <a:moveTo>
                    <a:pt x="119" y="268"/>
                  </a:moveTo>
                  <a:lnTo>
                    <a:pt x="116" y="266"/>
                  </a:lnTo>
                  <a:lnTo>
                    <a:pt x="119" y="268"/>
                  </a:lnTo>
                  <a:close/>
                  <a:moveTo>
                    <a:pt x="128" y="223"/>
                  </a:moveTo>
                  <a:lnTo>
                    <a:pt x="135" y="223"/>
                  </a:lnTo>
                  <a:lnTo>
                    <a:pt x="138" y="220"/>
                  </a:lnTo>
                  <a:lnTo>
                    <a:pt x="145" y="220"/>
                  </a:lnTo>
                  <a:lnTo>
                    <a:pt x="147" y="220"/>
                  </a:lnTo>
                  <a:lnTo>
                    <a:pt x="147" y="216"/>
                  </a:lnTo>
                  <a:lnTo>
                    <a:pt x="150" y="216"/>
                  </a:lnTo>
                  <a:lnTo>
                    <a:pt x="147" y="213"/>
                  </a:lnTo>
                  <a:lnTo>
                    <a:pt x="145" y="211"/>
                  </a:lnTo>
                  <a:lnTo>
                    <a:pt x="143" y="211"/>
                  </a:lnTo>
                  <a:lnTo>
                    <a:pt x="138" y="211"/>
                  </a:lnTo>
                  <a:lnTo>
                    <a:pt x="135" y="206"/>
                  </a:lnTo>
                  <a:lnTo>
                    <a:pt x="119" y="206"/>
                  </a:lnTo>
                  <a:lnTo>
                    <a:pt x="119" y="213"/>
                  </a:lnTo>
                  <a:lnTo>
                    <a:pt x="116" y="216"/>
                  </a:lnTo>
                  <a:lnTo>
                    <a:pt x="114" y="216"/>
                  </a:lnTo>
                  <a:lnTo>
                    <a:pt x="114" y="218"/>
                  </a:lnTo>
                  <a:lnTo>
                    <a:pt x="116" y="220"/>
                  </a:lnTo>
                  <a:lnTo>
                    <a:pt x="119" y="220"/>
                  </a:lnTo>
                  <a:lnTo>
                    <a:pt x="119" y="225"/>
                  </a:lnTo>
                  <a:lnTo>
                    <a:pt x="128" y="223"/>
                  </a:lnTo>
                  <a:close/>
                </a:path>
              </a:pathLst>
            </a:custGeom>
            <a:solidFill>
              <a:srgbClr val="005995"/>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55" name="Greece" descr="© INSCALE GmbH, 05.05.2010&#10;http://www.presentationload.com/"/>
            <p:cNvSpPr>
              <a:spLocks noEditPoints="1"/>
            </p:cNvSpPr>
            <p:nvPr/>
          </p:nvSpPr>
          <p:spPr bwMode="gray">
            <a:xfrm>
              <a:off x="4773617" y="2724150"/>
              <a:ext cx="214312" cy="222250"/>
            </a:xfrm>
            <a:custGeom>
              <a:avLst/>
              <a:gdLst>
                <a:gd name="T0" fmla="*/ 0 w 534"/>
                <a:gd name="T1" fmla="*/ 2147483647 h 552"/>
                <a:gd name="T2" fmla="*/ 2147483647 w 534"/>
                <a:gd name="T3" fmla="*/ 2147483647 h 552"/>
                <a:gd name="T4" fmla="*/ 2147483647 w 534"/>
                <a:gd name="T5" fmla="*/ 2147483647 h 552"/>
                <a:gd name="T6" fmla="*/ 2147483647 w 534"/>
                <a:gd name="T7" fmla="*/ 2147483647 h 552"/>
                <a:gd name="T8" fmla="*/ 2147483647 w 534"/>
                <a:gd name="T9" fmla="*/ 2147483647 h 552"/>
                <a:gd name="T10" fmla="*/ 2147483647 w 534"/>
                <a:gd name="T11" fmla="*/ 2147483647 h 552"/>
                <a:gd name="T12" fmla="*/ 2147483647 w 534"/>
                <a:gd name="T13" fmla="*/ 2147483647 h 552"/>
                <a:gd name="T14" fmla="*/ 2147483647 w 534"/>
                <a:gd name="T15" fmla="*/ 2147483647 h 552"/>
                <a:gd name="T16" fmla="*/ 2147483647 w 534"/>
                <a:gd name="T17" fmla="*/ 2147483647 h 552"/>
                <a:gd name="T18" fmla="*/ 2147483647 w 534"/>
                <a:gd name="T19" fmla="*/ 2147483647 h 552"/>
                <a:gd name="T20" fmla="*/ 2147483647 w 534"/>
                <a:gd name="T21" fmla="*/ 2147483647 h 552"/>
                <a:gd name="T22" fmla="*/ 2147483647 w 534"/>
                <a:gd name="T23" fmla="*/ 2147483647 h 552"/>
                <a:gd name="T24" fmla="*/ 2147483647 w 534"/>
                <a:gd name="T25" fmla="*/ 2147483647 h 552"/>
                <a:gd name="T26" fmla="*/ 2147483647 w 534"/>
                <a:gd name="T27" fmla="*/ 2147483647 h 552"/>
                <a:gd name="T28" fmla="*/ 2147483647 w 534"/>
                <a:gd name="T29" fmla="*/ 2147483647 h 552"/>
                <a:gd name="T30" fmla="*/ 2147483647 w 534"/>
                <a:gd name="T31" fmla="*/ 2147483647 h 552"/>
                <a:gd name="T32" fmla="*/ 2147483647 w 534"/>
                <a:gd name="T33" fmla="*/ 2147483647 h 552"/>
                <a:gd name="T34" fmla="*/ 2147483647 w 534"/>
                <a:gd name="T35" fmla="*/ 2147483647 h 552"/>
                <a:gd name="T36" fmla="*/ 2147483647 w 534"/>
                <a:gd name="T37" fmla="*/ 2147483647 h 552"/>
                <a:gd name="T38" fmla="*/ 2147483647 w 534"/>
                <a:gd name="T39" fmla="*/ 2147483647 h 552"/>
                <a:gd name="T40" fmla="*/ 2147483647 w 534"/>
                <a:gd name="T41" fmla="*/ 2147483647 h 552"/>
                <a:gd name="T42" fmla="*/ 2147483647 w 534"/>
                <a:gd name="T43" fmla="*/ 2147483647 h 552"/>
                <a:gd name="T44" fmla="*/ 2147483647 w 534"/>
                <a:gd name="T45" fmla="*/ 2147483647 h 552"/>
                <a:gd name="T46" fmla="*/ 2147483647 w 534"/>
                <a:gd name="T47" fmla="*/ 2147483647 h 552"/>
                <a:gd name="T48" fmla="*/ 2147483647 w 534"/>
                <a:gd name="T49" fmla="*/ 2147483647 h 552"/>
                <a:gd name="T50" fmla="*/ 2147483647 w 534"/>
                <a:gd name="T51" fmla="*/ 2147483647 h 552"/>
                <a:gd name="T52" fmla="*/ 2147483647 w 534"/>
                <a:gd name="T53" fmla="*/ 2147483647 h 552"/>
                <a:gd name="T54" fmla="*/ 2147483647 w 534"/>
                <a:gd name="T55" fmla="*/ 2147483647 h 552"/>
                <a:gd name="T56" fmla="*/ 2147483647 w 534"/>
                <a:gd name="T57" fmla="*/ 2147483647 h 552"/>
                <a:gd name="T58" fmla="*/ 2147483647 w 534"/>
                <a:gd name="T59" fmla="*/ 2147483647 h 552"/>
                <a:gd name="T60" fmla="*/ 2147483647 w 534"/>
                <a:gd name="T61" fmla="*/ 2147483647 h 552"/>
                <a:gd name="T62" fmla="*/ 2147483647 w 534"/>
                <a:gd name="T63" fmla="*/ 2147483647 h 552"/>
                <a:gd name="T64" fmla="*/ 2147483647 w 534"/>
                <a:gd name="T65" fmla="*/ 2147483647 h 552"/>
                <a:gd name="T66" fmla="*/ 2147483647 w 534"/>
                <a:gd name="T67" fmla="*/ 2147483647 h 552"/>
                <a:gd name="T68" fmla="*/ 2147483647 w 534"/>
                <a:gd name="T69" fmla="*/ 2147483647 h 552"/>
                <a:gd name="T70" fmla="*/ 2147483647 w 534"/>
                <a:gd name="T71" fmla="*/ 2147483647 h 552"/>
                <a:gd name="T72" fmla="*/ 2147483647 w 534"/>
                <a:gd name="T73" fmla="*/ 2147483647 h 552"/>
                <a:gd name="T74" fmla="*/ 2147483647 w 534"/>
                <a:gd name="T75" fmla="*/ 2147483647 h 552"/>
                <a:gd name="T76" fmla="*/ 2147483647 w 534"/>
                <a:gd name="T77" fmla="*/ 2147483647 h 552"/>
                <a:gd name="T78" fmla="*/ 2147483647 w 534"/>
                <a:gd name="T79" fmla="*/ 2147483647 h 552"/>
                <a:gd name="T80" fmla="*/ 2147483647 w 534"/>
                <a:gd name="T81" fmla="*/ 2147483647 h 552"/>
                <a:gd name="T82" fmla="*/ 2147483647 w 534"/>
                <a:gd name="T83" fmla="*/ 2147483647 h 552"/>
                <a:gd name="T84" fmla="*/ 2147483647 w 534"/>
                <a:gd name="T85" fmla="*/ 2147483647 h 552"/>
                <a:gd name="T86" fmla="*/ 2147483647 w 534"/>
                <a:gd name="T87" fmla="*/ 2147483647 h 552"/>
                <a:gd name="T88" fmla="*/ 2147483647 w 534"/>
                <a:gd name="T89" fmla="*/ 2147483647 h 552"/>
                <a:gd name="T90" fmla="*/ 2147483647 w 534"/>
                <a:gd name="T91" fmla="*/ 2147483647 h 552"/>
                <a:gd name="T92" fmla="*/ 2147483647 w 534"/>
                <a:gd name="T93" fmla="*/ 2147483647 h 552"/>
                <a:gd name="T94" fmla="*/ 2147483647 w 534"/>
                <a:gd name="T95" fmla="*/ 2147483647 h 552"/>
                <a:gd name="T96" fmla="*/ 2147483647 w 534"/>
                <a:gd name="T97" fmla="*/ 2147483647 h 552"/>
                <a:gd name="T98" fmla="*/ 2147483647 w 534"/>
                <a:gd name="T99" fmla="*/ 2147483647 h 552"/>
                <a:gd name="T100" fmla="*/ 2147483647 w 534"/>
                <a:gd name="T101" fmla="*/ 2147483647 h 552"/>
                <a:gd name="T102" fmla="*/ 2147483647 w 534"/>
                <a:gd name="T103" fmla="*/ 2147483647 h 552"/>
                <a:gd name="T104" fmla="*/ 2147483647 w 534"/>
                <a:gd name="T105" fmla="*/ 2147483647 h 552"/>
                <a:gd name="T106" fmla="*/ 2147483647 w 534"/>
                <a:gd name="T107" fmla="*/ 2147483647 h 5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34"/>
                <a:gd name="T163" fmla="*/ 0 h 552"/>
                <a:gd name="T164" fmla="*/ 534 w 534"/>
                <a:gd name="T165" fmla="*/ 552 h 5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34" h="552">
                  <a:moveTo>
                    <a:pt x="240" y="108"/>
                  </a:moveTo>
                  <a:lnTo>
                    <a:pt x="270" y="126"/>
                  </a:lnTo>
                  <a:lnTo>
                    <a:pt x="282" y="120"/>
                  </a:lnTo>
                  <a:lnTo>
                    <a:pt x="240" y="108"/>
                  </a:lnTo>
                  <a:close/>
                  <a:moveTo>
                    <a:pt x="24" y="258"/>
                  </a:moveTo>
                  <a:lnTo>
                    <a:pt x="0" y="282"/>
                  </a:lnTo>
                  <a:lnTo>
                    <a:pt x="42" y="294"/>
                  </a:lnTo>
                  <a:lnTo>
                    <a:pt x="24" y="258"/>
                  </a:lnTo>
                  <a:close/>
                  <a:moveTo>
                    <a:pt x="312" y="414"/>
                  </a:moveTo>
                  <a:lnTo>
                    <a:pt x="312" y="420"/>
                  </a:lnTo>
                  <a:lnTo>
                    <a:pt x="324" y="420"/>
                  </a:lnTo>
                  <a:lnTo>
                    <a:pt x="324" y="414"/>
                  </a:lnTo>
                  <a:lnTo>
                    <a:pt x="318" y="408"/>
                  </a:lnTo>
                  <a:lnTo>
                    <a:pt x="312" y="408"/>
                  </a:lnTo>
                  <a:lnTo>
                    <a:pt x="312" y="414"/>
                  </a:lnTo>
                  <a:close/>
                  <a:moveTo>
                    <a:pt x="306" y="390"/>
                  </a:moveTo>
                  <a:lnTo>
                    <a:pt x="300" y="378"/>
                  </a:lnTo>
                  <a:lnTo>
                    <a:pt x="294" y="390"/>
                  </a:lnTo>
                  <a:lnTo>
                    <a:pt x="306" y="390"/>
                  </a:lnTo>
                  <a:close/>
                  <a:moveTo>
                    <a:pt x="294" y="294"/>
                  </a:moveTo>
                  <a:lnTo>
                    <a:pt x="318" y="336"/>
                  </a:lnTo>
                  <a:lnTo>
                    <a:pt x="330" y="318"/>
                  </a:lnTo>
                  <a:lnTo>
                    <a:pt x="294" y="294"/>
                  </a:lnTo>
                  <a:close/>
                  <a:moveTo>
                    <a:pt x="108" y="264"/>
                  </a:moveTo>
                  <a:lnTo>
                    <a:pt x="138" y="264"/>
                  </a:lnTo>
                  <a:lnTo>
                    <a:pt x="144" y="270"/>
                  </a:lnTo>
                  <a:lnTo>
                    <a:pt x="156" y="270"/>
                  </a:lnTo>
                  <a:lnTo>
                    <a:pt x="180" y="282"/>
                  </a:lnTo>
                  <a:lnTo>
                    <a:pt x="192" y="282"/>
                  </a:lnTo>
                  <a:lnTo>
                    <a:pt x="198" y="288"/>
                  </a:lnTo>
                  <a:lnTo>
                    <a:pt x="204" y="288"/>
                  </a:lnTo>
                  <a:lnTo>
                    <a:pt x="216" y="300"/>
                  </a:lnTo>
                  <a:lnTo>
                    <a:pt x="228" y="306"/>
                  </a:lnTo>
                  <a:lnTo>
                    <a:pt x="234" y="312"/>
                  </a:lnTo>
                  <a:lnTo>
                    <a:pt x="246" y="312"/>
                  </a:lnTo>
                  <a:lnTo>
                    <a:pt x="252" y="306"/>
                  </a:lnTo>
                  <a:lnTo>
                    <a:pt x="252" y="288"/>
                  </a:lnTo>
                  <a:lnTo>
                    <a:pt x="228" y="264"/>
                  </a:lnTo>
                  <a:lnTo>
                    <a:pt x="216" y="258"/>
                  </a:lnTo>
                  <a:lnTo>
                    <a:pt x="210" y="252"/>
                  </a:lnTo>
                  <a:lnTo>
                    <a:pt x="204" y="252"/>
                  </a:lnTo>
                  <a:lnTo>
                    <a:pt x="198" y="246"/>
                  </a:lnTo>
                  <a:lnTo>
                    <a:pt x="186" y="246"/>
                  </a:lnTo>
                  <a:lnTo>
                    <a:pt x="174" y="234"/>
                  </a:lnTo>
                  <a:lnTo>
                    <a:pt x="168" y="234"/>
                  </a:lnTo>
                  <a:lnTo>
                    <a:pt x="174" y="228"/>
                  </a:lnTo>
                  <a:lnTo>
                    <a:pt x="192" y="228"/>
                  </a:lnTo>
                  <a:lnTo>
                    <a:pt x="198" y="240"/>
                  </a:lnTo>
                  <a:lnTo>
                    <a:pt x="222" y="252"/>
                  </a:lnTo>
                  <a:lnTo>
                    <a:pt x="234" y="264"/>
                  </a:lnTo>
                  <a:lnTo>
                    <a:pt x="258" y="264"/>
                  </a:lnTo>
                  <a:lnTo>
                    <a:pt x="270" y="252"/>
                  </a:lnTo>
                  <a:lnTo>
                    <a:pt x="258" y="240"/>
                  </a:lnTo>
                  <a:lnTo>
                    <a:pt x="246" y="240"/>
                  </a:lnTo>
                  <a:lnTo>
                    <a:pt x="234" y="234"/>
                  </a:lnTo>
                  <a:lnTo>
                    <a:pt x="222" y="234"/>
                  </a:lnTo>
                  <a:lnTo>
                    <a:pt x="210" y="228"/>
                  </a:lnTo>
                  <a:lnTo>
                    <a:pt x="204" y="216"/>
                  </a:lnTo>
                  <a:lnTo>
                    <a:pt x="198" y="210"/>
                  </a:lnTo>
                  <a:lnTo>
                    <a:pt x="198" y="204"/>
                  </a:lnTo>
                  <a:lnTo>
                    <a:pt x="192" y="192"/>
                  </a:lnTo>
                  <a:lnTo>
                    <a:pt x="186" y="186"/>
                  </a:lnTo>
                  <a:lnTo>
                    <a:pt x="174" y="162"/>
                  </a:lnTo>
                  <a:lnTo>
                    <a:pt x="168" y="156"/>
                  </a:lnTo>
                  <a:lnTo>
                    <a:pt x="162" y="144"/>
                  </a:lnTo>
                  <a:lnTo>
                    <a:pt x="150" y="132"/>
                  </a:lnTo>
                  <a:lnTo>
                    <a:pt x="150" y="120"/>
                  </a:lnTo>
                  <a:lnTo>
                    <a:pt x="144" y="114"/>
                  </a:lnTo>
                  <a:lnTo>
                    <a:pt x="144" y="102"/>
                  </a:lnTo>
                  <a:lnTo>
                    <a:pt x="150" y="96"/>
                  </a:lnTo>
                  <a:lnTo>
                    <a:pt x="156" y="96"/>
                  </a:lnTo>
                  <a:lnTo>
                    <a:pt x="162" y="102"/>
                  </a:lnTo>
                  <a:lnTo>
                    <a:pt x="162" y="108"/>
                  </a:lnTo>
                  <a:lnTo>
                    <a:pt x="168" y="114"/>
                  </a:lnTo>
                  <a:lnTo>
                    <a:pt x="180" y="114"/>
                  </a:lnTo>
                  <a:lnTo>
                    <a:pt x="180" y="120"/>
                  </a:lnTo>
                  <a:lnTo>
                    <a:pt x="186" y="120"/>
                  </a:lnTo>
                  <a:lnTo>
                    <a:pt x="198" y="132"/>
                  </a:lnTo>
                  <a:lnTo>
                    <a:pt x="198" y="144"/>
                  </a:lnTo>
                  <a:lnTo>
                    <a:pt x="204" y="144"/>
                  </a:lnTo>
                  <a:lnTo>
                    <a:pt x="210" y="138"/>
                  </a:lnTo>
                  <a:lnTo>
                    <a:pt x="216" y="138"/>
                  </a:lnTo>
                  <a:lnTo>
                    <a:pt x="204" y="120"/>
                  </a:lnTo>
                  <a:lnTo>
                    <a:pt x="210" y="120"/>
                  </a:lnTo>
                  <a:lnTo>
                    <a:pt x="234" y="132"/>
                  </a:lnTo>
                  <a:lnTo>
                    <a:pt x="222" y="114"/>
                  </a:lnTo>
                  <a:lnTo>
                    <a:pt x="228" y="108"/>
                  </a:lnTo>
                  <a:lnTo>
                    <a:pt x="228" y="84"/>
                  </a:lnTo>
                  <a:lnTo>
                    <a:pt x="240" y="72"/>
                  </a:lnTo>
                  <a:lnTo>
                    <a:pt x="270" y="72"/>
                  </a:lnTo>
                  <a:lnTo>
                    <a:pt x="276" y="78"/>
                  </a:lnTo>
                  <a:lnTo>
                    <a:pt x="276" y="90"/>
                  </a:lnTo>
                  <a:lnTo>
                    <a:pt x="288" y="90"/>
                  </a:lnTo>
                  <a:lnTo>
                    <a:pt x="294" y="84"/>
                  </a:lnTo>
                  <a:lnTo>
                    <a:pt x="300" y="72"/>
                  </a:lnTo>
                  <a:lnTo>
                    <a:pt x="306" y="66"/>
                  </a:lnTo>
                  <a:lnTo>
                    <a:pt x="342" y="66"/>
                  </a:lnTo>
                  <a:lnTo>
                    <a:pt x="360" y="72"/>
                  </a:lnTo>
                  <a:lnTo>
                    <a:pt x="372" y="72"/>
                  </a:lnTo>
                  <a:lnTo>
                    <a:pt x="378" y="78"/>
                  </a:lnTo>
                  <a:lnTo>
                    <a:pt x="384" y="78"/>
                  </a:lnTo>
                  <a:lnTo>
                    <a:pt x="384" y="72"/>
                  </a:lnTo>
                  <a:lnTo>
                    <a:pt x="390" y="60"/>
                  </a:lnTo>
                  <a:lnTo>
                    <a:pt x="390" y="48"/>
                  </a:lnTo>
                  <a:lnTo>
                    <a:pt x="384" y="42"/>
                  </a:lnTo>
                  <a:lnTo>
                    <a:pt x="384" y="36"/>
                  </a:lnTo>
                  <a:lnTo>
                    <a:pt x="390" y="30"/>
                  </a:lnTo>
                  <a:lnTo>
                    <a:pt x="408" y="30"/>
                  </a:lnTo>
                  <a:lnTo>
                    <a:pt x="408" y="18"/>
                  </a:lnTo>
                  <a:lnTo>
                    <a:pt x="402" y="12"/>
                  </a:lnTo>
                  <a:lnTo>
                    <a:pt x="402" y="6"/>
                  </a:lnTo>
                  <a:lnTo>
                    <a:pt x="390" y="6"/>
                  </a:lnTo>
                  <a:lnTo>
                    <a:pt x="384" y="0"/>
                  </a:lnTo>
                  <a:lnTo>
                    <a:pt x="366" y="6"/>
                  </a:lnTo>
                  <a:lnTo>
                    <a:pt x="372" y="12"/>
                  </a:lnTo>
                  <a:lnTo>
                    <a:pt x="372" y="30"/>
                  </a:lnTo>
                  <a:lnTo>
                    <a:pt x="366" y="36"/>
                  </a:lnTo>
                  <a:lnTo>
                    <a:pt x="348" y="36"/>
                  </a:lnTo>
                  <a:lnTo>
                    <a:pt x="336" y="24"/>
                  </a:lnTo>
                  <a:lnTo>
                    <a:pt x="324" y="36"/>
                  </a:lnTo>
                  <a:lnTo>
                    <a:pt x="312" y="36"/>
                  </a:lnTo>
                  <a:lnTo>
                    <a:pt x="300" y="24"/>
                  </a:lnTo>
                  <a:lnTo>
                    <a:pt x="294" y="30"/>
                  </a:lnTo>
                  <a:lnTo>
                    <a:pt x="282" y="30"/>
                  </a:lnTo>
                  <a:lnTo>
                    <a:pt x="264" y="12"/>
                  </a:lnTo>
                  <a:lnTo>
                    <a:pt x="264" y="6"/>
                  </a:lnTo>
                  <a:lnTo>
                    <a:pt x="234" y="12"/>
                  </a:lnTo>
                  <a:lnTo>
                    <a:pt x="228" y="30"/>
                  </a:lnTo>
                  <a:lnTo>
                    <a:pt x="204" y="24"/>
                  </a:lnTo>
                  <a:lnTo>
                    <a:pt x="198" y="30"/>
                  </a:lnTo>
                  <a:lnTo>
                    <a:pt x="186" y="36"/>
                  </a:lnTo>
                  <a:lnTo>
                    <a:pt x="174" y="36"/>
                  </a:lnTo>
                  <a:lnTo>
                    <a:pt x="168" y="30"/>
                  </a:lnTo>
                  <a:lnTo>
                    <a:pt x="162" y="30"/>
                  </a:lnTo>
                  <a:lnTo>
                    <a:pt x="150" y="36"/>
                  </a:lnTo>
                  <a:lnTo>
                    <a:pt x="138" y="48"/>
                  </a:lnTo>
                  <a:lnTo>
                    <a:pt x="126" y="54"/>
                  </a:lnTo>
                  <a:lnTo>
                    <a:pt x="102" y="54"/>
                  </a:lnTo>
                  <a:lnTo>
                    <a:pt x="102" y="60"/>
                  </a:lnTo>
                  <a:lnTo>
                    <a:pt x="96" y="72"/>
                  </a:lnTo>
                  <a:lnTo>
                    <a:pt x="72" y="72"/>
                  </a:lnTo>
                  <a:lnTo>
                    <a:pt x="66" y="66"/>
                  </a:lnTo>
                  <a:lnTo>
                    <a:pt x="60" y="66"/>
                  </a:lnTo>
                  <a:lnTo>
                    <a:pt x="48" y="72"/>
                  </a:lnTo>
                  <a:lnTo>
                    <a:pt x="54" y="84"/>
                  </a:lnTo>
                  <a:lnTo>
                    <a:pt x="54" y="90"/>
                  </a:lnTo>
                  <a:lnTo>
                    <a:pt x="42" y="102"/>
                  </a:lnTo>
                  <a:lnTo>
                    <a:pt x="24" y="102"/>
                  </a:lnTo>
                  <a:lnTo>
                    <a:pt x="24" y="126"/>
                  </a:lnTo>
                  <a:lnTo>
                    <a:pt x="12" y="132"/>
                  </a:lnTo>
                  <a:lnTo>
                    <a:pt x="0" y="132"/>
                  </a:lnTo>
                  <a:lnTo>
                    <a:pt x="0" y="198"/>
                  </a:lnTo>
                  <a:lnTo>
                    <a:pt x="6" y="204"/>
                  </a:lnTo>
                  <a:lnTo>
                    <a:pt x="18" y="210"/>
                  </a:lnTo>
                  <a:lnTo>
                    <a:pt x="24" y="216"/>
                  </a:lnTo>
                  <a:lnTo>
                    <a:pt x="30" y="228"/>
                  </a:lnTo>
                  <a:lnTo>
                    <a:pt x="36" y="234"/>
                  </a:lnTo>
                  <a:lnTo>
                    <a:pt x="42" y="246"/>
                  </a:lnTo>
                  <a:lnTo>
                    <a:pt x="54" y="258"/>
                  </a:lnTo>
                  <a:lnTo>
                    <a:pt x="60" y="270"/>
                  </a:lnTo>
                  <a:lnTo>
                    <a:pt x="84" y="270"/>
                  </a:lnTo>
                  <a:lnTo>
                    <a:pt x="96" y="264"/>
                  </a:lnTo>
                  <a:lnTo>
                    <a:pt x="108" y="264"/>
                  </a:lnTo>
                  <a:close/>
                  <a:moveTo>
                    <a:pt x="396" y="252"/>
                  </a:moveTo>
                  <a:lnTo>
                    <a:pt x="372" y="252"/>
                  </a:lnTo>
                  <a:lnTo>
                    <a:pt x="372" y="270"/>
                  </a:lnTo>
                  <a:lnTo>
                    <a:pt x="384" y="294"/>
                  </a:lnTo>
                  <a:lnTo>
                    <a:pt x="396" y="252"/>
                  </a:lnTo>
                  <a:close/>
                  <a:moveTo>
                    <a:pt x="24" y="312"/>
                  </a:moveTo>
                  <a:lnTo>
                    <a:pt x="18" y="318"/>
                  </a:lnTo>
                  <a:lnTo>
                    <a:pt x="24" y="324"/>
                  </a:lnTo>
                  <a:lnTo>
                    <a:pt x="30" y="324"/>
                  </a:lnTo>
                  <a:lnTo>
                    <a:pt x="36" y="330"/>
                  </a:lnTo>
                  <a:lnTo>
                    <a:pt x="42" y="324"/>
                  </a:lnTo>
                  <a:lnTo>
                    <a:pt x="42" y="318"/>
                  </a:lnTo>
                  <a:lnTo>
                    <a:pt x="30" y="306"/>
                  </a:lnTo>
                  <a:lnTo>
                    <a:pt x="24" y="312"/>
                  </a:lnTo>
                  <a:close/>
                  <a:moveTo>
                    <a:pt x="378" y="390"/>
                  </a:moveTo>
                  <a:lnTo>
                    <a:pt x="378" y="408"/>
                  </a:lnTo>
                  <a:lnTo>
                    <a:pt x="390" y="390"/>
                  </a:lnTo>
                  <a:lnTo>
                    <a:pt x="378" y="390"/>
                  </a:lnTo>
                  <a:close/>
                  <a:moveTo>
                    <a:pt x="408" y="330"/>
                  </a:moveTo>
                  <a:lnTo>
                    <a:pt x="396" y="330"/>
                  </a:lnTo>
                  <a:lnTo>
                    <a:pt x="384" y="336"/>
                  </a:lnTo>
                  <a:lnTo>
                    <a:pt x="384" y="342"/>
                  </a:lnTo>
                  <a:lnTo>
                    <a:pt x="396" y="342"/>
                  </a:lnTo>
                  <a:lnTo>
                    <a:pt x="402" y="336"/>
                  </a:lnTo>
                  <a:lnTo>
                    <a:pt x="408" y="336"/>
                  </a:lnTo>
                  <a:lnTo>
                    <a:pt x="408" y="330"/>
                  </a:lnTo>
                  <a:close/>
                  <a:moveTo>
                    <a:pt x="396" y="192"/>
                  </a:moveTo>
                  <a:lnTo>
                    <a:pt x="372" y="198"/>
                  </a:lnTo>
                  <a:lnTo>
                    <a:pt x="372" y="210"/>
                  </a:lnTo>
                  <a:lnTo>
                    <a:pt x="390" y="210"/>
                  </a:lnTo>
                  <a:lnTo>
                    <a:pt x="396" y="216"/>
                  </a:lnTo>
                  <a:lnTo>
                    <a:pt x="396" y="222"/>
                  </a:lnTo>
                  <a:lnTo>
                    <a:pt x="414" y="222"/>
                  </a:lnTo>
                  <a:lnTo>
                    <a:pt x="414" y="210"/>
                  </a:lnTo>
                  <a:lnTo>
                    <a:pt x="396" y="192"/>
                  </a:lnTo>
                  <a:close/>
                  <a:moveTo>
                    <a:pt x="342" y="372"/>
                  </a:moveTo>
                  <a:lnTo>
                    <a:pt x="342" y="378"/>
                  </a:lnTo>
                  <a:lnTo>
                    <a:pt x="348" y="384"/>
                  </a:lnTo>
                  <a:lnTo>
                    <a:pt x="360" y="384"/>
                  </a:lnTo>
                  <a:lnTo>
                    <a:pt x="366" y="378"/>
                  </a:lnTo>
                  <a:lnTo>
                    <a:pt x="366" y="372"/>
                  </a:lnTo>
                  <a:lnTo>
                    <a:pt x="360" y="366"/>
                  </a:lnTo>
                  <a:lnTo>
                    <a:pt x="342" y="366"/>
                  </a:lnTo>
                  <a:lnTo>
                    <a:pt x="342" y="372"/>
                  </a:lnTo>
                  <a:close/>
                  <a:moveTo>
                    <a:pt x="444" y="312"/>
                  </a:moveTo>
                  <a:lnTo>
                    <a:pt x="432" y="312"/>
                  </a:lnTo>
                  <a:lnTo>
                    <a:pt x="432" y="330"/>
                  </a:lnTo>
                  <a:lnTo>
                    <a:pt x="444" y="336"/>
                  </a:lnTo>
                  <a:lnTo>
                    <a:pt x="450" y="330"/>
                  </a:lnTo>
                  <a:lnTo>
                    <a:pt x="450" y="318"/>
                  </a:lnTo>
                  <a:lnTo>
                    <a:pt x="444" y="312"/>
                  </a:lnTo>
                  <a:close/>
                  <a:moveTo>
                    <a:pt x="444" y="372"/>
                  </a:moveTo>
                  <a:lnTo>
                    <a:pt x="456" y="354"/>
                  </a:lnTo>
                  <a:lnTo>
                    <a:pt x="438" y="354"/>
                  </a:lnTo>
                  <a:lnTo>
                    <a:pt x="444" y="372"/>
                  </a:lnTo>
                  <a:close/>
                  <a:moveTo>
                    <a:pt x="276" y="222"/>
                  </a:moveTo>
                  <a:lnTo>
                    <a:pt x="276" y="240"/>
                  </a:lnTo>
                  <a:lnTo>
                    <a:pt x="288" y="240"/>
                  </a:lnTo>
                  <a:lnTo>
                    <a:pt x="276" y="222"/>
                  </a:lnTo>
                  <a:close/>
                  <a:moveTo>
                    <a:pt x="534" y="420"/>
                  </a:moveTo>
                  <a:lnTo>
                    <a:pt x="522" y="420"/>
                  </a:lnTo>
                  <a:lnTo>
                    <a:pt x="516" y="426"/>
                  </a:lnTo>
                  <a:lnTo>
                    <a:pt x="510" y="438"/>
                  </a:lnTo>
                  <a:lnTo>
                    <a:pt x="510" y="468"/>
                  </a:lnTo>
                  <a:lnTo>
                    <a:pt x="516" y="468"/>
                  </a:lnTo>
                  <a:lnTo>
                    <a:pt x="522" y="456"/>
                  </a:lnTo>
                  <a:lnTo>
                    <a:pt x="528" y="450"/>
                  </a:lnTo>
                  <a:lnTo>
                    <a:pt x="534" y="438"/>
                  </a:lnTo>
                  <a:lnTo>
                    <a:pt x="534" y="420"/>
                  </a:lnTo>
                  <a:close/>
                  <a:moveTo>
                    <a:pt x="462" y="384"/>
                  </a:moveTo>
                  <a:lnTo>
                    <a:pt x="456" y="408"/>
                  </a:lnTo>
                  <a:lnTo>
                    <a:pt x="498" y="378"/>
                  </a:lnTo>
                  <a:lnTo>
                    <a:pt x="486" y="372"/>
                  </a:lnTo>
                  <a:lnTo>
                    <a:pt x="462" y="384"/>
                  </a:lnTo>
                  <a:close/>
                  <a:moveTo>
                    <a:pt x="462" y="510"/>
                  </a:moveTo>
                  <a:lnTo>
                    <a:pt x="480" y="510"/>
                  </a:lnTo>
                  <a:lnTo>
                    <a:pt x="468" y="468"/>
                  </a:lnTo>
                  <a:lnTo>
                    <a:pt x="462" y="510"/>
                  </a:lnTo>
                  <a:close/>
                  <a:moveTo>
                    <a:pt x="276" y="330"/>
                  </a:moveTo>
                  <a:lnTo>
                    <a:pt x="270" y="336"/>
                  </a:lnTo>
                  <a:lnTo>
                    <a:pt x="270" y="348"/>
                  </a:lnTo>
                  <a:lnTo>
                    <a:pt x="276" y="348"/>
                  </a:lnTo>
                  <a:lnTo>
                    <a:pt x="288" y="336"/>
                  </a:lnTo>
                  <a:lnTo>
                    <a:pt x="282" y="330"/>
                  </a:lnTo>
                  <a:lnTo>
                    <a:pt x="276" y="330"/>
                  </a:lnTo>
                  <a:close/>
                  <a:moveTo>
                    <a:pt x="186" y="432"/>
                  </a:moveTo>
                  <a:lnTo>
                    <a:pt x="180" y="438"/>
                  </a:lnTo>
                  <a:lnTo>
                    <a:pt x="180" y="450"/>
                  </a:lnTo>
                  <a:lnTo>
                    <a:pt x="186" y="456"/>
                  </a:lnTo>
                  <a:lnTo>
                    <a:pt x="198" y="444"/>
                  </a:lnTo>
                  <a:lnTo>
                    <a:pt x="198" y="438"/>
                  </a:lnTo>
                  <a:lnTo>
                    <a:pt x="192" y="432"/>
                  </a:lnTo>
                  <a:lnTo>
                    <a:pt x="186" y="432"/>
                  </a:lnTo>
                  <a:close/>
                  <a:moveTo>
                    <a:pt x="384" y="528"/>
                  </a:moveTo>
                  <a:lnTo>
                    <a:pt x="378" y="528"/>
                  </a:lnTo>
                  <a:lnTo>
                    <a:pt x="378" y="516"/>
                  </a:lnTo>
                  <a:lnTo>
                    <a:pt x="372" y="510"/>
                  </a:lnTo>
                  <a:lnTo>
                    <a:pt x="342" y="510"/>
                  </a:lnTo>
                  <a:lnTo>
                    <a:pt x="306" y="504"/>
                  </a:lnTo>
                  <a:lnTo>
                    <a:pt x="276" y="504"/>
                  </a:lnTo>
                  <a:lnTo>
                    <a:pt x="246" y="486"/>
                  </a:lnTo>
                  <a:lnTo>
                    <a:pt x="228" y="504"/>
                  </a:lnTo>
                  <a:lnTo>
                    <a:pt x="234" y="510"/>
                  </a:lnTo>
                  <a:lnTo>
                    <a:pt x="246" y="516"/>
                  </a:lnTo>
                  <a:lnTo>
                    <a:pt x="252" y="522"/>
                  </a:lnTo>
                  <a:lnTo>
                    <a:pt x="258" y="516"/>
                  </a:lnTo>
                  <a:lnTo>
                    <a:pt x="264" y="528"/>
                  </a:lnTo>
                  <a:lnTo>
                    <a:pt x="300" y="528"/>
                  </a:lnTo>
                  <a:lnTo>
                    <a:pt x="312" y="552"/>
                  </a:lnTo>
                  <a:lnTo>
                    <a:pt x="354" y="546"/>
                  </a:lnTo>
                  <a:lnTo>
                    <a:pt x="354" y="540"/>
                  </a:lnTo>
                  <a:lnTo>
                    <a:pt x="402" y="540"/>
                  </a:lnTo>
                  <a:lnTo>
                    <a:pt x="414" y="528"/>
                  </a:lnTo>
                  <a:lnTo>
                    <a:pt x="414" y="522"/>
                  </a:lnTo>
                  <a:lnTo>
                    <a:pt x="408" y="516"/>
                  </a:lnTo>
                  <a:lnTo>
                    <a:pt x="402" y="516"/>
                  </a:lnTo>
                  <a:lnTo>
                    <a:pt x="396" y="522"/>
                  </a:lnTo>
                  <a:lnTo>
                    <a:pt x="390" y="522"/>
                  </a:lnTo>
                  <a:lnTo>
                    <a:pt x="384" y="528"/>
                  </a:lnTo>
                  <a:close/>
                  <a:moveTo>
                    <a:pt x="420" y="408"/>
                  </a:moveTo>
                  <a:lnTo>
                    <a:pt x="408" y="408"/>
                  </a:lnTo>
                  <a:lnTo>
                    <a:pt x="408" y="420"/>
                  </a:lnTo>
                  <a:lnTo>
                    <a:pt x="420" y="420"/>
                  </a:lnTo>
                  <a:lnTo>
                    <a:pt x="426" y="414"/>
                  </a:lnTo>
                  <a:lnTo>
                    <a:pt x="420" y="408"/>
                  </a:lnTo>
                  <a:close/>
                  <a:moveTo>
                    <a:pt x="114" y="276"/>
                  </a:moveTo>
                  <a:lnTo>
                    <a:pt x="90" y="288"/>
                  </a:lnTo>
                  <a:lnTo>
                    <a:pt x="84" y="288"/>
                  </a:lnTo>
                  <a:lnTo>
                    <a:pt x="66" y="312"/>
                  </a:lnTo>
                  <a:lnTo>
                    <a:pt x="96" y="336"/>
                  </a:lnTo>
                  <a:lnTo>
                    <a:pt x="96" y="348"/>
                  </a:lnTo>
                  <a:lnTo>
                    <a:pt x="90" y="366"/>
                  </a:lnTo>
                  <a:lnTo>
                    <a:pt x="90" y="384"/>
                  </a:lnTo>
                  <a:lnTo>
                    <a:pt x="96" y="390"/>
                  </a:lnTo>
                  <a:lnTo>
                    <a:pt x="108" y="396"/>
                  </a:lnTo>
                  <a:lnTo>
                    <a:pt x="114" y="396"/>
                  </a:lnTo>
                  <a:lnTo>
                    <a:pt x="114" y="390"/>
                  </a:lnTo>
                  <a:lnTo>
                    <a:pt x="126" y="378"/>
                  </a:lnTo>
                  <a:lnTo>
                    <a:pt x="132" y="378"/>
                  </a:lnTo>
                  <a:lnTo>
                    <a:pt x="156" y="420"/>
                  </a:lnTo>
                  <a:lnTo>
                    <a:pt x="162" y="390"/>
                  </a:lnTo>
                  <a:lnTo>
                    <a:pt x="180" y="414"/>
                  </a:lnTo>
                  <a:lnTo>
                    <a:pt x="204" y="420"/>
                  </a:lnTo>
                  <a:lnTo>
                    <a:pt x="186" y="402"/>
                  </a:lnTo>
                  <a:lnTo>
                    <a:pt x="192" y="396"/>
                  </a:lnTo>
                  <a:lnTo>
                    <a:pt x="192" y="372"/>
                  </a:lnTo>
                  <a:lnTo>
                    <a:pt x="186" y="366"/>
                  </a:lnTo>
                  <a:lnTo>
                    <a:pt x="180" y="354"/>
                  </a:lnTo>
                  <a:lnTo>
                    <a:pt x="174" y="348"/>
                  </a:lnTo>
                  <a:lnTo>
                    <a:pt x="168" y="336"/>
                  </a:lnTo>
                  <a:lnTo>
                    <a:pt x="168" y="330"/>
                  </a:lnTo>
                  <a:lnTo>
                    <a:pt x="186" y="330"/>
                  </a:lnTo>
                  <a:lnTo>
                    <a:pt x="198" y="336"/>
                  </a:lnTo>
                  <a:lnTo>
                    <a:pt x="210" y="348"/>
                  </a:lnTo>
                  <a:lnTo>
                    <a:pt x="222" y="342"/>
                  </a:lnTo>
                  <a:lnTo>
                    <a:pt x="210" y="336"/>
                  </a:lnTo>
                  <a:lnTo>
                    <a:pt x="204" y="324"/>
                  </a:lnTo>
                  <a:lnTo>
                    <a:pt x="192" y="318"/>
                  </a:lnTo>
                  <a:lnTo>
                    <a:pt x="186" y="312"/>
                  </a:lnTo>
                  <a:lnTo>
                    <a:pt x="174" y="306"/>
                  </a:lnTo>
                  <a:lnTo>
                    <a:pt x="156" y="294"/>
                  </a:lnTo>
                  <a:lnTo>
                    <a:pt x="138" y="288"/>
                  </a:lnTo>
                  <a:lnTo>
                    <a:pt x="126" y="282"/>
                  </a:lnTo>
                  <a:lnTo>
                    <a:pt x="120" y="276"/>
                  </a:lnTo>
                  <a:lnTo>
                    <a:pt x="114" y="276"/>
                  </a:lnTo>
                  <a:close/>
                </a:path>
              </a:pathLst>
            </a:custGeom>
            <a:solidFill>
              <a:srgbClr val="005995"/>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56" name="Ghana" descr="© INSCALE GmbH, 05.05.2010&#10;http://www.presentationload.com/"/>
            <p:cNvSpPr>
              <a:spLocks/>
            </p:cNvSpPr>
            <p:nvPr/>
          </p:nvSpPr>
          <p:spPr bwMode="gray">
            <a:xfrm>
              <a:off x="4117978" y="3717926"/>
              <a:ext cx="131762" cy="207963"/>
            </a:xfrm>
            <a:custGeom>
              <a:avLst/>
              <a:gdLst>
                <a:gd name="T0" fmla="*/ 2147483647 w 324"/>
                <a:gd name="T1" fmla="*/ 2147483647 h 516"/>
                <a:gd name="T2" fmla="*/ 2147483647 w 324"/>
                <a:gd name="T3" fmla="*/ 2147483647 h 516"/>
                <a:gd name="T4" fmla="*/ 2147483647 w 324"/>
                <a:gd name="T5" fmla="*/ 2147483647 h 516"/>
                <a:gd name="T6" fmla="*/ 2147483647 w 324"/>
                <a:gd name="T7" fmla="*/ 2147483647 h 516"/>
                <a:gd name="T8" fmla="*/ 2147483647 w 324"/>
                <a:gd name="T9" fmla="*/ 2147483647 h 516"/>
                <a:gd name="T10" fmla="*/ 2147483647 w 324"/>
                <a:gd name="T11" fmla="*/ 2147483647 h 516"/>
                <a:gd name="T12" fmla="*/ 2147483647 w 324"/>
                <a:gd name="T13" fmla="*/ 2147483647 h 516"/>
                <a:gd name="T14" fmla="*/ 2147483647 w 324"/>
                <a:gd name="T15" fmla="*/ 2147483647 h 516"/>
                <a:gd name="T16" fmla="*/ 2147483647 w 324"/>
                <a:gd name="T17" fmla="*/ 2147483647 h 516"/>
                <a:gd name="T18" fmla="*/ 2147483647 w 324"/>
                <a:gd name="T19" fmla="*/ 2147483647 h 516"/>
                <a:gd name="T20" fmla="*/ 2147483647 w 324"/>
                <a:gd name="T21" fmla="*/ 2147483647 h 516"/>
                <a:gd name="T22" fmla="*/ 2147483647 w 324"/>
                <a:gd name="T23" fmla="*/ 2147483647 h 516"/>
                <a:gd name="T24" fmla="*/ 2147483647 w 324"/>
                <a:gd name="T25" fmla="*/ 2147483647 h 516"/>
                <a:gd name="T26" fmla="*/ 2147483647 w 324"/>
                <a:gd name="T27" fmla="*/ 0 h 516"/>
                <a:gd name="T28" fmla="*/ 2147483647 w 324"/>
                <a:gd name="T29" fmla="*/ 2147483647 h 516"/>
                <a:gd name="T30" fmla="*/ 2147483647 w 324"/>
                <a:gd name="T31" fmla="*/ 2147483647 h 516"/>
                <a:gd name="T32" fmla="*/ 2147483647 w 324"/>
                <a:gd name="T33" fmla="*/ 2147483647 h 516"/>
                <a:gd name="T34" fmla="*/ 2147483647 w 324"/>
                <a:gd name="T35" fmla="*/ 2147483647 h 516"/>
                <a:gd name="T36" fmla="*/ 2147483647 w 324"/>
                <a:gd name="T37" fmla="*/ 2147483647 h 516"/>
                <a:gd name="T38" fmla="*/ 2147483647 w 324"/>
                <a:gd name="T39" fmla="*/ 2147483647 h 516"/>
                <a:gd name="T40" fmla="*/ 2147483647 w 324"/>
                <a:gd name="T41" fmla="*/ 2147483647 h 516"/>
                <a:gd name="T42" fmla="*/ 2147483647 w 324"/>
                <a:gd name="T43" fmla="*/ 2147483647 h 516"/>
                <a:gd name="T44" fmla="*/ 2147483647 w 324"/>
                <a:gd name="T45" fmla="*/ 2147483647 h 516"/>
                <a:gd name="T46" fmla="*/ 2147483647 w 324"/>
                <a:gd name="T47" fmla="*/ 2147483647 h 516"/>
                <a:gd name="T48" fmla="*/ 2147483647 w 324"/>
                <a:gd name="T49" fmla="*/ 2147483647 h 516"/>
                <a:gd name="T50" fmla="*/ 2147483647 w 324"/>
                <a:gd name="T51" fmla="*/ 2147483647 h 516"/>
                <a:gd name="T52" fmla="*/ 2147483647 w 324"/>
                <a:gd name="T53" fmla="*/ 2147483647 h 516"/>
                <a:gd name="T54" fmla="*/ 0 w 324"/>
                <a:gd name="T55" fmla="*/ 2147483647 h 516"/>
                <a:gd name="T56" fmla="*/ 2147483647 w 324"/>
                <a:gd name="T57" fmla="*/ 2147483647 h 516"/>
                <a:gd name="T58" fmla="*/ 2147483647 w 324"/>
                <a:gd name="T59" fmla="*/ 2147483647 h 516"/>
                <a:gd name="T60" fmla="*/ 2147483647 w 324"/>
                <a:gd name="T61" fmla="*/ 2147483647 h 516"/>
                <a:gd name="T62" fmla="*/ 2147483647 w 324"/>
                <a:gd name="T63" fmla="*/ 2147483647 h 516"/>
                <a:gd name="T64" fmla="*/ 2147483647 w 324"/>
                <a:gd name="T65" fmla="*/ 2147483647 h 516"/>
                <a:gd name="T66" fmla="*/ 2147483647 w 324"/>
                <a:gd name="T67" fmla="*/ 2147483647 h 516"/>
                <a:gd name="T68" fmla="*/ 2147483647 w 324"/>
                <a:gd name="T69" fmla="*/ 2147483647 h 516"/>
                <a:gd name="T70" fmla="*/ 2147483647 w 324"/>
                <a:gd name="T71" fmla="*/ 2147483647 h 516"/>
                <a:gd name="T72" fmla="*/ 2147483647 w 324"/>
                <a:gd name="T73" fmla="*/ 2147483647 h 516"/>
                <a:gd name="T74" fmla="*/ 2147483647 w 324"/>
                <a:gd name="T75" fmla="*/ 2147483647 h 516"/>
                <a:gd name="T76" fmla="*/ 2147483647 w 324"/>
                <a:gd name="T77" fmla="*/ 2147483647 h 516"/>
                <a:gd name="T78" fmla="*/ 2147483647 w 324"/>
                <a:gd name="T79" fmla="*/ 2147483647 h 516"/>
                <a:gd name="T80" fmla="*/ 2147483647 w 324"/>
                <a:gd name="T81" fmla="*/ 2147483647 h 516"/>
                <a:gd name="T82" fmla="*/ 2147483647 w 324"/>
                <a:gd name="T83" fmla="*/ 2147483647 h 516"/>
                <a:gd name="T84" fmla="*/ 2147483647 w 324"/>
                <a:gd name="T85" fmla="*/ 2147483647 h 516"/>
                <a:gd name="T86" fmla="*/ 2147483647 w 324"/>
                <a:gd name="T87" fmla="*/ 2147483647 h 51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24"/>
                <a:gd name="T133" fmla="*/ 0 h 516"/>
                <a:gd name="T134" fmla="*/ 324 w 324"/>
                <a:gd name="T135" fmla="*/ 516 h 51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24" h="516">
                  <a:moveTo>
                    <a:pt x="282" y="342"/>
                  </a:moveTo>
                  <a:lnTo>
                    <a:pt x="282" y="330"/>
                  </a:lnTo>
                  <a:lnTo>
                    <a:pt x="288" y="318"/>
                  </a:lnTo>
                  <a:lnTo>
                    <a:pt x="288" y="306"/>
                  </a:lnTo>
                  <a:lnTo>
                    <a:pt x="282" y="300"/>
                  </a:lnTo>
                  <a:lnTo>
                    <a:pt x="276" y="300"/>
                  </a:lnTo>
                  <a:lnTo>
                    <a:pt x="276" y="282"/>
                  </a:lnTo>
                  <a:lnTo>
                    <a:pt x="282" y="276"/>
                  </a:lnTo>
                  <a:lnTo>
                    <a:pt x="282" y="234"/>
                  </a:lnTo>
                  <a:lnTo>
                    <a:pt x="288" y="228"/>
                  </a:lnTo>
                  <a:lnTo>
                    <a:pt x="288" y="216"/>
                  </a:lnTo>
                  <a:lnTo>
                    <a:pt x="282" y="210"/>
                  </a:lnTo>
                  <a:lnTo>
                    <a:pt x="270" y="204"/>
                  </a:lnTo>
                  <a:lnTo>
                    <a:pt x="264" y="198"/>
                  </a:lnTo>
                  <a:lnTo>
                    <a:pt x="276" y="186"/>
                  </a:lnTo>
                  <a:lnTo>
                    <a:pt x="282" y="186"/>
                  </a:lnTo>
                  <a:lnTo>
                    <a:pt x="282" y="180"/>
                  </a:lnTo>
                  <a:lnTo>
                    <a:pt x="270" y="168"/>
                  </a:lnTo>
                  <a:lnTo>
                    <a:pt x="276" y="156"/>
                  </a:lnTo>
                  <a:lnTo>
                    <a:pt x="276" y="132"/>
                  </a:lnTo>
                  <a:lnTo>
                    <a:pt x="270" y="126"/>
                  </a:lnTo>
                  <a:lnTo>
                    <a:pt x="264" y="126"/>
                  </a:lnTo>
                  <a:lnTo>
                    <a:pt x="252" y="138"/>
                  </a:lnTo>
                  <a:lnTo>
                    <a:pt x="264" y="60"/>
                  </a:lnTo>
                  <a:lnTo>
                    <a:pt x="228" y="36"/>
                  </a:lnTo>
                  <a:lnTo>
                    <a:pt x="240" y="24"/>
                  </a:lnTo>
                  <a:lnTo>
                    <a:pt x="240" y="6"/>
                  </a:lnTo>
                  <a:lnTo>
                    <a:pt x="222" y="0"/>
                  </a:lnTo>
                  <a:lnTo>
                    <a:pt x="198" y="12"/>
                  </a:lnTo>
                  <a:lnTo>
                    <a:pt x="42" y="12"/>
                  </a:lnTo>
                  <a:lnTo>
                    <a:pt x="36" y="18"/>
                  </a:lnTo>
                  <a:lnTo>
                    <a:pt x="30" y="30"/>
                  </a:lnTo>
                  <a:lnTo>
                    <a:pt x="30" y="48"/>
                  </a:lnTo>
                  <a:lnTo>
                    <a:pt x="36" y="48"/>
                  </a:lnTo>
                  <a:lnTo>
                    <a:pt x="42" y="78"/>
                  </a:lnTo>
                  <a:lnTo>
                    <a:pt x="42" y="132"/>
                  </a:lnTo>
                  <a:lnTo>
                    <a:pt x="48" y="126"/>
                  </a:lnTo>
                  <a:lnTo>
                    <a:pt x="54" y="156"/>
                  </a:lnTo>
                  <a:lnTo>
                    <a:pt x="42" y="156"/>
                  </a:lnTo>
                  <a:lnTo>
                    <a:pt x="42" y="162"/>
                  </a:lnTo>
                  <a:lnTo>
                    <a:pt x="48" y="168"/>
                  </a:lnTo>
                  <a:lnTo>
                    <a:pt x="48" y="180"/>
                  </a:lnTo>
                  <a:lnTo>
                    <a:pt x="54" y="192"/>
                  </a:lnTo>
                  <a:lnTo>
                    <a:pt x="54" y="204"/>
                  </a:lnTo>
                  <a:lnTo>
                    <a:pt x="60" y="216"/>
                  </a:lnTo>
                  <a:lnTo>
                    <a:pt x="60" y="228"/>
                  </a:lnTo>
                  <a:lnTo>
                    <a:pt x="48" y="252"/>
                  </a:lnTo>
                  <a:lnTo>
                    <a:pt x="42" y="258"/>
                  </a:lnTo>
                  <a:lnTo>
                    <a:pt x="36" y="270"/>
                  </a:lnTo>
                  <a:lnTo>
                    <a:pt x="36" y="288"/>
                  </a:lnTo>
                  <a:lnTo>
                    <a:pt x="30" y="300"/>
                  </a:lnTo>
                  <a:lnTo>
                    <a:pt x="30" y="312"/>
                  </a:lnTo>
                  <a:lnTo>
                    <a:pt x="12" y="330"/>
                  </a:lnTo>
                  <a:lnTo>
                    <a:pt x="6" y="342"/>
                  </a:lnTo>
                  <a:lnTo>
                    <a:pt x="0" y="348"/>
                  </a:lnTo>
                  <a:lnTo>
                    <a:pt x="0" y="372"/>
                  </a:lnTo>
                  <a:lnTo>
                    <a:pt x="6" y="384"/>
                  </a:lnTo>
                  <a:lnTo>
                    <a:pt x="12" y="402"/>
                  </a:lnTo>
                  <a:lnTo>
                    <a:pt x="12" y="414"/>
                  </a:lnTo>
                  <a:lnTo>
                    <a:pt x="18" y="426"/>
                  </a:lnTo>
                  <a:lnTo>
                    <a:pt x="24" y="432"/>
                  </a:lnTo>
                  <a:lnTo>
                    <a:pt x="24" y="438"/>
                  </a:lnTo>
                  <a:lnTo>
                    <a:pt x="48" y="444"/>
                  </a:lnTo>
                  <a:lnTo>
                    <a:pt x="48" y="498"/>
                  </a:lnTo>
                  <a:lnTo>
                    <a:pt x="72" y="498"/>
                  </a:lnTo>
                  <a:lnTo>
                    <a:pt x="78" y="504"/>
                  </a:lnTo>
                  <a:lnTo>
                    <a:pt x="78" y="510"/>
                  </a:lnTo>
                  <a:lnTo>
                    <a:pt x="84" y="516"/>
                  </a:lnTo>
                  <a:lnTo>
                    <a:pt x="96" y="516"/>
                  </a:lnTo>
                  <a:lnTo>
                    <a:pt x="108" y="510"/>
                  </a:lnTo>
                  <a:lnTo>
                    <a:pt x="114" y="504"/>
                  </a:lnTo>
                  <a:lnTo>
                    <a:pt x="132" y="492"/>
                  </a:lnTo>
                  <a:lnTo>
                    <a:pt x="138" y="486"/>
                  </a:lnTo>
                  <a:lnTo>
                    <a:pt x="150" y="480"/>
                  </a:lnTo>
                  <a:lnTo>
                    <a:pt x="180" y="480"/>
                  </a:lnTo>
                  <a:lnTo>
                    <a:pt x="186" y="474"/>
                  </a:lnTo>
                  <a:lnTo>
                    <a:pt x="198" y="468"/>
                  </a:lnTo>
                  <a:lnTo>
                    <a:pt x="216" y="450"/>
                  </a:lnTo>
                  <a:lnTo>
                    <a:pt x="228" y="450"/>
                  </a:lnTo>
                  <a:lnTo>
                    <a:pt x="234" y="444"/>
                  </a:lnTo>
                  <a:lnTo>
                    <a:pt x="240" y="444"/>
                  </a:lnTo>
                  <a:lnTo>
                    <a:pt x="258" y="426"/>
                  </a:lnTo>
                  <a:lnTo>
                    <a:pt x="270" y="426"/>
                  </a:lnTo>
                  <a:lnTo>
                    <a:pt x="276" y="432"/>
                  </a:lnTo>
                  <a:lnTo>
                    <a:pt x="294" y="432"/>
                  </a:lnTo>
                  <a:lnTo>
                    <a:pt x="306" y="426"/>
                  </a:lnTo>
                  <a:lnTo>
                    <a:pt x="324" y="408"/>
                  </a:lnTo>
                  <a:lnTo>
                    <a:pt x="294" y="384"/>
                  </a:lnTo>
                  <a:lnTo>
                    <a:pt x="282" y="342"/>
                  </a:lnTo>
                  <a:close/>
                </a:path>
              </a:pathLst>
            </a:custGeom>
            <a:solidFill>
              <a:srgbClr val="692864"/>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57" name="Germany" descr="© INSCALE GmbH, 05.05.2010&#10;http://www.presentationload.com/"/>
            <p:cNvSpPr>
              <a:spLocks/>
            </p:cNvSpPr>
            <p:nvPr/>
          </p:nvSpPr>
          <p:spPr bwMode="gray">
            <a:xfrm>
              <a:off x="4398967" y="2309813"/>
              <a:ext cx="227012" cy="236538"/>
            </a:xfrm>
            <a:custGeom>
              <a:avLst/>
              <a:gdLst>
                <a:gd name="T0" fmla="*/ 2147483647 w 564"/>
                <a:gd name="T1" fmla="*/ 2147483647 h 588"/>
                <a:gd name="T2" fmla="*/ 2147483647 w 564"/>
                <a:gd name="T3" fmla="*/ 2147483647 h 588"/>
                <a:gd name="T4" fmla="*/ 2147483647 w 564"/>
                <a:gd name="T5" fmla="*/ 2147483647 h 588"/>
                <a:gd name="T6" fmla="*/ 2147483647 w 564"/>
                <a:gd name="T7" fmla="*/ 2147483647 h 588"/>
                <a:gd name="T8" fmla="*/ 2147483647 w 564"/>
                <a:gd name="T9" fmla="*/ 2147483647 h 588"/>
                <a:gd name="T10" fmla="*/ 2147483647 w 564"/>
                <a:gd name="T11" fmla="*/ 2147483647 h 588"/>
                <a:gd name="T12" fmla="*/ 2147483647 w 564"/>
                <a:gd name="T13" fmla="*/ 2147483647 h 588"/>
                <a:gd name="T14" fmla="*/ 2147483647 w 564"/>
                <a:gd name="T15" fmla="*/ 2147483647 h 588"/>
                <a:gd name="T16" fmla="*/ 2147483647 w 564"/>
                <a:gd name="T17" fmla="*/ 2147483647 h 588"/>
                <a:gd name="T18" fmla="*/ 2147483647 w 564"/>
                <a:gd name="T19" fmla="*/ 2147483647 h 588"/>
                <a:gd name="T20" fmla="*/ 2147483647 w 564"/>
                <a:gd name="T21" fmla="*/ 2147483647 h 588"/>
                <a:gd name="T22" fmla="*/ 2147483647 w 564"/>
                <a:gd name="T23" fmla="*/ 2147483647 h 588"/>
                <a:gd name="T24" fmla="*/ 2147483647 w 564"/>
                <a:gd name="T25" fmla="*/ 2147483647 h 588"/>
                <a:gd name="T26" fmla="*/ 2147483647 w 564"/>
                <a:gd name="T27" fmla="*/ 2147483647 h 588"/>
                <a:gd name="T28" fmla="*/ 2147483647 w 564"/>
                <a:gd name="T29" fmla="*/ 2147483647 h 588"/>
                <a:gd name="T30" fmla="*/ 2147483647 w 564"/>
                <a:gd name="T31" fmla="*/ 2147483647 h 588"/>
                <a:gd name="T32" fmla="*/ 2147483647 w 564"/>
                <a:gd name="T33" fmla="*/ 2147483647 h 588"/>
                <a:gd name="T34" fmla="*/ 2147483647 w 564"/>
                <a:gd name="T35" fmla="*/ 2147483647 h 588"/>
                <a:gd name="T36" fmla="*/ 2147483647 w 564"/>
                <a:gd name="T37" fmla="*/ 2147483647 h 588"/>
                <a:gd name="T38" fmla="*/ 2147483647 w 564"/>
                <a:gd name="T39" fmla="*/ 2147483647 h 588"/>
                <a:gd name="T40" fmla="*/ 2147483647 w 564"/>
                <a:gd name="T41" fmla="*/ 2147483647 h 588"/>
                <a:gd name="T42" fmla="*/ 2147483647 w 564"/>
                <a:gd name="T43" fmla="*/ 2147483647 h 588"/>
                <a:gd name="T44" fmla="*/ 2147483647 w 564"/>
                <a:gd name="T45" fmla="*/ 2147483647 h 588"/>
                <a:gd name="T46" fmla="*/ 2147483647 w 564"/>
                <a:gd name="T47" fmla="*/ 2147483647 h 588"/>
                <a:gd name="T48" fmla="*/ 2147483647 w 564"/>
                <a:gd name="T49" fmla="*/ 2147483647 h 588"/>
                <a:gd name="T50" fmla="*/ 2147483647 w 564"/>
                <a:gd name="T51" fmla="*/ 2147483647 h 588"/>
                <a:gd name="T52" fmla="*/ 2147483647 w 564"/>
                <a:gd name="T53" fmla="*/ 2147483647 h 588"/>
                <a:gd name="T54" fmla="*/ 2147483647 w 564"/>
                <a:gd name="T55" fmla="*/ 2147483647 h 588"/>
                <a:gd name="T56" fmla="*/ 2147483647 w 564"/>
                <a:gd name="T57" fmla="*/ 2147483647 h 588"/>
                <a:gd name="T58" fmla="*/ 2147483647 w 564"/>
                <a:gd name="T59" fmla="*/ 2147483647 h 588"/>
                <a:gd name="T60" fmla="*/ 2147483647 w 564"/>
                <a:gd name="T61" fmla="*/ 2147483647 h 588"/>
                <a:gd name="T62" fmla="*/ 2147483647 w 564"/>
                <a:gd name="T63" fmla="*/ 2147483647 h 588"/>
                <a:gd name="T64" fmla="*/ 2147483647 w 564"/>
                <a:gd name="T65" fmla="*/ 2147483647 h 588"/>
                <a:gd name="T66" fmla="*/ 2147483647 w 564"/>
                <a:gd name="T67" fmla="*/ 2147483647 h 588"/>
                <a:gd name="T68" fmla="*/ 2147483647 w 564"/>
                <a:gd name="T69" fmla="*/ 2147483647 h 588"/>
                <a:gd name="T70" fmla="*/ 2147483647 w 564"/>
                <a:gd name="T71" fmla="*/ 2147483647 h 588"/>
                <a:gd name="T72" fmla="*/ 2147483647 w 564"/>
                <a:gd name="T73" fmla="*/ 2147483647 h 588"/>
                <a:gd name="T74" fmla="*/ 2147483647 w 564"/>
                <a:gd name="T75" fmla="*/ 2147483647 h 588"/>
                <a:gd name="T76" fmla="*/ 2147483647 w 564"/>
                <a:gd name="T77" fmla="*/ 2147483647 h 588"/>
                <a:gd name="T78" fmla="*/ 2147483647 w 564"/>
                <a:gd name="T79" fmla="*/ 2147483647 h 588"/>
                <a:gd name="T80" fmla="*/ 2147483647 w 564"/>
                <a:gd name="T81" fmla="*/ 2147483647 h 588"/>
                <a:gd name="T82" fmla="*/ 2147483647 w 564"/>
                <a:gd name="T83" fmla="*/ 0 h 588"/>
                <a:gd name="T84" fmla="*/ 2147483647 w 564"/>
                <a:gd name="T85" fmla="*/ 2147483647 h 588"/>
                <a:gd name="T86" fmla="*/ 2147483647 w 564"/>
                <a:gd name="T87" fmla="*/ 2147483647 h 588"/>
                <a:gd name="T88" fmla="*/ 2147483647 w 564"/>
                <a:gd name="T89" fmla="*/ 2147483647 h 588"/>
                <a:gd name="T90" fmla="*/ 2147483647 w 564"/>
                <a:gd name="T91" fmla="*/ 2147483647 h 588"/>
                <a:gd name="T92" fmla="*/ 2147483647 w 564"/>
                <a:gd name="T93" fmla="*/ 2147483647 h 588"/>
                <a:gd name="T94" fmla="*/ 2147483647 w 564"/>
                <a:gd name="T95" fmla="*/ 2147483647 h 588"/>
                <a:gd name="T96" fmla="*/ 2147483647 w 564"/>
                <a:gd name="T97" fmla="*/ 2147483647 h 588"/>
                <a:gd name="T98" fmla="*/ 2147483647 w 564"/>
                <a:gd name="T99" fmla="*/ 2147483647 h 588"/>
                <a:gd name="T100" fmla="*/ 2147483647 w 564"/>
                <a:gd name="T101" fmla="*/ 2147483647 h 588"/>
                <a:gd name="T102" fmla="*/ 2147483647 w 564"/>
                <a:gd name="T103" fmla="*/ 2147483647 h 588"/>
                <a:gd name="T104" fmla="*/ 0 w 564"/>
                <a:gd name="T105" fmla="*/ 2147483647 h 588"/>
                <a:gd name="T106" fmla="*/ 2147483647 w 564"/>
                <a:gd name="T107" fmla="*/ 2147483647 h 588"/>
                <a:gd name="T108" fmla="*/ 2147483647 w 564"/>
                <a:gd name="T109" fmla="*/ 2147483647 h 588"/>
                <a:gd name="T110" fmla="*/ 2147483647 w 564"/>
                <a:gd name="T111" fmla="*/ 2147483647 h 58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64"/>
                <a:gd name="T169" fmla="*/ 0 h 588"/>
                <a:gd name="T170" fmla="*/ 564 w 564"/>
                <a:gd name="T171" fmla="*/ 588 h 58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64" h="588">
                  <a:moveTo>
                    <a:pt x="30" y="414"/>
                  </a:moveTo>
                  <a:lnTo>
                    <a:pt x="30" y="420"/>
                  </a:lnTo>
                  <a:lnTo>
                    <a:pt x="36" y="420"/>
                  </a:lnTo>
                  <a:lnTo>
                    <a:pt x="36" y="444"/>
                  </a:lnTo>
                  <a:lnTo>
                    <a:pt x="60" y="444"/>
                  </a:lnTo>
                  <a:lnTo>
                    <a:pt x="60" y="450"/>
                  </a:lnTo>
                  <a:lnTo>
                    <a:pt x="72" y="450"/>
                  </a:lnTo>
                  <a:lnTo>
                    <a:pt x="84" y="444"/>
                  </a:lnTo>
                  <a:lnTo>
                    <a:pt x="96" y="444"/>
                  </a:lnTo>
                  <a:lnTo>
                    <a:pt x="96" y="450"/>
                  </a:lnTo>
                  <a:lnTo>
                    <a:pt x="120" y="450"/>
                  </a:lnTo>
                  <a:lnTo>
                    <a:pt x="138" y="456"/>
                  </a:lnTo>
                  <a:lnTo>
                    <a:pt x="132" y="468"/>
                  </a:lnTo>
                  <a:lnTo>
                    <a:pt x="114" y="486"/>
                  </a:lnTo>
                  <a:lnTo>
                    <a:pt x="114" y="498"/>
                  </a:lnTo>
                  <a:lnTo>
                    <a:pt x="108" y="510"/>
                  </a:lnTo>
                  <a:lnTo>
                    <a:pt x="102" y="516"/>
                  </a:lnTo>
                  <a:lnTo>
                    <a:pt x="96" y="528"/>
                  </a:lnTo>
                  <a:lnTo>
                    <a:pt x="96" y="570"/>
                  </a:lnTo>
                  <a:lnTo>
                    <a:pt x="132" y="570"/>
                  </a:lnTo>
                  <a:lnTo>
                    <a:pt x="150" y="564"/>
                  </a:lnTo>
                  <a:lnTo>
                    <a:pt x="156" y="570"/>
                  </a:lnTo>
                  <a:lnTo>
                    <a:pt x="150" y="564"/>
                  </a:lnTo>
                  <a:lnTo>
                    <a:pt x="150" y="552"/>
                  </a:lnTo>
                  <a:lnTo>
                    <a:pt x="156" y="546"/>
                  </a:lnTo>
                  <a:lnTo>
                    <a:pt x="162" y="546"/>
                  </a:lnTo>
                  <a:lnTo>
                    <a:pt x="174" y="552"/>
                  </a:lnTo>
                  <a:lnTo>
                    <a:pt x="180" y="558"/>
                  </a:lnTo>
                  <a:lnTo>
                    <a:pt x="192" y="558"/>
                  </a:lnTo>
                  <a:lnTo>
                    <a:pt x="210" y="564"/>
                  </a:lnTo>
                  <a:lnTo>
                    <a:pt x="216" y="576"/>
                  </a:lnTo>
                  <a:lnTo>
                    <a:pt x="252" y="576"/>
                  </a:lnTo>
                  <a:lnTo>
                    <a:pt x="258" y="582"/>
                  </a:lnTo>
                  <a:lnTo>
                    <a:pt x="258" y="588"/>
                  </a:lnTo>
                  <a:lnTo>
                    <a:pt x="270" y="588"/>
                  </a:lnTo>
                  <a:lnTo>
                    <a:pt x="276" y="582"/>
                  </a:lnTo>
                  <a:lnTo>
                    <a:pt x="276" y="570"/>
                  </a:lnTo>
                  <a:lnTo>
                    <a:pt x="294" y="570"/>
                  </a:lnTo>
                  <a:lnTo>
                    <a:pt x="312" y="588"/>
                  </a:lnTo>
                  <a:lnTo>
                    <a:pt x="330" y="588"/>
                  </a:lnTo>
                  <a:lnTo>
                    <a:pt x="336" y="582"/>
                  </a:lnTo>
                  <a:lnTo>
                    <a:pt x="354" y="570"/>
                  </a:lnTo>
                  <a:lnTo>
                    <a:pt x="372" y="570"/>
                  </a:lnTo>
                  <a:lnTo>
                    <a:pt x="390" y="558"/>
                  </a:lnTo>
                  <a:lnTo>
                    <a:pt x="402" y="564"/>
                  </a:lnTo>
                  <a:lnTo>
                    <a:pt x="420" y="570"/>
                  </a:lnTo>
                  <a:lnTo>
                    <a:pt x="432" y="582"/>
                  </a:lnTo>
                  <a:lnTo>
                    <a:pt x="438" y="582"/>
                  </a:lnTo>
                  <a:lnTo>
                    <a:pt x="438" y="540"/>
                  </a:lnTo>
                  <a:lnTo>
                    <a:pt x="426" y="540"/>
                  </a:lnTo>
                  <a:lnTo>
                    <a:pt x="426" y="534"/>
                  </a:lnTo>
                  <a:lnTo>
                    <a:pt x="432" y="528"/>
                  </a:lnTo>
                  <a:lnTo>
                    <a:pt x="432" y="522"/>
                  </a:lnTo>
                  <a:lnTo>
                    <a:pt x="438" y="516"/>
                  </a:lnTo>
                  <a:lnTo>
                    <a:pt x="456" y="516"/>
                  </a:lnTo>
                  <a:lnTo>
                    <a:pt x="462" y="522"/>
                  </a:lnTo>
                  <a:lnTo>
                    <a:pt x="468" y="522"/>
                  </a:lnTo>
                  <a:lnTo>
                    <a:pt x="468" y="504"/>
                  </a:lnTo>
                  <a:lnTo>
                    <a:pt x="462" y="492"/>
                  </a:lnTo>
                  <a:lnTo>
                    <a:pt x="480" y="492"/>
                  </a:lnTo>
                  <a:lnTo>
                    <a:pt x="486" y="474"/>
                  </a:lnTo>
                  <a:lnTo>
                    <a:pt x="486" y="462"/>
                  </a:lnTo>
                  <a:lnTo>
                    <a:pt x="480" y="462"/>
                  </a:lnTo>
                  <a:lnTo>
                    <a:pt x="474" y="456"/>
                  </a:lnTo>
                  <a:lnTo>
                    <a:pt x="462" y="456"/>
                  </a:lnTo>
                  <a:lnTo>
                    <a:pt x="456" y="444"/>
                  </a:lnTo>
                  <a:lnTo>
                    <a:pt x="450" y="444"/>
                  </a:lnTo>
                  <a:lnTo>
                    <a:pt x="444" y="432"/>
                  </a:lnTo>
                  <a:lnTo>
                    <a:pt x="432" y="432"/>
                  </a:lnTo>
                  <a:lnTo>
                    <a:pt x="420" y="426"/>
                  </a:lnTo>
                  <a:lnTo>
                    <a:pt x="420" y="420"/>
                  </a:lnTo>
                  <a:lnTo>
                    <a:pt x="414" y="420"/>
                  </a:lnTo>
                  <a:lnTo>
                    <a:pt x="408" y="408"/>
                  </a:lnTo>
                  <a:lnTo>
                    <a:pt x="396" y="396"/>
                  </a:lnTo>
                  <a:lnTo>
                    <a:pt x="396" y="390"/>
                  </a:lnTo>
                  <a:lnTo>
                    <a:pt x="402" y="390"/>
                  </a:lnTo>
                  <a:lnTo>
                    <a:pt x="408" y="384"/>
                  </a:lnTo>
                  <a:lnTo>
                    <a:pt x="396" y="372"/>
                  </a:lnTo>
                  <a:lnTo>
                    <a:pt x="390" y="372"/>
                  </a:lnTo>
                  <a:lnTo>
                    <a:pt x="384" y="366"/>
                  </a:lnTo>
                  <a:lnTo>
                    <a:pt x="384" y="354"/>
                  </a:lnTo>
                  <a:lnTo>
                    <a:pt x="390" y="354"/>
                  </a:lnTo>
                  <a:lnTo>
                    <a:pt x="390" y="360"/>
                  </a:lnTo>
                  <a:lnTo>
                    <a:pt x="402" y="360"/>
                  </a:lnTo>
                  <a:lnTo>
                    <a:pt x="402" y="354"/>
                  </a:lnTo>
                  <a:lnTo>
                    <a:pt x="414" y="354"/>
                  </a:lnTo>
                  <a:lnTo>
                    <a:pt x="414" y="348"/>
                  </a:lnTo>
                  <a:lnTo>
                    <a:pt x="420" y="342"/>
                  </a:lnTo>
                  <a:lnTo>
                    <a:pt x="426" y="342"/>
                  </a:lnTo>
                  <a:lnTo>
                    <a:pt x="438" y="348"/>
                  </a:lnTo>
                  <a:lnTo>
                    <a:pt x="450" y="336"/>
                  </a:lnTo>
                  <a:lnTo>
                    <a:pt x="468" y="330"/>
                  </a:lnTo>
                  <a:lnTo>
                    <a:pt x="468" y="324"/>
                  </a:lnTo>
                  <a:lnTo>
                    <a:pt x="492" y="324"/>
                  </a:lnTo>
                  <a:lnTo>
                    <a:pt x="492" y="318"/>
                  </a:lnTo>
                  <a:lnTo>
                    <a:pt x="510" y="318"/>
                  </a:lnTo>
                  <a:lnTo>
                    <a:pt x="510" y="312"/>
                  </a:lnTo>
                  <a:lnTo>
                    <a:pt x="516" y="306"/>
                  </a:lnTo>
                  <a:lnTo>
                    <a:pt x="522" y="306"/>
                  </a:lnTo>
                  <a:lnTo>
                    <a:pt x="528" y="300"/>
                  </a:lnTo>
                  <a:lnTo>
                    <a:pt x="540" y="312"/>
                  </a:lnTo>
                  <a:lnTo>
                    <a:pt x="552" y="312"/>
                  </a:lnTo>
                  <a:lnTo>
                    <a:pt x="558" y="300"/>
                  </a:lnTo>
                  <a:lnTo>
                    <a:pt x="558" y="294"/>
                  </a:lnTo>
                  <a:lnTo>
                    <a:pt x="564" y="288"/>
                  </a:lnTo>
                  <a:lnTo>
                    <a:pt x="564" y="282"/>
                  </a:lnTo>
                  <a:lnTo>
                    <a:pt x="552" y="282"/>
                  </a:lnTo>
                  <a:lnTo>
                    <a:pt x="558" y="276"/>
                  </a:lnTo>
                  <a:lnTo>
                    <a:pt x="558" y="264"/>
                  </a:lnTo>
                  <a:lnTo>
                    <a:pt x="552" y="264"/>
                  </a:lnTo>
                  <a:lnTo>
                    <a:pt x="546" y="270"/>
                  </a:lnTo>
                  <a:lnTo>
                    <a:pt x="546" y="252"/>
                  </a:lnTo>
                  <a:lnTo>
                    <a:pt x="540" y="246"/>
                  </a:lnTo>
                  <a:lnTo>
                    <a:pt x="534" y="246"/>
                  </a:lnTo>
                  <a:lnTo>
                    <a:pt x="528" y="240"/>
                  </a:lnTo>
                  <a:lnTo>
                    <a:pt x="528" y="234"/>
                  </a:lnTo>
                  <a:lnTo>
                    <a:pt x="540" y="228"/>
                  </a:lnTo>
                  <a:lnTo>
                    <a:pt x="546" y="222"/>
                  </a:lnTo>
                  <a:lnTo>
                    <a:pt x="540" y="216"/>
                  </a:lnTo>
                  <a:lnTo>
                    <a:pt x="534" y="216"/>
                  </a:lnTo>
                  <a:lnTo>
                    <a:pt x="540" y="210"/>
                  </a:lnTo>
                  <a:lnTo>
                    <a:pt x="540" y="204"/>
                  </a:lnTo>
                  <a:lnTo>
                    <a:pt x="528" y="204"/>
                  </a:lnTo>
                  <a:lnTo>
                    <a:pt x="528" y="192"/>
                  </a:lnTo>
                  <a:lnTo>
                    <a:pt x="534" y="192"/>
                  </a:lnTo>
                  <a:lnTo>
                    <a:pt x="534" y="174"/>
                  </a:lnTo>
                  <a:lnTo>
                    <a:pt x="522" y="174"/>
                  </a:lnTo>
                  <a:lnTo>
                    <a:pt x="516" y="168"/>
                  </a:lnTo>
                  <a:lnTo>
                    <a:pt x="510" y="168"/>
                  </a:lnTo>
                  <a:lnTo>
                    <a:pt x="504" y="162"/>
                  </a:lnTo>
                  <a:lnTo>
                    <a:pt x="504" y="150"/>
                  </a:lnTo>
                  <a:lnTo>
                    <a:pt x="510" y="150"/>
                  </a:lnTo>
                  <a:lnTo>
                    <a:pt x="522" y="138"/>
                  </a:lnTo>
                  <a:lnTo>
                    <a:pt x="522" y="120"/>
                  </a:lnTo>
                  <a:lnTo>
                    <a:pt x="516" y="114"/>
                  </a:lnTo>
                  <a:lnTo>
                    <a:pt x="510" y="114"/>
                  </a:lnTo>
                  <a:lnTo>
                    <a:pt x="510" y="96"/>
                  </a:lnTo>
                  <a:lnTo>
                    <a:pt x="504" y="90"/>
                  </a:lnTo>
                  <a:lnTo>
                    <a:pt x="486" y="84"/>
                  </a:lnTo>
                  <a:lnTo>
                    <a:pt x="486" y="78"/>
                  </a:lnTo>
                  <a:lnTo>
                    <a:pt x="480" y="66"/>
                  </a:lnTo>
                  <a:lnTo>
                    <a:pt x="474" y="60"/>
                  </a:lnTo>
                  <a:lnTo>
                    <a:pt x="456" y="60"/>
                  </a:lnTo>
                  <a:lnTo>
                    <a:pt x="450" y="54"/>
                  </a:lnTo>
                  <a:lnTo>
                    <a:pt x="444" y="54"/>
                  </a:lnTo>
                  <a:lnTo>
                    <a:pt x="438" y="48"/>
                  </a:lnTo>
                  <a:lnTo>
                    <a:pt x="426" y="48"/>
                  </a:lnTo>
                  <a:lnTo>
                    <a:pt x="420" y="42"/>
                  </a:lnTo>
                  <a:lnTo>
                    <a:pt x="396" y="42"/>
                  </a:lnTo>
                  <a:lnTo>
                    <a:pt x="384" y="54"/>
                  </a:lnTo>
                  <a:lnTo>
                    <a:pt x="342" y="54"/>
                  </a:lnTo>
                  <a:lnTo>
                    <a:pt x="342" y="72"/>
                  </a:lnTo>
                  <a:lnTo>
                    <a:pt x="300" y="72"/>
                  </a:lnTo>
                  <a:lnTo>
                    <a:pt x="300" y="60"/>
                  </a:lnTo>
                  <a:lnTo>
                    <a:pt x="312" y="48"/>
                  </a:lnTo>
                  <a:lnTo>
                    <a:pt x="312" y="42"/>
                  </a:lnTo>
                  <a:lnTo>
                    <a:pt x="318" y="30"/>
                  </a:lnTo>
                  <a:lnTo>
                    <a:pt x="294" y="42"/>
                  </a:lnTo>
                  <a:lnTo>
                    <a:pt x="252" y="36"/>
                  </a:lnTo>
                  <a:lnTo>
                    <a:pt x="246" y="30"/>
                  </a:lnTo>
                  <a:lnTo>
                    <a:pt x="246" y="18"/>
                  </a:lnTo>
                  <a:lnTo>
                    <a:pt x="240" y="6"/>
                  </a:lnTo>
                  <a:lnTo>
                    <a:pt x="234" y="6"/>
                  </a:lnTo>
                  <a:lnTo>
                    <a:pt x="234" y="12"/>
                  </a:lnTo>
                  <a:lnTo>
                    <a:pt x="228" y="6"/>
                  </a:lnTo>
                  <a:lnTo>
                    <a:pt x="204" y="6"/>
                  </a:lnTo>
                  <a:lnTo>
                    <a:pt x="198" y="0"/>
                  </a:lnTo>
                  <a:lnTo>
                    <a:pt x="168" y="0"/>
                  </a:lnTo>
                  <a:lnTo>
                    <a:pt x="192" y="36"/>
                  </a:lnTo>
                  <a:lnTo>
                    <a:pt x="180" y="48"/>
                  </a:lnTo>
                  <a:lnTo>
                    <a:pt x="198" y="72"/>
                  </a:lnTo>
                  <a:lnTo>
                    <a:pt x="216" y="90"/>
                  </a:lnTo>
                  <a:lnTo>
                    <a:pt x="186" y="78"/>
                  </a:lnTo>
                  <a:lnTo>
                    <a:pt x="162" y="84"/>
                  </a:lnTo>
                  <a:lnTo>
                    <a:pt x="162" y="108"/>
                  </a:lnTo>
                  <a:lnTo>
                    <a:pt x="132" y="108"/>
                  </a:lnTo>
                  <a:lnTo>
                    <a:pt x="126" y="96"/>
                  </a:lnTo>
                  <a:lnTo>
                    <a:pt x="84" y="96"/>
                  </a:lnTo>
                  <a:lnTo>
                    <a:pt x="84" y="126"/>
                  </a:lnTo>
                  <a:lnTo>
                    <a:pt x="90" y="126"/>
                  </a:lnTo>
                  <a:lnTo>
                    <a:pt x="84" y="132"/>
                  </a:lnTo>
                  <a:lnTo>
                    <a:pt x="90" y="144"/>
                  </a:lnTo>
                  <a:lnTo>
                    <a:pt x="78" y="150"/>
                  </a:lnTo>
                  <a:lnTo>
                    <a:pt x="72" y="150"/>
                  </a:lnTo>
                  <a:lnTo>
                    <a:pt x="72" y="168"/>
                  </a:lnTo>
                  <a:lnTo>
                    <a:pt x="78" y="174"/>
                  </a:lnTo>
                  <a:lnTo>
                    <a:pt x="66" y="174"/>
                  </a:lnTo>
                  <a:lnTo>
                    <a:pt x="54" y="180"/>
                  </a:lnTo>
                  <a:lnTo>
                    <a:pt x="48" y="180"/>
                  </a:lnTo>
                  <a:lnTo>
                    <a:pt x="48" y="186"/>
                  </a:lnTo>
                  <a:lnTo>
                    <a:pt x="54" y="192"/>
                  </a:lnTo>
                  <a:lnTo>
                    <a:pt x="60" y="192"/>
                  </a:lnTo>
                  <a:lnTo>
                    <a:pt x="72" y="204"/>
                  </a:lnTo>
                  <a:lnTo>
                    <a:pt x="72" y="210"/>
                  </a:lnTo>
                  <a:lnTo>
                    <a:pt x="66" y="210"/>
                  </a:lnTo>
                  <a:lnTo>
                    <a:pt x="60" y="216"/>
                  </a:lnTo>
                  <a:lnTo>
                    <a:pt x="54" y="228"/>
                  </a:lnTo>
                  <a:lnTo>
                    <a:pt x="48" y="228"/>
                  </a:lnTo>
                  <a:lnTo>
                    <a:pt x="42" y="234"/>
                  </a:lnTo>
                  <a:lnTo>
                    <a:pt x="42" y="240"/>
                  </a:lnTo>
                  <a:lnTo>
                    <a:pt x="18" y="240"/>
                  </a:lnTo>
                  <a:lnTo>
                    <a:pt x="12" y="234"/>
                  </a:lnTo>
                  <a:lnTo>
                    <a:pt x="6" y="234"/>
                  </a:lnTo>
                  <a:lnTo>
                    <a:pt x="12" y="258"/>
                  </a:lnTo>
                  <a:lnTo>
                    <a:pt x="12" y="264"/>
                  </a:lnTo>
                  <a:lnTo>
                    <a:pt x="18" y="270"/>
                  </a:lnTo>
                  <a:lnTo>
                    <a:pt x="18" y="276"/>
                  </a:lnTo>
                  <a:lnTo>
                    <a:pt x="6" y="282"/>
                  </a:lnTo>
                  <a:lnTo>
                    <a:pt x="0" y="288"/>
                  </a:lnTo>
                  <a:lnTo>
                    <a:pt x="6" y="294"/>
                  </a:lnTo>
                  <a:lnTo>
                    <a:pt x="6" y="306"/>
                  </a:lnTo>
                  <a:lnTo>
                    <a:pt x="0" y="312"/>
                  </a:lnTo>
                  <a:lnTo>
                    <a:pt x="0" y="324"/>
                  </a:lnTo>
                  <a:lnTo>
                    <a:pt x="12" y="324"/>
                  </a:lnTo>
                  <a:lnTo>
                    <a:pt x="24" y="336"/>
                  </a:lnTo>
                  <a:lnTo>
                    <a:pt x="24" y="354"/>
                  </a:lnTo>
                  <a:lnTo>
                    <a:pt x="30" y="360"/>
                  </a:lnTo>
                  <a:lnTo>
                    <a:pt x="18" y="360"/>
                  </a:lnTo>
                  <a:lnTo>
                    <a:pt x="12" y="366"/>
                  </a:lnTo>
                  <a:lnTo>
                    <a:pt x="12" y="384"/>
                  </a:lnTo>
                  <a:lnTo>
                    <a:pt x="18" y="390"/>
                  </a:lnTo>
                  <a:lnTo>
                    <a:pt x="24" y="390"/>
                  </a:lnTo>
                  <a:lnTo>
                    <a:pt x="36" y="396"/>
                  </a:lnTo>
                  <a:lnTo>
                    <a:pt x="36" y="408"/>
                  </a:lnTo>
                  <a:lnTo>
                    <a:pt x="30" y="414"/>
                  </a:lnTo>
                  <a:close/>
                </a:path>
              </a:pathLst>
            </a:custGeom>
            <a:solidFill>
              <a:srgbClr val="005995"/>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58" name="Georgia" descr="© INSCALE GmbH, 05.05.2010&#10;http://www.presentationload.com/"/>
            <p:cNvSpPr>
              <a:spLocks/>
            </p:cNvSpPr>
            <p:nvPr/>
          </p:nvSpPr>
          <p:spPr bwMode="gray">
            <a:xfrm>
              <a:off x="5278442" y="2665413"/>
              <a:ext cx="185737" cy="84138"/>
            </a:xfrm>
            <a:custGeom>
              <a:avLst/>
              <a:gdLst>
                <a:gd name="T0" fmla="*/ 2147483647 w 462"/>
                <a:gd name="T1" fmla="*/ 2147483647 h 210"/>
                <a:gd name="T2" fmla="*/ 2147483647 w 462"/>
                <a:gd name="T3" fmla="*/ 2147483647 h 210"/>
                <a:gd name="T4" fmla="*/ 2147483647 w 462"/>
                <a:gd name="T5" fmla="*/ 2147483647 h 210"/>
                <a:gd name="T6" fmla="*/ 2147483647 w 462"/>
                <a:gd name="T7" fmla="*/ 2147483647 h 210"/>
                <a:gd name="T8" fmla="*/ 2147483647 w 462"/>
                <a:gd name="T9" fmla="*/ 2147483647 h 210"/>
                <a:gd name="T10" fmla="*/ 2147483647 w 462"/>
                <a:gd name="T11" fmla="*/ 2147483647 h 210"/>
                <a:gd name="T12" fmla="*/ 2147483647 w 462"/>
                <a:gd name="T13" fmla="*/ 2147483647 h 210"/>
                <a:gd name="T14" fmla="*/ 2147483647 w 462"/>
                <a:gd name="T15" fmla="*/ 2147483647 h 210"/>
                <a:gd name="T16" fmla="*/ 2147483647 w 462"/>
                <a:gd name="T17" fmla="*/ 2147483647 h 210"/>
                <a:gd name="T18" fmla="*/ 2147483647 w 462"/>
                <a:gd name="T19" fmla="*/ 2147483647 h 210"/>
                <a:gd name="T20" fmla="*/ 2147483647 w 462"/>
                <a:gd name="T21" fmla="*/ 2147483647 h 210"/>
                <a:gd name="T22" fmla="*/ 2147483647 w 462"/>
                <a:gd name="T23" fmla="*/ 2147483647 h 210"/>
                <a:gd name="T24" fmla="*/ 2147483647 w 462"/>
                <a:gd name="T25" fmla="*/ 2147483647 h 210"/>
                <a:gd name="T26" fmla="*/ 2147483647 w 462"/>
                <a:gd name="T27" fmla="*/ 2147483647 h 210"/>
                <a:gd name="T28" fmla="*/ 2147483647 w 462"/>
                <a:gd name="T29" fmla="*/ 2147483647 h 210"/>
                <a:gd name="T30" fmla="*/ 2147483647 w 462"/>
                <a:gd name="T31" fmla="*/ 2147483647 h 210"/>
                <a:gd name="T32" fmla="*/ 2147483647 w 462"/>
                <a:gd name="T33" fmla="*/ 2147483647 h 210"/>
                <a:gd name="T34" fmla="*/ 2147483647 w 462"/>
                <a:gd name="T35" fmla="*/ 2147483647 h 210"/>
                <a:gd name="T36" fmla="*/ 2147483647 w 462"/>
                <a:gd name="T37" fmla="*/ 2147483647 h 210"/>
                <a:gd name="T38" fmla="*/ 2147483647 w 462"/>
                <a:gd name="T39" fmla="*/ 2147483647 h 210"/>
                <a:gd name="T40" fmla="*/ 2147483647 w 462"/>
                <a:gd name="T41" fmla="*/ 2147483647 h 210"/>
                <a:gd name="T42" fmla="*/ 2147483647 w 462"/>
                <a:gd name="T43" fmla="*/ 2147483647 h 210"/>
                <a:gd name="T44" fmla="*/ 2147483647 w 462"/>
                <a:gd name="T45" fmla="*/ 2147483647 h 210"/>
                <a:gd name="T46" fmla="*/ 2147483647 w 462"/>
                <a:gd name="T47" fmla="*/ 2147483647 h 210"/>
                <a:gd name="T48" fmla="*/ 2147483647 w 462"/>
                <a:gd name="T49" fmla="*/ 2147483647 h 210"/>
                <a:gd name="T50" fmla="*/ 2147483647 w 462"/>
                <a:gd name="T51" fmla="*/ 2147483647 h 210"/>
                <a:gd name="T52" fmla="*/ 2147483647 w 462"/>
                <a:gd name="T53" fmla="*/ 2147483647 h 210"/>
                <a:gd name="T54" fmla="*/ 2147483647 w 462"/>
                <a:gd name="T55" fmla="*/ 2147483647 h 210"/>
                <a:gd name="T56" fmla="*/ 2147483647 w 462"/>
                <a:gd name="T57" fmla="*/ 2147483647 h 210"/>
                <a:gd name="T58" fmla="*/ 2147483647 w 462"/>
                <a:gd name="T59" fmla="*/ 2147483647 h 210"/>
                <a:gd name="T60" fmla="*/ 2147483647 w 462"/>
                <a:gd name="T61" fmla="*/ 2147483647 h 210"/>
                <a:gd name="T62" fmla="*/ 2147483647 w 462"/>
                <a:gd name="T63" fmla="*/ 2147483647 h 210"/>
                <a:gd name="T64" fmla="*/ 2147483647 w 462"/>
                <a:gd name="T65" fmla="*/ 2147483647 h 210"/>
                <a:gd name="T66" fmla="*/ 2147483647 w 462"/>
                <a:gd name="T67" fmla="*/ 2147483647 h 210"/>
                <a:gd name="T68" fmla="*/ 2147483647 w 462"/>
                <a:gd name="T69" fmla="*/ 2147483647 h 210"/>
                <a:gd name="T70" fmla="*/ 2147483647 w 462"/>
                <a:gd name="T71" fmla="*/ 2147483647 h 210"/>
                <a:gd name="T72" fmla="*/ 2147483647 w 462"/>
                <a:gd name="T73" fmla="*/ 2147483647 h 210"/>
                <a:gd name="T74" fmla="*/ 2147483647 w 462"/>
                <a:gd name="T75" fmla="*/ 2147483647 h 210"/>
                <a:gd name="T76" fmla="*/ 2147483647 w 462"/>
                <a:gd name="T77" fmla="*/ 2147483647 h 210"/>
                <a:gd name="T78" fmla="*/ 2147483647 w 462"/>
                <a:gd name="T79" fmla="*/ 2147483647 h 210"/>
                <a:gd name="T80" fmla="*/ 2147483647 w 462"/>
                <a:gd name="T81" fmla="*/ 0 h 210"/>
                <a:gd name="T82" fmla="*/ 0 w 462"/>
                <a:gd name="T83" fmla="*/ 2147483647 h 21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62"/>
                <a:gd name="T127" fmla="*/ 0 h 210"/>
                <a:gd name="T128" fmla="*/ 462 w 462"/>
                <a:gd name="T129" fmla="*/ 210 h 21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62" h="210">
                  <a:moveTo>
                    <a:pt x="6" y="18"/>
                  </a:moveTo>
                  <a:lnTo>
                    <a:pt x="12" y="18"/>
                  </a:lnTo>
                  <a:lnTo>
                    <a:pt x="18" y="24"/>
                  </a:lnTo>
                  <a:lnTo>
                    <a:pt x="30" y="30"/>
                  </a:lnTo>
                  <a:lnTo>
                    <a:pt x="42" y="42"/>
                  </a:lnTo>
                  <a:lnTo>
                    <a:pt x="60" y="48"/>
                  </a:lnTo>
                  <a:lnTo>
                    <a:pt x="72" y="54"/>
                  </a:lnTo>
                  <a:lnTo>
                    <a:pt x="78" y="54"/>
                  </a:lnTo>
                  <a:lnTo>
                    <a:pt x="84" y="60"/>
                  </a:lnTo>
                  <a:lnTo>
                    <a:pt x="96" y="66"/>
                  </a:lnTo>
                  <a:lnTo>
                    <a:pt x="102" y="78"/>
                  </a:lnTo>
                  <a:lnTo>
                    <a:pt x="114" y="84"/>
                  </a:lnTo>
                  <a:lnTo>
                    <a:pt x="114" y="96"/>
                  </a:lnTo>
                  <a:lnTo>
                    <a:pt x="120" y="114"/>
                  </a:lnTo>
                  <a:lnTo>
                    <a:pt x="120" y="132"/>
                  </a:lnTo>
                  <a:lnTo>
                    <a:pt x="126" y="138"/>
                  </a:lnTo>
                  <a:lnTo>
                    <a:pt x="132" y="150"/>
                  </a:lnTo>
                  <a:lnTo>
                    <a:pt x="138" y="156"/>
                  </a:lnTo>
                  <a:lnTo>
                    <a:pt x="138" y="162"/>
                  </a:lnTo>
                  <a:lnTo>
                    <a:pt x="132" y="168"/>
                  </a:lnTo>
                  <a:lnTo>
                    <a:pt x="168" y="174"/>
                  </a:lnTo>
                  <a:lnTo>
                    <a:pt x="174" y="168"/>
                  </a:lnTo>
                  <a:lnTo>
                    <a:pt x="186" y="162"/>
                  </a:lnTo>
                  <a:lnTo>
                    <a:pt x="198" y="162"/>
                  </a:lnTo>
                  <a:lnTo>
                    <a:pt x="210" y="168"/>
                  </a:lnTo>
                  <a:lnTo>
                    <a:pt x="216" y="174"/>
                  </a:lnTo>
                  <a:lnTo>
                    <a:pt x="222" y="186"/>
                  </a:lnTo>
                  <a:lnTo>
                    <a:pt x="222" y="192"/>
                  </a:lnTo>
                  <a:lnTo>
                    <a:pt x="246" y="192"/>
                  </a:lnTo>
                  <a:lnTo>
                    <a:pt x="246" y="198"/>
                  </a:lnTo>
                  <a:lnTo>
                    <a:pt x="252" y="204"/>
                  </a:lnTo>
                  <a:lnTo>
                    <a:pt x="276" y="198"/>
                  </a:lnTo>
                  <a:lnTo>
                    <a:pt x="282" y="192"/>
                  </a:lnTo>
                  <a:lnTo>
                    <a:pt x="336" y="198"/>
                  </a:lnTo>
                  <a:lnTo>
                    <a:pt x="336" y="180"/>
                  </a:lnTo>
                  <a:lnTo>
                    <a:pt x="342" y="180"/>
                  </a:lnTo>
                  <a:lnTo>
                    <a:pt x="348" y="186"/>
                  </a:lnTo>
                  <a:lnTo>
                    <a:pt x="354" y="186"/>
                  </a:lnTo>
                  <a:lnTo>
                    <a:pt x="354" y="180"/>
                  </a:lnTo>
                  <a:lnTo>
                    <a:pt x="366" y="168"/>
                  </a:lnTo>
                  <a:lnTo>
                    <a:pt x="390" y="168"/>
                  </a:lnTo>
                  <a:lnTo>
                    <a:pt x="396" y="174"/>
                  </a:lnTo>
                  <a:lnTo>
                    <a:pt x="396" y="180"/>
                  </a:lnTo>
                  <a:lnTo>
                    <a:pt x="414" y="198"/>
                  </a:lnTo>
                  <a:lnTo>
                    <a:pt x="426" y="192"/>
                  </a:lnTo>
                  <a:lnTo>
                    <a:pt x="438" y="192"/>
                  </a:lnTo>
                  <a:lnTo>
                    <a:pt x="456" y="210"/>
                  </a:lnTo>
                  <a:lnTo>
                    <a:pt x="462" y="204"/>
                  </a:lnTo>
                  <a:lnTo>
                    <a:pt x="456" y="192"/>
                  </a:lnTo>
                  <a:lnTo>
                    <a:pt x="450" y="186"/>
                  </a:lnTo>
                  <a:lnTo>
                    <a:pt x="444" y="174"/>
                  </a:lnTo>
                  <a:lnTo>
                    <a:pt x="438" y="168"/>
                  </a:lnTo>
                  <a:lnTo>
                    <a:pt x="432" y="168"/>
                  </a:lnTo>
                  <a:lnTo>
                    <a:pt x="414" y="150"/>
                  </a:lnTo>
                  <a:lnTo>
                    <a:pt x="420" y="144"/>
                  </a:lnTo>
                  <a:lnTo>
                    <a:pt x="432" y="144"/>
                  </a:lnTo>
                  <a:lnTo>
                    <a:pt x="420" y="132"/>
                  </a:lnTo>
                  <a:lnTo>
                    <a:pt x="408" y="126"/>
                  </a:lnTo>
                  <a:lnTo>
                    <a:pt x="396" y="114"/>
                  </a:lnTo>
                  <a:lnTo>
                    <a:pt x="378" y="114"/>
                  </a:lnTo>
                  <a:lnTo>
                    <a:pt x="378" y="108"/>
                  </a:lnTo>
                  <a:lnTo>
                    <a:pt x="384" y="102"/>
                  </a:lnTo>
                  <a:lnTo>
                    <a:pt x="384" y="90"/>
                  </a:lnTo>
                  <a:lnTo>
                    <a:pt x="354" y="84"/>
                  </a:lnTo>
                  <a:lnTo>
                    <a:pt x="342" y="72"/>
                  </a:lnTo>
                  <a:lnTo>
                    <a:pt x="330" y="66"/>
                  </a:lnTo>
                  <a:lnTo>
                    <a:pt x="300" y="66"/>
                  </a:lnTo>
                  <a:lnTo>
                    <a:pt x="300" y="72"/>
                  </a:lnTo>
                  <a:lnTo>
                    <a:pt x="288" y="72"/>
                  </a:lnTo>
                  <a:lnTo>
                    <a:pt x="282" y="78"/>
                  </a:lnTo>
                  <a:lnTo>
                    <a:pt x="258" y="78"/>
                  </a:lnTo>
                  <a:lnTo>
                    <a:pt x="246" y="72"/>
                  </a:lnTo>
                  <a:lnTo>
                    <a:pt x="240" y="72"/>
                  </a:lnTo>
                  <a:lnTo>
                    <a:pt x="240" y="66"/>
                  </a:lnTo>
                  <a:lnTo>
                    <a:pt x="192" y="36"/>
                  </a:lnTo>
                  <a:lnTo>
                    <a:pt x="186" y="36"/>
                  </a:lnTo>
                  <a:lnTo>
                    <a:pt x="180" y="30"/>
                  </a:lnTo>
                  <a:lnTo>
                    <a:pt x="144" y="30"/>
                  </a:lnTo>
                  <a:lnTo>
                    <a:pt x="84" y="18"/>
                  </a:lnTo>
                  <a:lnTo>
                    <a:pt x="66" y="12"/>
                  </a:lnTo>
                  <a:lnTo>
                    <a:pt x="54" y="6"/>
                  </a:lnTo>
                  <a:lnTo>
                    <a:pt x="36" y="0"/>
                  </a:lnTo>
                  <a:lnTo>
                    <a:pt x="24" y="0"/>
                  </a:lnTo>
                  <a:lnTo>
                    <a:pt x="0" y="18"/>
                  </a:lnTo>
                  <a:lnTo>
                    <a:pt x="6" y="18"/>
                  </a:lnTo>
                  <a:close/>
                </a:path>
              </a:pathLst>
            </a:cu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2700000" scaled="1"/>
              <a:tileRect/>
            </a:gra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59" name="The Gambia" descr="© INSCALE GmbH, 05.05.2010&#10;http://www.presentationload.com/"/>
            <p:cNvSpPr>
              <a:spLocks/>
            </p:cNvSpPr>
            <p:nvPr/>
          </p:nvSpPr>
          <p:spPr bwMode="gray">
            <a:xfrm>
              <a:off x="3738566" y="3630612"/>
              <a:ext cx="85725" cy="20638"/>
            </a:xfrm>
            <a:custGeom>
              <a:avLst/>
              <a:gdLst>
                <a:gd name="T0" fmla="*/ 2147483647 w 216"/>
                <a:gd name="T1" fmla="*/ 2147483647 h 54"/>
                <a:gd name="T2" fmla="*/ 2147483647 w 216"/>
                <a:gd name="T3" fmla="*/ 2147483647 h 54"/>
                <a:gd name="T4" fmla="*/ 2147483647 w 216"/>
                <a:gd name="T5" fmla="*/ 2147483647 h 54"/>
                <a:gd name="T6" fmla="*/ 2147483647 w 216"/>
                <a:gd name="T7" fmla="*/ 2147483647 h 54"/>
                <a:gd name="T8" fmla="*/ 0 w 216"/>
                <a:gd name="T9" fmla="*/ 2147483647 h 54"/>
                <a:gd name="T10" fmla="*/ 0 w 216"/>
                <a:gd name="T11" fmla="*/ 2147483647 h 54"/>
                <a:gd name="T12" fmla="*/ 2147483647 w 216"/>
                <a:gd name="T13" fmla="*/ 2147483647 h 54"/>
                <a:gd name="T14" fmla="*/ 2147483647 w 216"/>
                <a:gd name="T15" fmla="*/ 2147483647 h 54"/>
                <a:gd name="T16" fmla="*/ 2147483647 w 216"/>
                <a:gd name="T17" fmla="*/ 2147483647 h 54"/>
                <a:gd name="T18" fmla="*/ 2147483647 w 216"/>
                <a:gd name="T19" fmla="*/ 2147483647 h 54"/>
                <a:gd name="T20" fmla="*/ 2147483647 w 216"/>
                <a:gd name="T21" fmla="*/ 2147483647 h 54"/>
                <a:gd name="T22" fmla="*/ 2147483647 w 216"/>
                <a:gd name="T23" fmla="*/ 2147483647 h 54"/>
                <a:gd name="T24" fmla="*/ 2147483647 w 216"/>
                <a:gd name="T25" fmla="*/ 2147483647 h 54"/>
                <a:gd name="T26" fmla="*/ 2147483647 w 216"/>
                <a:gd name="T27" fmla="*/ 2147483647 h 54"/>
                <a:gd name="T28" fmla="*/ 2147483647 w 216"/>
                <a:gd name="T29" fmla="*/ 2147483647 h 54"/>
                <a:gd name="T30" fmla="*/ 2147483647 w 216"/>
                <a:gd name="T31" fmla="*/ 2147483647 h 54"/>
                <a:gd name="T32" fmla="*/ 2147483647 w 216"/>
                <a:gd name="T33" fmla="*/ 2147483647 h 54"/>
                <a:gd name="T34" fmla="*/ 2147483647 w 216"/>
                <a:gd name="T35" fmla="*/ 2147483647 h 54"/>
                <a:gd name="T36" fmla="*/ 2147483647 w 216"/>
                <a:gd name="T37" fmla="*/ 2147483647 h 54"/>
                <a:gd name="T38" fmla="*/ 2147483647 w 216"/>
                <a:gd name="T39" fmla="*/ 2147483647 h 54"/>
                <a:gd name="T40" fmla="*/ 2147483647 w 216"/>
                <a:gd name="T41" fmla="*/ 2147483647 h 54"/>
                <a:gd name="T42" fmla="*/ 2147483647 w 216"/>
                <a:gd name="T43" fmla="*/ 2147483647 h 54"/>
                <a:gd name="T44" fmla="*/ 2147483647 w 216"/>
                <a:gd name="T45" fmla="*/ 2147483647 h 54"/>
                <a:gd name="T46" fmla="*/ 2147483647 w 216"/>
                <a:gd name="T47" fmla="*/ 2147483647 h 54"/>
                <a:gd name="T48" fmla="*/ 2147483647 w 216"/>
                <a:gd name="T49" fmla="*/ 2147483647 h 54"/>
                <a:gd name="T50" fmla="*/ 2147483647 w 216"/>
                <a:gd name="T51" fmla="*/ 2147483647 h 54"/>
                <a:gd name="T52" fmla="*/ 2147483647 w 216"/>
                <a:gd name="T53" fmla="*/ 2147483647 h 54"/>
                <a:gd name="T54" fmla="*/ 2147483647 w 216"/>
                <a:gd name="T55" fmla="*/ 2147483647 h 54"/>
                <a:gd name="T56" fmla="*/ 2147483647 w 216"/>
                <a:gd name="T57" fmla="*/ 2147483647 h 54"/>
                <a:gd name="T58" fmla="*/ 2147483647 w 216"/>
                <a:gd name="T59" fmla="*/ 0 h 54"/>
                <a:gd name="T60" fmla="*/ 2147483647 w 216"/>
                <a:gd name="T61" fmla="*/ 0 h 54"/>
                <a:gd name="T62" fmla="*/ 2147483647 w 216"/>
                <a:gd name="T63" fmla="*/ 2147483647 h 54"/>
                <a:gd name="T64" fmla="*/ 2147483647 w 216"/>
                <a:gd name="T65" fmla="*/ 2147483647 h 54"/>
                <a:gd name="T66" fmla="*/ 2147483647 w 216"/>
                <a:gd name="T67" fmla="*/ 2147483647 h 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
                <a:gd name="T103" fmla="*/ 0 h 54"/>
                <a:gd name="T104" fmla="*/ 216 w 216"/>
                <a:gd name="T105" fmla="*/ 54 h 5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 h="54">
                  <a:moveTo>
                    <a:pt x="18" y="18"/>
                  </a:moveTo>
                  <a:lnTo>
                    <a:pt x="12" y="24"/>
                  </a:lnTo>
                  <a:lnTo>
                    <a:pt x="6" y="36"/>
                  </a:lnTo>
                  <a:lnTo>
                    <a:pt x="6" y="42"/>
                  </a:lnTo>
                  <a:lnTo>
                    <a:pt x="0" y="48"/>
                  </a:lnTo>
                  <a:lnTo>
                    <a:pt x="0" y="54"/>
                  </a:lnTo>
                  <a:lnTo>
                    <a:pt x="72" y="54"/>
                  </a:lnTo>
                  <a:lnTo>
                    <a:pt x="72" y="42"/>
                  </a:lnTo>
                  <a:lnTo>
                    <a:pt x="84" y="42"/>
                  </a:lnTo>
                  <a:lnTo>
                    <a:pt x="90" y="36"/>
                  </a:lnTo>
                  <a:lnTo>
                    <a:pt x="114" y="36"/>
                  </a:lnTo>
                  <a:lnTo>
                    <a:pt x="120" y="24"/>
                  </a:lnTo>
                  <a:lnTo>
                    <a:pt x="126" y="18"/>
                  </a:lnTo>
                  <a:lnTo>
                    <a:pt x="132" y="24"/>
                  </a:lnTo>
                  <a:lnTo>
                    <a:pt x="144" y="30"/>
                  </a:lnTo>
                  <a:lnTo>
                    <a:pt x="150" y="42"/>
                  </a:lnTo>
                  <a:lnTo>
                    <a:pt x="168" y="48"/>
                  </a:lnTo>
                  <a:lnTo>
                    <a:pt x="192" y="48"/>
                  </a:lnTo>
                  <a:lnTo>
                    <a:pt x="198" y="42"/>
                  </a:lnTo>
                  <a:lnTo>
                    <a:pt x="210" y="36"/>
                  </a:lnTo>
                  <a:lnTo>
                    <a:pt x="216" y="30"/>
                  </a:lnTo>
                  <a:lnTo>
                    <a:pt x="216" y="24"/>
                  </a:lnTo>
                  <a:lnTo>
                    <a:pt x="210" y="18"/>
                  </a:lnTo>
                  <a:lnTo>
                    <a:pt x="186" y="18"/>
                  </a:lnTo>
                  <a:lnTo>
                    <a:pt x="180" y="24"/>
                  </a:lnTo>
                  <a:lnTo>
                    <a:pt x="168" y="24"/>
                  </a:lnTo>
                  <a:lnTo>
                    <a:pt x="162" y="12"/>
                  </a:lnTo>
                  <a:lnTo>
                    <a:pt x="156" y="6"/>
                  </a:lnTo>
                  <a:lnTo>
                    <a:pt x="144" y="12"/>
                  </a:lnTo>
                  <a:lnTo>
                    <a:pt x="144" y="0"/>
                  </a:lnTo>
                  <a:lnTo>
                    <a:pt x="90" y="0"/>
                  </a:lnTo>
                  <a:lnTo>
                    <a:pt x="90" y="12"/>
                  </a:lnTo>
                  <a:lnTo>
                    <a:pt x="18" y="12"/>
                  </a:lnTo>
                  <a:lnTo>
                    <a:pt x="18" y="18"/>
                  </a:lnTo>
                  <a:close/>
                </a:path>
              </a:pathLst>
            </a:custGeom>
            <a:solidFill>
              <a:srgbClr val="692864"/>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60" name="Gabon" descr="© INSCALE GmbH, 05.05.2010&#10;http://www.presentationload.com/"/>
            <p:cNvSpPr>
              <a:spLocks/>
            </p:cNvSpPr>
            <p:nvPr/>
          </p:nvSpPr>
          <p:spPr bwMode="gray">
            <a:xfrm>
              <a:off x="4462467" y="3998913"/>
              <a:ext cx="168275" cy="206375"/>
            </a:xfrm>
            <a:custGeom>
              <a:avLst/>
              <a:gdLst>
                <a:gd name="T0" fmla="*/ 2147483647 w 420"/>
                <a:gd name="T1" fmla="*/ 2147483647 h 510"/>
                <a:gd name="T2" fmla="*/ 2147483647 w 420"/>
                <a:gd name="T3" fmla="*/ 2147483647 h 510"/>
                <a:gd name="T4" fmla="*/ 2147483647 w 420"/>
                <a:gd name="T5" fmla="*/ 2147483647 h 510"/>
                <a:gd name="T6" fmla="*/ 2147483647 w 420"/>
                <a:gd name="T7" fmla="*/ 2147483647 h 510"/>
                <a:gd name="T8" fmla="*/ 2147483647 w 420"/>
                <a:gd name="T9" fmla="*/ 2147483647 h 510"/>
                <a:gd name="T10" fmla="*/ 2147483647 w 420"/>
                <a:gd name="T11" fmla="*/ 2147483647 h 510"/>
                <a:gd name="T12" fmla="*/ 2147483647 w 420"/>
                <a:gd name="T13" fmla="*/ 2147483647 h 510"/>
                <a:gd name="T14" fmla="*/ 2147483647 w 420"/>
                <a:gd name="T15" fmla="*/ 2147483647 h 510"/>
                <a:gd name="T16" fmla="*/ 2147483647 w 420"/>
                <a:gd name="T17" fmla="*/ 2147483647 h 510"/>
                <a:gd name="T18" fmla="*/ 2147483647 w 420"/>
                <a:gd name="T19" fmla="*/ 2147483647 h 510"/>
                <a:gd name="T20" fmla="*/ 2147483647 w 420"/>
                <a:gd name="T21" fmla="*/ 2147483647 h 510"/>
                <a:gd name="T22" fmla="*/ 2147483647 w 420"/>
                <a:gd name="T23" fmla="*/ 2147483647 h 510"/>
                <a:gd name="T24" fmla="*/ 2147483647 w 420"/>
                <a:gd name="T25" fmla="*/ 2147483647 h 510"/>
                <a:gd name="T26" fmla="*/ 2147483647 w 420"/>
                <a:gd name="T27" fmla="*/ 2147483647 h 510"/>
                <a:gd name="T28" fmla="*/ 2147483647 w 420"/>
                <a:gd name="T29" fmla="*/ 2147483647 h 510"/>
                <a:gd name="T30" fmla="*/ 2147483647 w 420"/>
                <a:gd name="T31" fmla="*/ 2147483647 h 510"/>
                <a:gd name="T32" fmla="*/ 2147483647 w 420"/>
                <a:gd name="T33" fmla="*/ 2147483647 h 510"/>
                <a:gd name="T34" fmla="*/ 2147483647 w 420"/>
                <a:gd name="T35" fmla="*/ 2147483647 h 510"/>
                <a:gd name="T36" fmla="*/ 2147483647 w 420"/>
                <a:gd name="T37" fmla="*/ 2147483647 h 510"/>
                <a:gd name="T38" fmla="*/ 2147483647 w 420"/>
                <a:gd name="T39" fmla="*/ 2147483647 h 510"/>
                <a:gd name="T40" fmla="*/ 2147483647 w 420"/>
                <a:gd name="T41" fmla="*/ 2147483647 h 510"/>
                <a:gd name="T42" fmla="*/ 2147483647 w 420"/>
                <a:gd name="T43" fmla="*/ 2147483647 h 510"/>
                <a:gd name="T44" fmla="*/ 2147483647 w 420"/>
                <a:gd name="T45" fmla="*/ 2147483647 h 510"/>
                <a:gd name="T46" fmla="*/ 2147483647 w 420"/>
                <a:gd name="T47" fmla="*/ 2147483647 h 510"/>
                <a:gd name="T48" fmla="*/ 2147483647 w 420"/>
                <a:gd name="T49" fmla="*/ 2147483647 h 510"/>
                <a:gd name="T50" fmla="*/ 2147483647 w 420"/>
                <a:gd name="T51" fmla="*/ 2147483647 h 510"/>
                <a:gd name="T52" fmla="*/ 2147483647 w 420"/>
                <a:gd name="T53" fmla="*/ 2147483647 h 510"/>
                <a:gd name="T54" fmla="*/ 2147483647 w 420"/>
                <a:gd name="T55" fmla="*/ 2147483647 h 510"/>
                <a:gd name="T56" fmla="*/ 2147483647 w 420"/>
                <a:gd name="T57" fmla="*/ 2147483647 h 510"/>
                <a:gd name="T58" fmla="*/ 2147483647 w 420"/>
                <a:gd name="T59" fmla="*/ 2147483647 h 510"/>
                <a:gd name="T60" fmla="*/ 2147483647 w 420"/>
                <a:gd name="T61" fmla="*/ 2147483647 h 510"/>
                <a:gd name="T62" fmla="*/ 2147483647 w 420"/>
                <a:gd name="T63" fmla="*/ 2147483647 h 510"/>
                <a:gd name="T64" fmla="*/ 2147483647 w 420"/>
                <a:gd name="T65" fmla="*/ 2147483647 h 510"/>
                <a:gd name="T66" fmla="*/ 2147483647 w 420"/>
                <a:gd name="T67" fmla="*/ 2147483647 h 510"/>
                <a:gd name="T68" fmla="*/ 2147483647 w 420"/>
                <a:gd name="T69" fmla="*/ 2147483647 h 510"/>
                <a:gd name="T70" fmla="*/ 2147483647 w 420"/>
                <a:gd name="T71" fmla="*/ 2147483647 h 510"/>
                <a:gd name="T72" fmla="*/ 2147483647 w 420"/>
                <a:gd name="T73" fmla="*/ 2147483647 h 510"/>
                <a:gd name="T74" fmla="*/ 2147483647 w 420"/>
                <a:gd name="T75" fmla="*/ 2147483647 h 510"/>
                <a:gd name="T76" fmla="*/ 2147483647 w 420"/>
                <a:gd name="T77" fmla="*/ 2147483647 h 510"/>
                <a:gd name="T78" fmla="*/ 2147483647 w 420"/>
                <a:gd name="T79" fmla="*/ 2147483647 h 510"/>
                <a:gd name="T80" fmla="*/ 2147483647 w 420"/>
                <a:gd name="T81" fmla="*/ 2147483647 h 510"/>
                <a:gd name="T82" fmla="*/ 2147483647 w 420"/>
                <a:gd name="T83" fmla="*/ 2147483647 h 510"/>
                <a:gd name="T84" fmla="*/ 2147483647 w 420"/>
                <a:gd name="T85" fmla="*/ 2147483647 h 510"/>
                <a:gd name="T86" fmla="*/ 2147483647 w 420"/>
                <a:gd name="T87" fmla="*/ 2147483647 h 510"/>
                <a:gd name="T88" fmla="*/ 2147483647 w 420"/>
                <a:gd name="T89" fmla="*/ 2147483647 h 510"/>
                <a:gd name="T90" fmla="*/ 2147483647 w 420"/>
                <a:gd name="T91" fmla="*/ 2147483647 h 510"/>
                <a:gd name="T92" fmla="*/ 2147483647 w 420"/>
                <a:gd name="T93" fmla="*/ 2147483647 h 510"/>
                <a:gd name="T94" fmla="*/ 2147483647 w 420"/>
                <a:gd name="T95" fmla="*/ 2147483647 h 510"/>
                <a:gd name="T96" fmla="*/ 2147483647 w 420"/>
                <a:gd name="T97" fmla="*/ 2147483647 h 510"/>
                <a:gd name="T98" fmla="*/ 2147483647 w 420"/>
                <a:gd name="T99" fmla="*/ 2147483647 h 510"/>
                <a:gd name="T100" fmla="*/ 2147483647 w 420"/>
                <a:gd name="T101" fmla="*/ 2147483647 h 510"/>
                <a:gd name="T102" fmla="*/ 2147483647 w 420"/>
                <a:gd name="T103" fmla="*/ 2147483647 h 510"/>
                <a:gd name="T104" fmla="*/ 2147483647 w 420"/>
                <a:gd name="T105" fmla="*/ 2147483647 h 510"/>
                <a:gd name="T106" fmla="*/ 2147483647 w 420"/>
                <a:gd name="T107" fmla="*/ 2147483647 h 510"/>
                <a:gd name="T108" fmla="*/ 2147483647 w 420"/>
                <a:gd name="T109" fmla="*/ 2147483647 h 510"/>
                <a:gd name="T110" fmla="*/ 2147483647 w 420"/>
                <a:gd name="T111" fmla="*/ 2147483647 h 51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0"/>
                <a:gd name="T169" fmla="*/ 0 h 510"/>
                <a:gd name="T170" fmla="*/ 420 w 420"/>
                <a:gd name="T171" fmla="*/ 510 h 51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0" h="510">
                  <a:moveTo>
                    <a:pt x="420" y="240"/>
                  </a:moveTo>
                  <a:lnTo>
                    <a:pt x="414" y="234"/>
                  </a:lnTo>
                  <a:lnTo>
                    <a:pt x="396" y="234"/>
                  </a:lnTo>
                  <a:lnTo>
                    <a:pt x="390" y="216"/>
                  </a:lnTo>
                  <a:lnTo>
                    <a:pt x="372" y="210"/>
                  </a:lnTo>
                  <a:lnTo>
                    <a:pt x="372" y="174"/>
                  </a:lnTo>
                  <a:lnTo>
                    <a:pt x="384" y="150"/>
                  </a:lnTo>
                  <a:lnTo>
                    <a:pt x="396" y="150"/>
                  </a:lnTo>
                  <a:lnTo>
                    <a:pt x="402" y="144"/>
                  </a:lnTo>
                  <a:lnTo>
                    <a:pt x="408" y="132"/>
                  </a:lnTo>
                  <a:lnTo>
                    <a:pt x="414" y="126"/>
                  </a:lnTo>
                  <a:lnTo>
                    <a:pt x="414" y="114"/>
                  </a:lnTo>
                  <a:lnTo>
                    <a:pt x="402" y="108"/>
                  </a:lnTo>
                  <a:lnTo>
                    <a:pt x="402" y="90"/>
                  </a:lnTo>
                  <a:lnTo>
                    <a:pt x="396" y="84"/>
                  </a:lnTo>
                  <a:lnTo>
                    <a:pt x="396" y="78"/>
                  </a:lnTo>
                  <a:lnTo>
                    <a:pt x="384" y="78"/>
                  </a:lnTo>
                  <a:lnTo>
                    <a:pt x="378" y="72"/>
                  </a:lnTo>
                  <a:lnTo>
                    <a:pt x="360" y="72"/>
                  </a:lnTo>
                  <a:lnTo>
                    <a:pt x="360" y="90"/>
                  </a:lnTo>
                  <a:lnTo>
                    <a:pt x="354" y="96"/>
                  </a:lnTo>
                  <a:lnTo>
                    <a:pt x="330" y="96"/>
                  </a:lnTo>
                  <a:lnTo>
                    <a:pt x="324" y="90"/>
                  </a:lnTo>
                  <a:lnTo>
                    <a:pt x="318" y="54"/>
                  </a:lnTo>
                  <a:lnTo>
                    <a:pt x="336" y="24"/>
                  </a:lnTo>
                  <a:lnTo>
                    <a:pt x="336" y="6"/>
                  </a:lnTo>
                  <a:lnTo>
                    <a:pt x="288" y="12"/>
                  </a:lnTo>
                  <a:lnTo>
                    <a:pt x="282" y="12"/>
                  </a:lnTo>
                  <a:lnTo>
                    <a:pt x="270" y="6"/>
                  </a:lnTo>
                  <a:lnTo>
                    <a:pt x="264" y="6"/>
                  </a:lnTo>
                  <a:lnTo>
                    <a:pt x="252" y="18"/>
                  </a:lnTo>
                  <a:lnTo>
                    <a:pt x="222" y="18"/>
                  </a:lnTo>
                  <a:lnTo>
                    <a:pt x="210" y="0"/>
                  </a:lnTo>
                  <a:lnTo>
                    <a:pt x="192" y="18"/>
                  </a:lnTo>
                  <a:lnTo>
                    <a:pt x="186" y="54"/>
                  </a:lnTo>
                  <a:lnTo>
                    <a:pt x="192" y="60"/>
                  </a:lnTo>
                  <a:lnTo>
                    <a:pt x="192" y="90"/>
                  </a:lnTo>
                  <a:lnTo>
                    <a:pt x="186" y="108"/>
                  </a:lnTo>
                  <a:lnTo>
                    <a:pt x="186" y="114"/>
                  </a:lnTo>
                  <a:lnTo>
                    <a:pt x="84" y="114"/>
                  </a:lnTo>
                  <a:lnTo>
                    <a:pt x="84" y="108"/>
                  </a:lnTo>
                  <a:lnTo>
                    <a:pt x="72" y="108"/>
                  </a:lnTo>
                  <a:lnTo>
                    <a:pt x="60" y="120"/>
                  </a:lnTo>
                  <a:lnTo>
                    <a:pt x="60" y="126"/>
                  </a:lnTo>
                  <a:lnTo>
                    <a:pt x="66" y="132"/>
                  </a:lnTo>
                  <a:lnTo>
                    <a:pt x="66" y="144"/>
                  </a:lnTo>
                  <a:lnTo>
                    <a:pt x="72" y="150"/>
                  </a:lnTo>
                  <a:lnTo>
                    <a:pt x="72" y="162"/>
                  </a:lnTo>
                  <a:lnTo>
                    <a:pt x="48" y="162"/>
                  </a:lnTo>
                  <a:lnTo>
                    <a:pt x="48" y="210"/>
                  </a:lnTo>
                  <a:lnTo>
                    <a:pt x="42" y="228"/>
                  </a:lnTo>
                  <a:lnTo>
                    <a:pt x="36" y="240"/>
                  </a:lnTo>
                  <a:lnTo>
                    <a:pt x="30" y="246"/>
                  </a:lnTo>
                  <a:lnTo>
                    <a:pt x="18" y="252"/>
                  </a:lnTo>
                  <a:lnTo>
                    <a:pt x="0" y="252"/>
                  </a:lnTo>
                  <a:lnTo>
                    <a:pt x="30" y="306"/>
                  </a:lnTo>
                  <a:lnTo>
                    <a:pt x="42" y="294"/>
                  </a:lnTo>
                  <a:lnTo>
                    <a:pt x="54" y="312"/>
                  </a:lnTo>
                  <a:lnTo>
                    <a:pt x="48" y="318"/>
                  </a:lnTo>
                  <a:lnTo>
                    <a:pt x="48" y="330"/>
                  </a:lnTo>
                  <a:lnTo>
                    <a:pt x="42" y="336"/>
                  </a:lnTo>
                  <a:lnTo>
                    <a:pt x="42" y="342"/>
                  </a:lnTo>
                  <a:lnTo>
                    <a:pt x="48" y="348"/>
                  </a:lnTo>
                  <a:lnTo>
                    <a:pt x="66" y="348"/>
                  </a:lnTo>
                  <a:lnTo>
                    <a:pt x="72" y="390"/>
                  </a:lnTo>
                  <a:lnTo>
                    <a:pt x="102" y="396"/>
                  </a:lnTo>
                  <a:lnTo>
                    <a:pt x="96" y="408"/>
                  </a:lnTo>
                  <a:lnTo>
                    <a:pt x="144" y="462"/>
                  </a:lnTo>
                  <a:lnTo>
                    <a:pt x="138" y="468"/>
                  </a:lnTo>
                  <a:lnTo>
                    <a:pt x="174" y="510"/>
                  </a:lnTo>
                  <a:lnTo>
                    <a:pt x="180" y="492"/>
                  </a:lnTo>
                  <a:lnTo>
                    <a:pt x="204" y="480"/>
                  </a:lnTo>
                  <a:lnTo>
                    <a:pt x="222" y="498"/>
                  </a:lnTo>
                  <a:lnTo>
                    <a:pt x="228" y="492"/>
                  </a:lnTo>
                  <a:lnTo>
                    <a:pt x="228" y="456"/>
                  </a:lnTo>
                  <a:lnTo>
                    <a:pt x="210" y="444"/>
                  </a:lnTo>
                  <a:lnTo>
                    <a:pt x="228" y="432"/>
                  </a:lnTo>
                  <a:lnTo>
                    <a:pt x="198" y="414"/>
                  </a:lnTo>
                  <a:lnTo>
                    <a:pt x="210" y="414"/>
                  </a:lnTo>
                  <a:lnTo>
                    <a:pt x="210" y="402"/>
                  </a:lnTo>
                  <a:lnTo>
                    <a:pt x="204" y="396"/>
                  </a:lnTo>
                  <a:lnTo>
                    <a:pt x="204" y="378"/>
                  </a:lnTo>
                  <a:lnTo>
                    <a:pt x="210" y="378"/>
                  </a:lnTo>
                  <a:lnTo>
                    <a:pt x="216" y="384"/>
                  </a:lnTo>
                  <a:lnTo>
                    <a:pt x="228" y="384"/>
                  </a:lnTo>
                  <a:lnTo>
                    <a:pt x="240" y="390"/>
                  </a:lnTo>
                  <a:lnTo>
                    <a:pt x="258" y="390"/>
                  </a:lnTo>
                  <a:lnTo>
                    <a:pt x="264" y="384"/>
                  </a:lnTo>
                  <a:lnTo>
                    <a:pt x="270" y="372"/>
                  </a:lnTo>
                  <a:lnTo>
                    <a:pt x="282" y="366"/>
                  </a:lnTo>
                  <a:lnTo>
                    <a:pt x="264" y="348"/>
                  </a:lnTo>
                  <a:lnTo>
                    <a:pt x="264" y="342"/>
                  </a:lnTo>
                  <a:lnTo>
                    <a:pt x="294" y="342"/>
                  </a:lnTo>
                  <a:lnTo>
                    <a:pt x="312" y="384"/>
                  </a:lnTo>
                  <a:lnTo>
                    <a:pt x="342" y="384"/>
                  </a:lnTo>
                  <a:lnTo>
                    <a:pt x="348" y="378"/>
                  </a:lnTo>
                  <a:lnTo>
                    <a:pt x="354" y="366"/>
                  </a:lnTo>
                  <a:lnTo>
                    <a:pt x="360" y="360"/>
                  </a:lnTo>
                  <a:lnTo>
                    <a:pt x="366" y="360"/>
                  </a:lnTo>
                  <a:lnTo>
                    <a:pt x="366" y="390"/>
                  </a:lnTo>
                  <a:lnTo>
                    <a:pt x="372" y="396"/>
                  </a:lnTo>
                  <a:lnTo>
                    <a:pt x="384" y="396"/>
                  </a:lnTo>
                  <a:lnTo>
                    <a:pt x="390" y="390"/>
                  </a:lnTo>
                  <a:lnTo>
                    <a:pt x="396" y="378"/>
                  </a:lnTo>
                  <a:lnTo>
                    <a:pt x="396" y="354"/>
                  </a:lnTo>
                  <a:lnTo>
                    <a:pt x="408" y="348"/>
                  </a:lnTo>
                  <a:lnTo>
                    <a:pt x="414" y="342"/>
                  </a:lnTo>
                  <a:lnTo>
                    <a:pt x="408" y="318"/>
                  </a:lnTo>
                  <a:lnTo>
                    <a:pt x="414" y="306"/>
                  </a:lnTo>
                  <a:lnTo>
                    <a:pt x="414" y="258"/>
                  </a:lnTo>
                  <a:lnTo>
                    <a:pt x="420" y="252"/>
                  </a:lnTo>
                  <a:lnTo>
                    <a:pt x="420" y="240"/>
                  </a:lnTo>
                  <a:close/>
                </a:path>
              </a:pathLst>
            </a:custGeom>
            <a:solidFill>
              <a:srgbClr val="692864"/>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61" name="France" descr="© INSCALE GmbH, 05.05.2010&#10;http://www.presentationload.com/"/>
            <p:cNvSpPr>
              <a:spLocks noEditPoints="1"/>
            </p:cNvSpPr>
            <p:nvPr/>
          </p:nvSpPr>
          <p:spPr bwMode="gray">
            <a:xfrm>
              <a:off x="4122741" y="2437820"/>
              <a:ext cx="366712" cy="315913"/>
            </a:xfrm>
            <a:custGeom>
              <a:avLst/>
              <a:gdLst>
                <a:gd name="T0" fmla="*/ 2147483647 w 230"/>
                <a:gd name="T1" fmla="*/ 2147483647 h 198"/>
                <a:gd name="T2" fmla="*/ 2147483647 w 230"/>
                <a:gd name="T3" fmla="*/ 2147483647 h 198"/>
                <a:gd name="T4" fmla="*/ 2147483647 w 230"/>
                <a:gd name="T5" fmla="*/ 2147483647 h 198"/>
                <a:gd name="T6" fmla="*/ 2147483647 w 230"/>
                <a:gd name="T7" fmla="*/ 2147483647 h 198"/>
                <a:gd name="T8" fmla="*/ 2147483647 w 230"/>
                <a:gd name="T9" fmla="*/ 2147483647 h 198"/>
                <a:gd name="T10" fmla="*/ 2147483647 w 230"/>
                <a:gd name="T11" fmla="*/ 2147483647 h 198"/>
                <a:gd name="T12" fmla="*/ 2147483647 w 230"/>
                <a:gd name="T13" fmla="*/ 2147483647 h 198"/>
                <a:gd name="T14" fmla="*/ 2147483647 w 230"/>
                <a:gd name="T15" fmla="*/ 2147483647 h 198"/>
                <a:gd name="T16" fmla="*/ 2147483647 w 230"/>
                <a:gd name="T17" fmla="*/ 2147483647 h 198"/>
                <a:gd name="T18" fmla="*/ 2147483647 w 230"/>
                <a:gd name="T19" fmla="*/ 2147483647 h 198"/>
                <a:gd name="T20" fmla="*/ 2147483647 w 230"/>
                <a:gd name="T21" fmla="*/ 2147483647 h 198"/>
                <a:gd name="T22" fmla="*/ 2147483647 w 230"/>
                <a:gd name="T23" fmla="*/ 2147483647 h 198"/>
                <a:gd name="T24" fmla="*/ 2147483647 w 230"/>
                <a:gd name="T25" fmla="*/ 2147483647 h 198"/>
                <a:gd name="T26" fmla="*/ 2147483647 w 230"/>
                <a:gd name="T27" fmla="*/ 2147483647 h 198"/>
                <a:gd name="T28" fmla="*/ 2147483647 w 230"/>
                <a:gd name="T29" fmla="*/ 2147483647 h 198"/>
                <a:gd name="T30" fmla="*/ 2147483647 w 230"/>
                <a:gd name="T31" fmla="*/ 2147483647 h 198"/>
                <a:gd name="T32" fmla="*/ 2147483647 w 230"/>
                <a:gd name="T33" fmla="*/ 2147483647 h 198"/>
                <a:gd name="T34" fmla="*/ 2147483647 w 230"/>
                <a:gd name="T35" fmla="*/ 2147483647 h 198"/>
                <a:gd name="T36" fmla="*/ 2147483647 w 230"/>
                <a:gd name="T37" fmla="*/ 2147483647 h 198"/>
                <a:gd name="T38" fmla="*/ 2147483647 w 230"/>
                <a:gd name="T39" fmla="*/ 2147483647 h 198"/>
                <a:gd name="T40" fmla="*/ 2147483647 w 230"/>
                <a:gd name="T41" fmla="*/ 2147483647 h 198"/>
                <a:gd name="T42" fmla="*/ 2147483647 w 230"/>
                <a:gd name="T43" fmla="*/ 2147483647 h 198"/>
                <a:gd name="T44" fmla="*/ 2147483647 w 230"/>
                <a:gd name="T45" fmla="*/ 2147483647 h 198"/>
                <a:gd name="T46" fmla="*/ 2147483647 w 230"/>
                <a:gd name="T47" fmla="*/ 2147483647 h 198"/>
                <a:gd name="T48" fmla="*/ 2147483647 w 230"/>
                <a:gd name="T49" fmla="*/ 2147483647 h 198"/>
                <a:gd name="T50" fmla="*/ 2147483647 w 230"/>
                <a:gd name="T51" fmla="*/ 2147483647 h 198"/>
                <a:gd name="T52" fmla="*/ 2147483647 w 230"/>
                <a:gd name="T53" fmla="*/ 2147483647 h 198"/>
                <a:gd name="T54" fmla="*/ 2147483647 w 230"/>
                <a:gd name="T55" fmla="*/ 2147483647 h 198"/>
                <a:gd name="T56" fmla="*/ 2147483647 w 230"/>
                <a:gd name="T57" fmla="*/ 2147483647 h 198"/>
                <a:gd name="T58" fmla="*/ 2147483647 w 230"/>
                <a:gd name="T59" fmla="*/ 2147483647 h 198"/>
                <a:gd name="T60" fmla="*/ 2147483647 w 230"/>
                <a:gd name="T61" fmla="*/ 2147483647 h 198"/>
                <a:gd name="T62" fmla="*/ 2147483647 w 230"/>
                <a:gd name="T63" fmla="*/ 2147483647 h 198"/>
                <a:gd name="T64" fmla="*/ 2147483647 w 230"/>
                <a:gd name="T65" fmla="*/ 2147483647 h 198"/>
                <a:gd name="T66" fmla="*/ 2147483647 w 230"/>
                <a:gd name="T67" fmla="*/ 2147483647 h 198"/>
                <a:gd name="T68" fmla="*/ 2147483647 w 230"/>
                <a:gd name="T69" fmla="*/ 2147483647 h 198"/>
                <a:gd name="T70" fmla="*/ 2147483647 w 230"/>
                <a:gd name="T71" fmla="*/ 2147483647 h 198"/>
                <a:gd name="T72" fmla="*/ 2147483647 w 230"/>
                <a:gd name="T73" fmla="*/ 2147483647 h 198"/>
                <a:gd name="T74" fmla="*/ 2147483647 w 230"/>
                <a:gd name="T75" fmla="*/ 2147483647 h 198"/>
                <a:gd name="T76" fmla="*/ 2147483647 w 230"/>
                <a:gd name="T77" fmla="*/ 2147483647 h 198"/>
                <a:gd name="T78" fmla="*/ 2147483647 w 230"/>
                <a:gd name="T79" fmla="*/ 2147483647 h 198"/>
                <a:gd name="T80" fmla="*/ 2147483647 w 230"/>
                <a:gd name="T81" fmla="*/ 2147483647 h 198"/>
                <a:gd name="T82" fmla="*/ 2147483647 w 230"/>
                <a:gd name="T83" fmla="*/ 2147483647 h 198"/>
                <a:gd name="T84" fmla="*/ 2147483647 w 230"/>
                <a:gd name="T85" fmla="*/ 2147483647 h 198"/>
                <a:gd name="T86" fmla="*/ 2147483647 w 230"/>
                <a:gd name="T87" fmla="*/ 2147483647 h 198"/>
                <a:gd name="T88" fmla="*/ 2147483647 w 230"/>
                <a:gd name="T89" fmla="*/ 2147483647 h 198"/>
                <a:gd name="T90" fmla="*/ 2147483647 w 230"/>
                <a:gd name="T91" fmla="*/ 2147483647 h 198"/>
                <a:gd name="T92" fmla="*/ 2147483647 w 230"/>
                <a:gd name="T93" fmla="*/ 2147483647 h 198"/>
                <a:gd name="T94" fmla="*/ 2147483647 w 230"/>
                <a:gd name="T95" fmla="*/ 2147483647 h 198"/>
                <a:gd name="T96" fmla="*/ 2147483647 w 230"/>
                <a:gd name="T97" fmla="*/ 2147483647 h 198"/>
                <a:gd name="T98" fmla="*/ 2147483647 w 230"/>
                <a:gd name="T99" fmla="*/ 2147483647 h 198"/>
                <a:gd name="T100" fmla="*/ 2147483647 w 230"/>
                <a:gd name="T101" fmla="*/ 2147483647 h 198"/>
                <a:gd name="T102" fmla="*/ 2147483647 w 230"/>
                <a:gd name="T103" fmla="*/ 2147483647 h 198"/>
                <a:gd name="T104" fmla="*/ 2147483647 w 230"/>
                <a:gd name="T105" fmla="*/ 2147483647 h 198"/>
                <a:gd name="T106" fmla="*/ 2147483647 w 230"/>
                <a:gd name="T107" fmla="*/ 2147483647 h 198"/>
                <a:gd name="T108" fmla="*/ 2147483647 w 230"/>
                <a:gd name="T109" fmla="*/ 2147483647 h 198"/>
                <a:gd name="T110" fmla="*/ 2147483647 w 230"/>
                <a:gd name="T111" fmla="*/ 2147483647 h 198"/>
                <a:gd name="T112" fmla="*/ 2147483647 w 230"/>
                <a:gd name="T113" fmla="*/ 2147483647 h 198"/>
                <a:gd name="T114" fmla="*/ 2147483647 w 230"/>
                <a:gd name="T115" fmla="*/ 2147483647 h 198"/>
                <a:gd name="T116" fmla="*/ 2147483647 w 230"/>
                <a:gd name="T117" fmla="*/ 2147483647 h 198"/>
                <a:gd name="T118" fmla="*/ 2147483647 w 230"/>
                <a:gd name="T119" fmla="*/ 2147483647 h 198"/>
                <a:gd name="T120" fmla="*/ 2147483647 w 230"/>
                <a:gd name="T121" fmla="*/ 2147483647 h 19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30"/>
                <a:gd name="T184" fmla="*/ 0 h 198"/>
                <a:gd name="T185" fmla="*/ 230 w 230"/>
                <a:gd name="T186" fmla="*/ 198 h 19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30" h="198">
                  <a:moveTo>
                    <a:pt x="230" y="172"/>
                  </a:moveTo>
                  <a:lnTo>
                    <a:pt x="230" y="172"/>
                  </a:lnTo>
                  <a:lnTo>
                    <a:pt x="230" y="166"/>
                  </a:lnTo>
                  <a:lnTo>
                    <a:pt x="228" y="166"/>
                  </a:lnTo>
                  <a:lnTo>
                    <a:pt x="224" y="168"/>
                  </a:lnTo>
                  <a:lnTo>
                    <a:pt x="224" y="170"/>
                  </a:lnTo>
                  <a:lnTo>
                    <a:pt x="220" y="172"/>
                  </a:lnTo>
                  <a:lnTo>
                    <a:pt x="218" y="174"/>
                  </a:lnTo>
                  <a:lnTo>
                    <a:pt x="216" y="178"/>
                  </a:lnTo>
                  <a:lnTo>
                    <a:pt x="216" y="182"/>
                  </a:lnTo>
                  <a:lnTo>
                    <a:pt x="218" y="186"/>
                  </a:lnTo>
                  <a:lnTo>
                    <a:pt x="218" y="190"/>
                  </a:lnTo>
                  <a:lnTo>
                    <a:pt x="218" y="192"/>
                  </a:lnTo>
                  <a:lnTo>
                    <a:pt x="218" y="194"/>
                  </a:lnTo>
                  <a:lnTo>
                    <a:pt x="222" y="196"/>
                  </a:lnTo>
                  <a:lnTo>
                    <a:pt x="224" y="198"/>
                  </a:lnTo>
                  <a:lnTo>
                    <a:pt x="230" y="192"/>
                  </a:lnTo>
                  <a:lnTo>
                    <a:pt x="230" y="186"/>
                  </a:lnTo>
                  <a:lnTo>
                    <a:pt x="228" y="186"/>
                  </a:lnTo>
                  <a:lnTo>
                    <a:pt x="230" y="184"/>
                  </a:lnTo>
                  <a:lnTo>
                    <a:pt x="230" y="172"/>
                  </a:lnTo>
                  <a:close/>
                  <a:moveTo>
                    <a:pt x="198" y="40"/>
                  </a:moveTo>
                  <a:lnTo>
                    <a:pt x="198" y="40"/>
                  </a:lnTo>
                  <a:lnTo>
                    <a:pt x="196" y="40"/>
                  </a:lnTo>
                  <a:lnTo>
                    <a:pt x="192" y="40"/>
                  </a:lnTo>
                  <a:lnTo>
                    <a:pt x="190" y="40"/>
                  </a:lnTo>
                  <a:lnTo>
                    <a:pt x="184" y="40"/>
                  </a:lnTo>
                  <a:lnTo>
                    <a:pt x="184" y="34"/>
                  </a:lnTo>
                  <a:lnTo>
                    <a:pt x="182" y="34"/>
                  </a:lnTo>
                  <a:lnTo>
                    <a:pt x="182" y="32"/>
                  </a:lnTo>
                  <a:lnTo>
                    <a:pt x="178" y="30"/>
                  </a:lnTo>
                  <a:lnTo>
                    <a:pt x="174" y="34"/>
                  </a:lnTo>
                  <a:lnTo>
                    <a:pt x="172" y="32"/>
                  </a:lnTo>
                  <a:lnTo>
                    <a:pt x="166" y="32"/>
                  </a:lnTo>
                  <a:lnTo>
                    <a:pt x="164" y="28"/>
                  </a:lnTo>
                  <a:lnTo>
                    <a:pt x="162" y="28"/>
                  </a:lnTo>
                  <a:lnTo>
                    <a:pt x="158" y="28"/>
                  </a:lnTo>
                  <a:lnTo>
                    <a:pt x="156" y="28"/>
                  </a:lnTo>
                  <a:lnTo>
                    <a:pt x="156" y="22"/>
                  </a:lnTo>
                  <a:lnTo>
                    <a:pt x="152" y="24"/>
                  </a:lnTo>
                  <a:lnTo>
                    <a:pt x="146" y="24"/>
                  </a:lnTo>
                  <a:lnTo>
                    <a:pt x="146" y="18"/>
                  </a:lnTo>
                  <a:lnTo>
                    <a:pt x="144" y="16"/>
                  </a:lnTo>
                  <a:lnTo>
                    <a:pt x="142" y="14"/>
                  </a:lnTo>
                  <a:lnTo>
                    <a:pt x="136" y="14"/>
                  </a:lnTo>
                  <a:lnTo>
                    <a:pt x="132" y="12"/>
                  </a:lnTo>
                  <a:lnTo>
                    <a:pt x="126" y="10"/>
                  </a:lnTo>
                  <a:lnTo>
                    <a:pt x="126" y="6"/>
                  </a:lnTo>
                  <a:lnTo>
                    <a:pt x="126" y="0"/>
                  </a:lnTo>
                  <a:lnTo>
                    <a:pt x="118" y="0"/>
                  </a:lnTo>
                  <a:lnTo>
                    <a:pt x="114" y="2"/>
                  </a:lnTo>
                  <a:lnTo>
                    <a:pt x="112" y="2"/>
                  </a:lnTo>
                  <a:lnTo>
                    <a:pt x="110" y="4"/>
                  </a:lnTo>
                  <a:lnTo>
                    <a:pt x="104" y="4"/>
                  </a:lnTo>
                  <a:lnTo>
                    <a:pt x="104" y="6"/>
                  </a:lnTo>
                  <a:lnTo>
                    <a:pt x="104" y="8"/>
                  </a:lnTo>
                  <a:lnTo>
                    <a:pt x="104" y="12"/>
                  </a:lnTo>
                  <a:lnTo>
                    <a:pt x="106" y="14"/>
                  </a:lnTo>
                  <a:lnTo>
                    <a:pt x="106" y="20"/>
                  </a:lnTo>
                  <a:lnTo>
                    <a:pt x="104" y="22"/>
                  </a:lnTo>
                  <a:lnTo>
                    <a:pt x="98" y="24"/>
                  </a:lnTo>
                  <a:lnTo>
                    <a:pt x="92" y="24"/>
                  </a:lnTo>
                  <a:lnTo>
                    <a:pt x="82" y="32"/>
                  </a:lnTo>
                  <a:lnTo>
                    <a:pt x="86" y="34"/>
                  </a:lnTo>
                  <a:lnTo>
                    <a:pt x="84" y="34"/>
                  </a:lnTo>
                  <a:lnTo>
                    <a:pt x="82" y="34"/>
                  </a:lnTo>
                  <a:lnTo>
                    <a:pt x="76" y="38"/>
                  </a:lnTo>
                  <a:lnTo>
                    <a:pt x="68" y="38"/>
                  </a:lnTo>
                  <a:lnTo>
                    <a:pt x="66" y="36"/>
                  </a:lnTo>
                  <a:lnTo>
                    <a:pt x="60" y="30"/>
                  </a:lnTo>
                  <a:lnTo>
                    <a:pt x="58" y="30"/>
                  </a:lnTo>
                  <a:lnTo>
                    <a:pt x="56" y="28"/>
                  </a:lnTo>
                  <a:lnTo>
                    <a:pt x="52" y="28"/>
                  </a:lnTo>
                  <a:lnTo>
                    <a:pt x="52" y="30"/>
                  </a:lnTo>
                  <a:lnTo>
                    <a:pt x="52" y="34"/>
                  </a:lnTo>
                  <a:lnTo>
                    <a:pt x="54" y="34"/>
                  </a:lnTo>
                  <a:lnTo>
                    <a:pt x="56" y="38"/>
                  </a:lnTo>
                  <a:lnTo>
                    <a:pt x="58" y="40"/>
                  </a:lnTo>
                  <a:lnTo>
                    <a:pt x="58" y="46"/>
                  </a:lnTo>
                  <a:lnTo>
                    <a:pt x="56" y="48"/>
                  </a:lnTo>
                  <a:lnTo>
                    <a:pt x="54" y="48"/>
                  </a:lnTo>
                  <a:lnTo>
                    <a:pt x="48" y="48"/>
                  </a:lnTo>
                  <a:lnTo>
                    <a:pt x="38" y="48"/>
                  </a:lnTo>
                  <a:lnTo>
                    <a:pt x="38" y="54"/>
                  </a:lnTo>
                  <a:lnTo>
                    <a:pt x="36" y="52"/>
                  </a:lnTo>
                  <a:lnTo>
                    <a:pt x="34" y="48"/>
                  </a:lnTo>
                  <a:lnTo>
                    <a:pt x="32" y="48"/>
                  </a:lnTo>
                  <a:lnTo>
                    <a:pt x="30" y="46"/>
                  </a:lnTo>
                  <a:lnTo>
                    <a:pt x="26" y="46"/>
                  </a:lnTo>
                  <a:lnTo>
                    <a:pt x="24" y="48"/>
                  </a:lnTo>
                  <a:lnTo>
                    <a:pt x="22" y="48"/>
                  </a:lnTo>
                  <a:lnTo>
                    <a:pt x="20" y="48"/>
                  </a:lnTo>
                  <a:lnTo>
                    <a:pt x="16" y="48"/>
                  </a:lnTo>
                  <a:lnTo>
                    <a:pt x="12" y="50"/>
                  </a:lnTo>
                  <a:lnTo>
                    <a:pt x="8" y="50"/>
                  </a:lnTo>
                  <a:lnTo>
                    <a:pt x="6" y="52"/>
                  </a:lnTo>
                  <a:lnTo>
                    <a:pt x="4" y="54"/>
                  </a:lnTo>
                  <a:lnTo>
                    <a:pt x="6" y="56"/>
                  </a:lnTo>
                  <a:lnTo>
                    <a:pt x="8" y="56"/>
                  </a:lnTo>
                  <a:lnTo>
                    <a:pt x="10" y="58"/>
                  </a:lnTo>
                  <a:lnTo>
                    <a:pt x="10" y="60"/>
                  </a:lnTo>
                  <a:lnTo>
                    <a:pt x="6" y="60"/>
                  </a:lnTo>
                  <a:lnTo>
                    <a:pt x="2" y="60"/>
                  </a:lnTo>
                  <a:lnTo>
                    <a:pt x="0" y="60"/>
                  </a:lnTo>
                  <a:lnTo>
                    <a:pt x="0" y="62"/>
                  </a:lnTo>
                  <a:lnTo>
                    <a:pt x="6" y="66"/>
                  </a:lnTo>
                  <a:lnTo>
                    <a:pt x="12" y="66"/>
                  </a:lnTo>
                  <a:lnTo>
                    <a:pt x="12" y="64"/>
                  </a:lnTo>
                  <a:lnTo>
                    <a:pt x="26" y="72"/>
                  </a:lnTo>
                  <a:lnTo>
                    <a:pt x="32" y="72"/>
                  </a:lnTo>
                  <a:lnTo>
                    <a:pt x="38" y="76"/>
                  </a:lnTo>
                  <a:lnTo>
                    <a:pt x="48" y="76"/>
                  </a:lnTo>
                  <a:lnTo>
                    <a:pt x="40" y="80"/>
                  </a:lnTo>
                  <a:lnTo>
                    <a:pt x="42" y="84"/>
                  </a:lnTo>
                  <a:lnTo>
                    <a:pt x="44" y="86"/>
                  </a:lnTo>
                  <a:lnTo>
                    <a:pt x="46" y="92"/>
                  </a:lnTo>
                  <a:lnTo>
                    <a:pt x="52" y="96"/>
                  </a:lnTo>
                  <a:lnTo>
                    <a:pt x="58" y="96"/>
                  </a:lnTo>
                  <a:lnTo>
                    <a:pt x="58" y="106"/>
                  </a:lnTo>
                  <a:lnTo>
                    <a:pt x="62" y="114"/>
                  </a:lnTo>
                  <a:lnTo>
                    <a:pt x="66" y="124"/>
                  </a:lnTo>
                  <a:lnTo>
                    <a:pt x="58" y="114"/>
                  </a:lnTo>
                  <a:lnTo>
                    <a:pt x="58" y="118"/>
                  </a:lnTo>
                  <a:lnTo>
                    <a:pt x="56" y="120"/>
                  </a:lnTo>
                  <a:lnTo>
                    <a:pt x="56" y="132"/>
                  </a:lnTo>
                  <a:lnTo>
                    <a:pt x="54" y="134"/>
                  </a:lnTo>
                  <a:lnTo>
                    <a:pt x="52" y="144"/>
                  </a:lnTo>
                  <a:lnTo>
                    <a:pt x="52" y="146"/>
                  </a:lnTo>
                  <a:lnTo>
                    <a:pt x="50" y="150"/>
                  </a:lnTo>
                  <a:lnTo>
                    <a:pt x="50" y="152"/>
                  </a:lnTo>
                  <a:lnTo>
                    <a:pt x="48" y="152"/>
                  </a:lnTo>
                  <a:lnTo>
                    <a:pt x="48" y="154"/>
                  </a:lnTo>
                  <a:lnTo>
                    <a:pt x="46" y="156"/>
                  </a:lnTo>
                  <a:lnTo>
                    <a:pt x="44" y="158"/>
                  </a:lnTo>
                  <a:lnTo>
                    <a:pt x="46" y="160"/>
                  </a:lnTo>
                  <a:lnTo>
                    <a:pt x="46" y="158"/>
                  </a:lnTo>
                  <a:lnTo>
                    <a:pt x="48" y="158"/>
                  </a:lnTo>
                  <a:lnTo>
                    <a:pt x="52" y="160"/>
                  </a:lnTo>
                  <a:lnTo>
                    <a:pt x="52" y="162"/>
                  </a:lnTo>
                  <a:lnTo>
                    <a:pt x="50" y="164"/>
                  </a:lnTo>
                  <a:lnTo>
                    <a:pt x="60" y="164"/>
                  </a:lnTo>
                  <a:lnTo>
                    <a:pt x="64" y="168"/>
                  </a:lnTo>
                  <a:lnTo>
                    <a:pt x="66" y="166"/>
                  </a:lnTo>
                  <a:lnTo>
                    <a:pt x="68" y="166"/>
                  </a:lnTo>
                  <a:lnTo>
                    <a:pt x="72" y="170"/>
                  </a:lnTo>
                  <a:lnTo>
                    <a:pt x="78" y="170"/>
                  </a:lnTo>
                  <a:lnTo>
                    <a:pt x="78" y="172"/>
                  </a:lnTo>
                  <a:lnTo>
                    <a:pt x="84" y="172"/>
                  </a:lnTo>
                  <a:lnTo>
                    <a:pt x="84" y="168"/>
                  </a:lnTo>
                  <a:lnTo>
                    <a:pt x="86" y="166"/>
                  </a:lnTo>
                  <a:lnTo>
                    <a:pt x="90" y="166"/>
                  </a:lnTo>
                  <a:lnTo>
                    <a:pt x="92" y="168"/>
                  </a:lnTo>
                  <a:lnTo>
                    <a:pt x="92" y="170"/>
                  </a:lnTo>
                  <a:lnTo>
                    <a:pt x="96" y="170"/>
                  </a:lnTo>
                  <a:lnTo>
                    <a:pt x="96" y="172"/>
                  </a:lnTo>
                  <a:lnTo>
                    <a:pt x="104" y="172"/>
                  </a:lnTo>
                  <a:lnTo>
                    <a:pt x="104" y="174"/>
                  </a:lnTo>
                  <a:lnTo>
                    <a:pt x="104" y="176"/>
                  </a:lnTo>
                  <a:lnTo>
                    <a:pt x="112" y="176"/>
                  </a:lnTo>
                  <a:lnTo>
                    <a:pt x="112" y="178"/>
                  </a:lnTo>
                  <a:lnTo>
                    <a:pt x="118" y="178"/>
                  </a:lnTo>
                  <a:lnTo>
                    <a:pt x="118" y="176"/>
                  </a:lnTo>
                  <a:lnTo>
                    <a:pt x="118" y="174"/>
                  </a:lnTo>
                  <a:lnTo>
                    <a:pt x="122" y="174"/>
                  </a:lnTo>
                  <a:lnTo>
                    <a:pt x="122" y="170"/>
                  </a:lnTo>
                  <a:lnTo>
                    <a:pt x="126" y="164"/>
                  </a:lnTo>
                  <a:lnTo>
                    <a:pt x="130" y="160"/>
                  </a:lnTo>
                  <a:lnTo>
                    <a:pt x="132" y="158"/>
                  </a:lnTo>
                  <a:lnTo>
                    <a:pt x="134" y="156"/>
                  </a:lnTo>
                  <a:lnTo>
                    <a:pt x="138" y="154"/>
                  </a:lnTo>
                  <a:lnTo>
                    <a:pt x="140" y="152"/>
                  </a:lnTo>
                  <a:lnTo>
                    <a:pt x="144" y="152"/>
                  </a:lnTo>
                  <a:lnTo>
                    <a:pt x="146" y="154"/>
                  </a:lnTo>
                  <a:lnTo>
                    <a:pt x="150" y="154"/>
                  </a:lnTo>
                  <a:lnTo>
                    <a:pt x="152" y="156"/>
                  </a:lnTo>
                  <a:lnTo>
                    <a:pt x="162" y="156"/>
                  </a:lnTo>
                  <a:lnTo>
                    <a:pt x="166" y="160"/>
                  </a:lnTo>
                  <a:lnTo>
                    <a:pt x="166" y="162"/>
                  </a:lnTo>
                  <a:lnTo>
                    <a:pt x="170" y="162"/>
                  </a:lnTo>
                  <a:lnTo>
                    <a:pt x="172" y="164"/>
                  </a:lnTo>
                  <a:lnTo>
                    <a:pt x="178" y="164"/>
                  </a:lnTo>
                  <a:lnTo>
                    <a:pt x="182" y="162"/>
                  </a:lnTo>
                  <a:lnTo>
                    <a:pt x="184" y="160"/>
                  </a:lnTo>
                  <a:lnTo>
                    <a:pt x="186" y="154"/>
                  </a:lnTo>
                  <a:lnTo>
                    <a:pt x="192" y="150"/>
                  </a:lnTo>
                  <a:lnTo>
                    <a:pt x="196" y="150"/>
                  </a:lnTo>
                  <a:lnTo>
                    <a:pt x="196" y="148"/>
                  </a:lnTo>
                  <a:lnTo>
                    <a:pt x="200" y="144"/>
                  </a:lnTo>
                  <a:lnTo>
                    <a:pt x="200" y="142"/>
                  </a:lnTo>
                  <a:lnTo>
                    <a:pt x="198" y="140"/>
                  </a:lnTo>
                  <a:lnTo>
                    <a:pt x="192" y="140"/>
                  </a:lnTo>
                  <a:lnTo>
                    <a:pt x="188" y="138"/>
                  </a:lnTo>
                  <a:lnTo>
                    <a:pt x="186" y="136"/>
                  </a:lnTo>
                  <a:lnTo>
                    <a:pt x="186" y="134"/>
                  </a:lnTo>
                  <a:lnTo>
                    <a:pt x="188" y="132"/>
                  </a:lnTo>
                  <a:lnTo>
                    <a:pt x="190" y="130"/>
                  </a:lnTo>
                  <a:lnTo>
                    <a:pt x="190" y="126"/>
                  </a:lnTo>
                  <a:lnTo>
                    <a:pt x="188" y="126"/>
                  </a:lnTo>
                  <a:lnTo>
                    <a:pt x="184" y="126"/>
                  </a:lnTo>
                  <a:lnTo>
                    <a:pt x="182" y="120"/>
                  </a:lnTo>
                  <a:lnTo>
                    <a:pt x="188" y="120"/>
                  </a:lnTo>
                  <a:lnTo>
                    <a:pt x="192" y="116"/>
                  </a:lnTo>
                  <a:lnTo>
                    <a:pt x="192" y="114"/>
                  </a:lnTo>
                  <a:lnTo>
                    <a:pt x="186" y="108"/>
                  </a:lnTo>
                  <a:lnTo>
                    <a:pt x="188" y="106"/>
                  </a:lnTo>
                  <a:lnTo>
                    <a:pt x="190" y="106"/>
                  </a:lnTo>
                  <a:lnTo>
                    <a:pt x="190" y="104"/>
                  </a:lnTo>
                  <a:lnTo>
                    <a:pt x="186" y="100"/>
                  </a:lnTo>
                  <a:lnTo>
                    <a:pt x="188" y="94"/>
                  </a:lnTo>
                  <a:lnTo>
                    <a:pt x="186" y="94"/>
                  </a:lnTo>
                  <a:lnTo>
                    <a:pt x="182" y="94"/>
                  </a:lnTo>
                  <a:lnTo>
                    <a:pt x="176" y="100"/>
                  </a:lnTo>
                  <a:lnTo>
                    <a:pt x="174" y="100"/>
                  </a:lnTo>
                  <a:lnTo>
                    <a:pt x="174" y="98"/>
                  </a:lnTo>
                  <a:lnTo>
                    <a:pt x="176" y="96"/>
                  </a:lnTo>
                  <a:lnTo>
                    <a:pt x="174" y="94"/>
                  </a:lnTo>
                  <a:lnTo>
                    <a:pt x="178" y="92"/>
                  </a:lnTo>
                  <a:lnTo>
                    <a:pt x="178" y="88"/>
                  </a:lnTo>
                  <a:lnTo>
                    <a:pt x="182" y="86"/>
                  </a:lnTo>
                  <a:lnTo>
                    <a:pt x="182" y="82"/>
                  </a:lnTo>
                  <a:lnTo>
                    <a:pt x="186" y="82"/>
                  </a:lnTo>
                  <a:lnTo>
                    <a:pt x="188" y="80"/>
                  </a:lnTo>
                  <a:lnTo>
                    <a:pt x="190" y="78"/>
                  </a:lnTo>
                  <a:lnTo>
                    <a:pt x="192" y="76"/>
                  </a:lnTo>
                  <a:lnTo>
                    <a:pt x="192" y="74"/>
                  </a:lnTo>
                  <a:lnTo>
                    <a:pt x="198" y="76"/>
                  </a:lnTo>
                  <a:lnTo>
                    <a:pt x="198" y="72"/>
                  </a:lnTo>
                  <a:lnTo>
                    <a:pt x="198" y="60"/>
                  </a:lnTo>
                  <a:lnTo>
                    <a:pt x="200" y="58"/>
                  </a:lnTo>
                  <a:lnTo>
                    <a:pt x="202" y="56"/>
                  </a:lnTo>
                  <a:lnTo>
                    <a:pt x="204" y="54"/>
                  </a:lnTo>
                  <a:lnTo>
                    <a:pt x="204" y="50"/>
                  </a:lnTo>
                  <a:lnTo>
                    <a:pt x="208" y="46"/>
                  </a:lnTo>
                  <a:lnTo>
                    <a:pt x="210" y="42"/>
                  </a:lnTo>
                  <a:lnTo>
                    <a:pt x="204" y="40"/>
                  </a:lnTo>
                  <a:lnTo>
                    <a:pt x="198" y="40"/>
                  </a:lnTo>
                  <a:close/>
                </a:path>
              </a:pathLst>
            </a:custGeom>
            <a:solidFill>
              <a:srgbClr val="005995"/>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62" name="Finland" descr="© INSCALE GmbH, 05.05.2010&#10;http://www.presentationload.com/"/>
            <p:cNvSpPr>
              <a:spLocks/>
            </p:cNvSpPr>
            <p:nvPr/>
          </p:nvSpPr>
          <p:spPr bwMode="gray">
            <a:xfrm>
              <a:off x="4724404" y="1870077"/>
              <a:ext cx="254001" cy="288925"/>
            </a:xfrm>
            <a:custGeom>
              <a:avLst/>
              <a:gdLst>
                <a:gd name="T0" fmla="*/ 2147483647 w 630"/>
                <a:gd name="T1" fmla="*/ 2147483647 h 714"/>
                <a:gd name="T2" fmla="*/ 2147483647 w 630"/>
                <a:gd name="T3" fmla="*/ 2147483647 h 714"/>
                <a:gd name="T4" fmla="*/ 2147483647 w 630"/>
                <a:gd name="T5" fmla="*/ 2147483647 h 714"/>
                <a:gd name="T6" fmla="*/ 2147483647 w 630"/>
                <a:gd name="T7" fmla="*/ 2147483647 h 714"/>
                <a:gd name="T8" fmla="*/ 2147483647 w 630"/>
                <a:gd name="T9" fmla="*/ 2147483647 h 714"/>
                <a:gd name="T10" fmla="*/ 2147483647 w 630"/>
                <a:gd name="T11" fmla="*/ 2147483647 h 714"/>
                <a:gd name="T12" fmla="*/ 2147483647 w 630"/>
                <a:gd name="T13" fmla="*/ 2147483647 h 714"/>
                <a:gd name="T14" fmla="*/ 2147483647 w 630"/>
                <a:gd name="T15" fmla="*/ 2147483647 h 714"/>
                <a:gd name="T16" fmla="*/ 2147483647 w 630"/>
                <a:gd name="T17" fmla="*/ 2147483647 h 714"/>
                <a:gd name="T18" fmla="*/ 2147483647 w 630"/>
                <a:gd name="T19" fmla="*/ 2147483647 h 714"/>
                <a:gd name="T20" fmla="*/ 2147483647 w 630"/>
                <a:gd name="T21" fmla="*/ 2147483647 h 714"/>
                <a:gd name="T22" fmla="*/ 2147483647 w 630"/>
                <a:gd name="T23" fmla="*/ 2147483647 h 714"/>
                <a:gd name="T24" fmla="*/ 2147483647 w 630"/>
                <a:gd name="T25" fmla="*/ 2147483647 h 714"/>
                <a:gd name="T26" fmla="*/ 2147483647 w 630"/>
                <a:gd name="T27" fmla="*/ 2147483647 h 714"/>
                <a:gd name="T28" fmla="*/ 2147483647 w 630"/>
                <a:gd name="T29" fmla="*/ 2147483647 h 714"/>
                <a:gd name="T30" fmla="*/ 2147483647 w 630"/>
                <a:gd name="T31" fmla="*/ 2147483647 h 714"/>
                <a:gd name="T32" fmla="*/ 2147483647 w 630"/>
                <a:gd name="T33" fmla="*/ 2147483647 h 714"/>
                <a:gd name="T34" fmla="*/ 2147483647 w 630"/>
                <a:gd name="T35" fmla="*/ 2147483647 h 714"/>
                <a:gd name="T36" fmla="*/ 2147483647 w 630"/>
                <a:gd name="T37" fmla="*/ 2147483647 h 714"/>
                <a:gd name="T38" fmla="*/ 2147483647 w 630"/>
                <a:gd name="T39" fmla="*/ 2147483647 h 714"/>
                <a:gd name="T40" fmla="*/ 2147483647 w 630"/>
                <a:gd name="T41" fmla="*/ 2147483647 h 714"/>
                <a:gd name="T42" fmla="*/ 2147483647 w 630"/>
                <a:gd name="T43" fmla="*/ 2147483647 h 714"/>
                <a:gd name="T44" fmla="*/ 2147483647 w 630"/>
                <a:gd name="T45" fmla="*/ 2147483647 h 714"/>
                <a:gd name="T46" fmla="*/ 2147483647 w 630"/>
                <a:gd name="T47" fmla="*/ 2147483647 h 714"/>
                <a:gd name="T48" fmla="*/ 2147483647 w 630"/>
                <a:gd name="T49" fmla="*/ 2147483647 h 714"/>
                <a:gd name="T50" fmla="*/ 2147483647 w 630"/>
                <a:gd name="T51" fmla="*/ 2147483647 h 714"/>
                <a:gd name="T52" fmla="*/ 2147483647 w 630"/>
                <a:gd name="T53" fmla="*/ 2147483647 h 714"/>
                <a:gd name="T54" fmla="*/ 2147483647 w 630"/>
                <a:gd name="T55" fmla="*/ 2147483647 h 714"/>
                <a:gd name="T56" fmla="*/ 2147483647 w 630"/>
                <a:gd name="T57" fmla="*/ 2147483647 h 714"/>
                <a:gd name="T58" fmla="*/ 2147483647 w 630"/>
                <a:gd name="T59" fmla="*/ 2147483647 h 714"/>
                <a:gd name="T60" fmla="*/ 2147483647 w 630"/>
                <a:gd name="T61" fmla="*/ 2147483647 h 714"/>
                <a:gd name="T62" fmla="*/ 2147483647 w 630"/>
                <a:gd name="T63" fmla="*/ 2147483647 h 714"/>
                <a:gd name="T64" fmla="*/ 2147483647 w 630"/>
                <a:gd name="T65" fmla="*/ 2147483647 h 714"/>
                <a:gd name="T66" fmla="*/ 2147483647 w 630"/>
                <a:gd name="T67" fmla="*/ 2147483647 h 714"/>
                <a:gd name="T68" fmla="*/ 2147483647 w 630"/>
                <a:gd name="T69" fmla="*/ 2147483647 h 714"/>
                <a:gd name="T70" fmla="*/ 2147483647 w 630"/>
                <a:gd name="T71" fmla="*/ 2147483647 h 714"/>
                <a:gd name="T72" fmla="*/ 2147483647 w 630"/>
                <a:gd name="T73" fmla="*/ 2147483647 h 714"/>
                <a:gd name="T74" fmla="*/ 2147483647 w 630"/>
                <a:gd name="T75" fmla="*/ 2147483647 h 714"/>
                <a:gd name="T76" fmla="*/ 2147483647 w 630"/>
                <a:gd name="T77" fmla="*/ 2147483647 h 714"/>
                <a:gd name="T78" fmla="*/ 2147483647 w 630"/>
                <a:gd name="T79" fmla="*/ 2147483647 h 714"/>
                <a:gd name="T80" fmla="*/ 2147483647 w 630"/>
                <a:gd name="T81" fmla="*/ 2147483647 h 714"/>
                <a:gd name="T82" fmla="*/ 2147483647 w 630"/>
                <a:gd name="T83" fmla="*/ 2147483647 h 714"/>
                <a:gd name="T84" fmla="*/ 2147483647 w 630"/>
                <a:gd name="T85" fmla="*/ 2147483647 h 714"/>
                <a:gd name="T86" fmla="*/ 2147483647 w 630"/>
                <a:gd name="T87" fmla="*/ 2147483647 h 714"/>
                <a:gd name="T88" fmla="*/ 2147483647 w 630"/>
                <a:gd name="T89" fmla="*/ 2147483647 h 714"/>
                <a:gd name="T90" fmla="*/ 2147483647 w 630"/>
                <a:gd name="T91" fmla="*/ 2147483647 h 714"/>
                <a:gd name="T92" fmla="*/ 2147483647 w 630"/>
                <a:gd name="T93" fmla="*/ 2147483647 h 714"/>
                <a:gd name="T94" fmla="*/ 2147483647 w 630"/>
                <a:gd name="T95" fmla="*/ 2147483647 h 714"/>
                <a:gd name="T96" fmla="*/ 2147483647 w 630"/>
                <a:gd name="T97" fmla="*/ 2147483647 h 714"/>
                <a:gd name="T98" fmla="*/ 2147483647 w 630"/>
                <a:gd name="T99" fmla="*/ 2147483647 h 714"/>
                <a:gd name="T100" fmla="*/ 2147483647 w 630"/>
                <a:gd name="T101" fmla="*/ 2147483647 h 714"/>
                <a:gd name="T102" fmla="*/ 2147483647 w 630"/>
                <a:gd name="T103" fmla="*/ 2147483647 h 714"/>
                <a:gd name="T104" fmla="*/ 2147483647 w 630"/>
                <a:gd name="T105" fmla="*/ 2147483647 h 714"/>
                <a:gd name="T106" fmla="*/ 2147483647 w 630"/>
                <a:gd name="T107" fmla="*/ 0 h 714"/>
                <a:gd name="T108" fmla="*/ 2147483647 w 630"/>
                <a:gd name="T109" fmla="*/ 2147483647 h 714"/>
                <a:gd name="T110" fmla="*/ 2147483647 w 630"/>
                <a:gd name="T111" fmla="*/ 2147483647 h 714"/>
                <a:gd name="T112" fmla="*/ 2147483647 w 630"/>
                <a:gd name="T113" fmla="*/ 2147483647 h 714"/>
                <a:gd name="T114" fmla="*/ 2147483647 w 630"/>
                <a:gd name="T115" fmla="*/ 2147483647 h 714"/>
                <a:gd name="T116" fmla="*/ 2147483647 w 630"/>
                <a:gd name="T117" fmla="*/ 2147483647 h 71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30"/>
                <a:gd name="T178" fmla="*/ 0 h 714"/>
                <a:gd name="T179" fmla="*/ 630 w 630"/>
                <a:gd name="T180" fmla="*/ 714 h 71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30" h="714">
                  <a:moveTo>
                    <a:pt x="162" y="84"/>
                  </a:moveTo>
                  <a:lnTo>
                    <a:pt x="156" y="90"/>
                  </a:lnTo>
                  <a:lnTo>
                    <a:pt x="144" y="96"/>
                  </a:lnTo>
                  <a:lnTo>
                    <a:pt x="132" y="96"/>
                  </a:lnTo>
                  <a:lnTo>
                    <a:pt x="126" y="90"/>
                  </a:lnTo>
                  <a:lnTo>
                    <a:pt x="108" y="90"/>
                  </a:lnTo>
                  <a:lnTo>
                    <a:pt x="96" y="84"/>
                  </a:lnTo>
                  <a:lnTo>
                    <a:pt x="84" y="84"/>
                  </a:lnTo>
                  <a:lnTo>
                    <a:pt x="72" y="72"/>
                  </a:lnTo>
                  <a:lnTo>
                    <a:pt x="60" y="66"/>
                  </a:lnTo>
                  <a:lnTo>
                    <a:pt x="54" y="54"/>
                  </a:lnTo>
                  <a:lnTo>
                    <a:pt x="48" y="48"/>
                  </a:lnTo>
                  <a:lnTo>
                    <a:pt x="30" y="48"/>
                  </a:lnTo>
                  <a:lnTo>
                    <a:pt x="24" y="54"/>
                  </a:lnTo>
                  <a:lnTo>
                    <a:pt x="24" y="66"/>
                  </a:lnTo>
                  <a:lnTo>
                    <a:pt x="6" y="60"/>
                  </a:lnTo>
                  <a:lnTo>
                    <a:pt x="0" y="66"/>
                  </a:lnTo>
                  <a:lnTo>
                    <a:pt x="6" y="72"/>
                  </a:lnTo>
                  <a:lnTo>
                    <a:pt x="18" y="78"/>
                  </a:lnTo>
                  <a:lnTo>
                    <a:pt x="24" y="84"/>
                  </a:lnTo>
                  <a:lnTo>
                    <a:pt x="36" y="90"/>
                  </a:lnTo>
                  <a:lnTo>
                    <a:pt x="48" y="90"/>
                  </a:lnTo>
                  <a:lnTo>
                    <a:pt x="54" y="96"/>
                  </a:lnTo>
                  <a:lnTo>
                    <a:pt x="60" y="96"/>
                  </a:lnTo>
                  <a:lnTo>
                    <a:pt x="72" y="108"/>
                  </a:lnTo>
                  <a:lnTo>
                    <a:pt x="108" y="108"/>
                  </a:lnTo>
                  <a:lnTo>
                    <a:pt x="138" y="126"/>
                  </a:lnTo>
                  <a:lnTo>
                    <a:pt x="150" y="126"/>
                  </a:lnTo>
                  <a:lnTo>
                    <a:pt x="156" y="132"/>
                  </a:lnTo>
                  <a:lnTo>
                    <a:pt x="162" y="132"/>
                  </a:lnTo>
                  <a:lnTo>
                    <a:pt x="162" y="156"/>
                  </a:lnTo>
                  <a:lnTo>
                    <a:pt x="156" y="162"/>
                  </a:lnTo>
                  <a:lnTo>
                    <a:pt x="156" y="168"/>
                  </a:lnTo>
                  <a:lnTo>
                    <a:pt x="168" y="174"/>
                  </a:lnTo>
                  <a:lnTo>
                    <a:pt x="162" y="198"/>
                  </a:lnTo>
                  <a:lnTo>
                    <a:pt x="186" y="210"/>
                  </a:lnTo>
                  <a:lnTo>
                    <a:pt x="180" y="222"/>
                  </a:lnTo>
                  <a:lnTo>
                    <a:pt x="174" y="228"/>
                  </a:lnTo>
                  <a:lnTo>
                    <a:pt x="168" y="240"/>
                  </a:lnTo>
                  <a:lnTo>
                    <a:pt x="168" y="246"/>
                  </a:lnTo>
                  <a:lnTo>
                    <a:pt x="180" y="258"/>
                  </a:lnTo>
                  <a:lnTo>
                    <a:pt x="192" y="264"/>
                  </a:lnTo>
                  <a:lnTo>
                    <a:pt x="198" y="270"/>
                  </a:lnTo>
                  <a:lnTo>
                    <a:pt x="210" y="306"/>
                  </a:lnTo>
                  <a:lnTo>
                    <a:pt x="222" y="294"/>
                  </a:lnTo>
                  <a:lnTo>
                    <a:pt x="228" y="294"/>
                  </a:lnTo>
                  <a:lnTo>
                    <a:pt x="234" y="300"/>
                  </a:lnTo>
                  <a:lnTo>
                    <a:pt x="246" y="300"/>
                  </a:lnTo>
                  <a:lnTo>
                    <a:pt x="270" y="324"/>
                  </a:lnTo>
                  <a:lnTo>
                    <a:pt x="270" y="336"/>
                  </a:lnTo>
                  <a:lnTo>
                    <a:pt x="276" y="348"/>
                  </a:lnTo>
                  <a:lnTo>
                    <a:pt x="276" y="354"/>
                  </a:lnTo>
                  <a:lnTo>
                    <a:pt x="264" y="348"/>
                  </a:lnTo>
                  <a:lnTo>
                    <a:pt x="246" y="348"/>
                  </a:lnTo>
                  <a:lnTo>
                    <a:pt x="240" y="354"/>
                  </a:lnTo>
                  <a:lnTo>
                    <a:pt x="234" y="366"/>
                  </a:lnTo>
                  <a:lnTo>
                    <a:pt x="228" y="372"/>
                  </a:lnTo>
                  <a:lnTo>
                    <a:pt x="222" y="384"/>
                  </a:lnTo>
                  <a:lnTo>
                    <a:pt x="216" y="390"/>
                  </a:lnTo>
                  <a:lnTo>
                    <a:pt x="180" y="420"/>
                  </a:lnTo>
                  <a:lnTo>
                    <a:pt x="144" y="432"/>
                  </a:lnTo>
                  <a:lnTo>
                    <a:pt x="138" y="438"/>
                  </a:lnTo>
                  <a:lnTo>
                    <a:pt x="126" y="444"/>
                  </a:lnTo>
                  <a:lnTo>
                    <a:pt x="120" y="456"/>
                  </a:lnTo>
                  <a:lnTo>
                    <a:pt x="120" y="462"/>
                  </a:lnTo>
                  <a:lnTo>
                    <a:pt x="108" y="474"/>
                  </a:lnTo>
                  <a:lnTo>
                    <a:pt x="90" y="474"/>
                  </a:lnTo>
                  <a:lnTo>
                    <a:pt x="66" y="504"/>
                  </a:lnTo>
                  <a:lnTo>
                    <a:pt x="66" y="534"/>
                  </a:lnTo>
                  <a:lnTo>
                    <a:pt x="72" y="540"/>
                  </a:lnTo>
                  <a:lnTo>
                    <a:pt x="72" y="570"/>
                  </a:lnTo>
                  <a:lnTo>
                    <a:pt x="96" y="588"/>
                  </a:lnTo>
                  <a:lnTo>
                    <a:pt x="96" y="594"/>
                  </a:lnTo>
                  <a:lnTo>
                    <a:pt x="90" y="600"/>
                  </a:lnTo>
                  <a:lnTo>
                    <a:pt x="90" y="612"/>
                  </a:lnTo>
                  <a:lnTo>
                    <a:pt x="84" y="630"/>
                  </a:lnTo>
                  <a:lnTo>
                    <a:pt x="84" y="648"/>
                  </a:lnTo>
                  <a:lnTo>
                    <a:pt x="90" y="654"/>
                  </a:lnTo>
                  <a:lnTo>
                    <a:pt x="96" y="666"/>
                  </a:lnTo>
                  <a:lnTo>
                    <a:pt x="108" y="678"/>
                  </a:lnTo>
                  <a:lnTo>
                    <a:pt x="132" y="690"/>
                  </a:lnTo>
                  <a:lnTo>
                    <a:pt x="174" y="690"/>
                  </a:lnTo>
                  <a:lnTo>
                    <a:pt x="174" y="696"/>
                  </a:lnTo>
                  <a:lnTo>
                    <a:pt x="168" y="702"/>
                  </a:lnTo>
                  <a:lnTo>
                    <a:pt x="168" y="708"/>
                  </a:lnTo>
                  <a:lnTo>
                    <a:pt x="174" y="714"/>
                  </a:lnTo>
                  <a:lnTo>
                    <a:pt x="240" y="714"/>
                  </a:lnTo>
                  <a:lnTo>
                    <a:pt x="252" y="708"/>
                  </a:lnTo>
                  <a:lnTo>
                    <a:pt x="270" y="708"/>
                  </a:lnTo>
                  <a:lnTo>
                    <a:pt x="300" y="696"/>
                  </a:lnTo>
                  <a:lnTo>
                    <a:pt x="336" y="696"/>
                  </a:lnTo>
                  <a:lnTo>
                    <a:pt x="384" y="672"/>
                  </a:lnTo>
                  <a:lnTo>
                    <a:pt x="462" y="672"/>
                  </a:lnTo>
                  <a:lnTo>
                    <a:pt x="456" y="660"/>
                  </a:lnTo>
                  <a:lnTo>
                    <a:pt x="516" y="630"/>
                  </a:lnTo>
                  <a:lnTo>
                    <a:pt x="576" y="570"/>
                  </a:lnTo>
                  <a:lnTo>
                    <a:pt x="582" y="570"/>
                  </a:lnTo>
                  <a:lnTo>
                    <a:pt x="618" y="534"/>
                  </a:lnTo>
                  <a:lnTo>
                    <a:pt x="624" y="522"/>
                  </a:lnTo>
                  <a:lnTo>
                    <a:pt x="630" y="516"/>
                  </a:lnTo>
                  <a:lnTo>
                    <a:pt x="630" y="504"/>
                  </a:lnTo>
                  <a:lnTo>
                    <a:pt x="624" y="492"/>
                  </a:lnTo>
                  <a:lnTo>
                    <a:pt x="618" y="486"/>
                  </a:lnTo>
                  <a:lnTo>
                    <a:pt x="612" y="474"/>
                  </a:lnTo>
                  <a:lnTo>
                    <a:pt x="540" y="438"/>
                  </a:lnTo>
                  <a:lnTo>
                    <a:pt x="546" y="438"/>
                  </a:lnTo>
                  <a:lnTo>
                    <a:pt x="570" y="414"/>
                  </a:lnTo>
                  <a:lnTo>
                    <a:pt x="570" y="408"/>
                  </a:lnTo>
                  <a:lnTo>
                    <a:pt x="564" y="402"/>
                  </a:lnTo>
                  <a:lnTo>
                    <a:pt x="552" y="396"/>
                  </a:lnTo>
                  <a:lnTo>
                    <a:pt x="528" y="390"/>
                  </a:lnTo>
                  <a:lnTo>
                    <a:pt x="534" y="378"/>
                  </a:lnTo>
                  <a:lnTo>
                    <a:pt x="540" y="372"/>
                  </a:lnTo>
                  <a:lnTo>
                    <a:pt x="540" y="366"/>
                  </a:lnTo>
                  <a:lnTo>
                    <a:pt x="534" y="360"/>
                  </a:lnTo>
                  <a:lnTo>
                    <a:pt x="528" y="360"/>
                  </a:lnTo>
                  <a:lnTo>
                    <a:pt x="522" y="354"/>
                  </a:lnTo>
                  <a:lnTo>
                    <a:pt x="510" y="354"/>
                  </a:lnTo>
                  <a:lnTo>
                    <a:pt x="510" y="342"/>
                  </a:lnTo>
                  <a:lnTo>
                    <a:pt x="498" y="330"/>
                  </a:lnTo>
                  <a:lnTo>
                    <a:pt x="504" y="300"/>
                  </a:lnTo>
                  <a:lnTo>
                    <a:pt x="510" y="300"/>
                  </a:lnTo>
                  <a:lnTo>
                    <a:pt x="522" y="306"/>
                  </a:lnTo>
                  <a:lnTo>
                    <a:pt x="534" y="306"/>
                  </a:lnTo>
                  <a:lnTo>
                    <a:pt x="540" y="300"/>
                  </a:lnTo>
                  <a:lnTo>
                    <a:pt x="540" y="294"/>
                  </a:lnTo>
                  <a:lnTo>
                    <a:pt x="534" y="288"/>
                  </a:lnTo>
                  <a:lnTo>
                    <a:pt x="522" y="282"/>
                  </a:lnTo>
                  <a:lnTo>
                    <a:pt x="498" y="258"/>
                  </a:lnTo>
                  <a:lnTo>
                    <a:pt x="486" y="252"/>
                  </a:lnTo>
                  <a:lnTo>
                    <a:pt x="480" y="240"/>
                  </a:lnTo>
                  <a:lnTo>
                    <a:pt x="468" y="234"/>
                  </a:lnTo>
                  <a:lnTo>
                    <a:pt x="450" y="216"/>
                  </a:lnTo>
                  <a:lnTo>
                    <a:pt x="456" y="210"/>
                  </a:lnTo>
                  <a:lnTo>
                    <a:pt x="468" y="204"/>
                  </a:lnTo>
                  <a:lnTo>
                    <a:pt x="474" y="204"/>
                  </a:lnTo>
                  <a:lnTo>
                    <a:pt x="474" y="192"/>
                  </a:lnTo>
                  <a:lnTo>
                    <a:pt x="480" y="192"/>
                  </a:lnTo>
                  <a:lnTo>
                    <a:pt x="492" y="186"/>
                  </a:lnTo>
                  <a:lnTo>
                    <a:pt x="498" y="186"/>
                  </a:lnTo>
                  <a:lnTo>
                    <a:pt x="498" y="174"/>
                  </a:lnTo>
                  <a:lnTo>
                    <a:pt x="450" y="126"/>
                  </a:lnTo>
                  <a:lnTo>
                    <a:pt x="432" y="126"/>
                  </a:lnTo>
                  <a:lnTo>
                    <a:pt x="426" y="132"/>
                  </a:lnTo>
                  <a:lnTo>
                    <a:pt x="420" y="132"/>
                  </a:lnTo>
                  <a:lnTo>
                    <a:pt x="414" y="126"/>
                  </a:lnTo>
                  <a:lnTo>
                    <a:pt x="414" y="120"/>
                  </a:lnTo>
                  <a:lnTo>
                    <a:pt x="408" y="108"/>
                  </a:lnTo>
                  <a:lnTo>
                    <a:pt x="408" y="96"/>
                  </a:lnTo>
                  <a:lnTo>
                    <a:pt x="426" y="96"/>
                  </a:lnTo>
                  <a:lnTo>
                    <a:pt x="426" y="90"/>
                  </a:lnTo>
                  <a:lnTo>
                    <a:pt x="414" y="78"/>
                  </a:lnTo>
                  <a:lnTo>
                    <a:pt x="420" y="54"/>
                  </a:lnTo>
                  <a:lnTo>
                    <a:pt x="426" y="54"/>
                  </a:lnTo>
                  <a:lnTo>
                    <a:pt x="426" y="60"/>
                  </a:lnTo>
                  <a:lnTo>
                    <a:pt x="432" y="60"/>
                  </a:lnTo>
                  <a:lnTo>
                    <a:pt x="432" y="42"/>
                  </a:lnTo>
                  <a:lnTo>
                    <a:pt x="426" y="30"/>
                  </a:lnTo>
                  <a:lnTo>
                    <a:pt x="414" y="18"/>
                  </a:lnTo>
                  <a:lnTo>
                    <a:pt x="408" y="18"/>
                  </a:lnTo>
                  <a:lnTo>
                    <a:pt x="372" y="12"/>
                  </a:lnTo>
                  <a:lnTo>
                    <a:pt x="372" y="0"/>
                  </a:lnTo>
                  <a:lnTo>
                    <a:pt x="336" y="0"/>
                  </a:lnTo>
                  <a:lnTo>
                    <a:pt x="324" y="6"/>
                  </a:lnTo>
                  <a:lnTo>
                    <a:pt x="294" y="6"/>
                  </a:lnTo>
                  <a:lnTo>
                    <a:pt x="282" y="12"/>
                  </a:lnTo>
                  <a:lnTo>
                    <a:pt x="276" y="12"/>
                  </a:lnTo>
                  <a:lnTo>
                    <a:pt x="264" y="18"/>
                  </a:lnTo>
                  <a:lnTo>
                    <a:pt x="264" y="30"/>
                  </a:lnTo>
                  <a:lnTo>
                    <a:pt x="258" y="36"/>
                  </a:lnTo>
                  <a:lnTo>
                    <a:pt x="258" y="72"/>
                  </a:lnTo>
                  <a:lnTo>
                    <a:pt x="234" y="72"/>
                  </a:lnTo>
                  <a:lnTo>
                    <a:pt x="234" y="78"/>
                  </a:lnTo>
                  <a:lnTo>
                    <a:pt x="228" y="84"/>
                  </a:lnTo>
                  <a:lnTo>
                    <a:pt x="228" y="96"/>
                  </a:lnTo>
                  <a:lnTo>
                    <a:pt x="210" y="96"/>
                  </a:lnTo>
                  <a:lnTo>
                    <a:pt x="204" y="90"/>
                  </a:lnTo>
                  <a:lnTo>
                    <a:pt x="192" y="84"/>
                  </a:lnTo>
                  <a:lnTo>
                    <a:pt x="162" y="84"/>
                  </a:lnTo>
                  <a:close/>
                </a:path>
              </a:pathLst>
            </a:custGeom>
            <a:solidFill>
              <a:srgbClr val="005995"/>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63" name="Ethiopia" descr="© INSCALE GmbH, 05.05.2010&#10;http://www.presentationload.com/"/>
            <p:cNvSpPr>
              <a:spLocks/>
            </p:cNvSpPr>
            <p:nvPr/>
          </p:nvSpPr>
          <p:spPr bwMode="gray">
            <a:xfrm>
              <a:off x="5159380" y="3595687"/>
              <a:ext cx="425450" cy="371475"/>
            </a:xfrm>
            <a:custGeom>
              <a:avLst/>
              <a:gdLst>
                <a:gd name="T0" fmla="*/ 2147483647 w 1056"/>
                <a:gd name="T1" fmla="*/ 2147483647 h 924"/>
                <a:gd name="T2" fmla="*/ 2147483647 w 1056"/>
                <a:gd name="T3" fmla="*/ 2147483647 h 924"/>
                <a:gd name="T4" fmla="*/ 2147483647 w 1056"/>
                <a:gd name="T5" fmla="*/ 2147483647 h 924"/>
                <a:gd name="T6" fmla="*/ 2147483647 w 1056"/>
                <a:gd name="T7" fmla="*/ 2147483647 h 924"/>
                <a:gd name="T8" fmla="*/ 2147483647 w 1056"/>
                <a:gd name="T9" fmla="*/ 2147483647 h 924"/>
                <a:gd name="T10" fmla="*/ 2147483647 w 1056"/>
                <a:gd name="T11" fmla="*/ 2147483647 h 924"/>
                <a:gd name="T12" fmla="*/ 2147483647 w 1056"/>
                <a:gd name="T13" fmla="*/ 2147483647 h 924"/>
                <a:gd name="T14" fmla="*/ 2147483647 w 1056"/>
                <a:gd name="T15" fmla="*/ 2147483647 h 924"/>
                <a:gd name="T16" fmla="*/ 2147483647 w 1056"/>
                <a:gd name="T17" fmla="*/ 2147483647 h 924"/>
                <a:gd name="T18" fmla="*/ 2147483647 w 1056"/>
                <a:gd name="T19" fmla="*/ 2147483647 h 924"/>
                <a:gd name="T20" fmla="*/ 2147483647 w 1056"/>
                <a:gd name="T21" fmla="*/ 2147483647 h 924"/>
                <a:gd name="T22" fmla="*/ 2147483647 w 1056"/>
                <a:gd name="T23" fmla="*/ 2147483647 h 924"/>
                <a:gd name="T24" fmla="*/ 2147483647 w 1056"/>
                <a:gd name="T25" fmla="*/ 2147483647 h 924"/>
                <a:gd name="T26" fmla="*/ 2147483647 w 1056"/>
                <a:gd name="T27" fmla="*/ 2147483647 h 924"/>
                <a:gd name="T28" fmla="*/ 2147483647 w 1056"/>
                <a:gd name="T29" fmla="*/ 2147483647 h 924"/>
                <a:gd name="T30" fmla="*/ 2147483647 w 1056"/>
                <a:gd name="T31" fmla="*/ 2147483647 h 924"/>
                <a:gd name="T32" fmla="*/ 2147483647 w 1056"/>
                <a:gd name="T33" fmla="*/ 2147483647 h 924"/>
                <a:gd name="T34" fmla="*/ 2147483647 w 1056"/>
                <a:gd name="T35" fmla="*/ 2147483647 h 924"/>
                <a:gd name="T36" fmla="*/ 2147483647 w 1056"/>
                <a:gd name="T37" fmla="*/ 2147483647 h 924"/>
                <a:gd name="T38" fmla="*/ 2147483647 w 1056"/>
                <a:gd name="T39" fmla="*/ 2147483647 h 924"/>
                <a:gd name="T40" fmla="*/ 2147483647 w 1056"/>
                <a:gd name="T41" fmla="*/ 2147483647 h 924"/>
                <a:gd name="T42" fmla="*/ 2147483647 w 1056"/>
                <a:gd name="T43" fmla="*/ 2147483647 h 924"/>
                <a:gd name="T44" fmla="*/ 2147483647 w 1056"/>
                <a:gd name="T45" fmla="*/ 2147483647 h 924"/>
                <a:gd name="T46" fmla="*/ 2147483647 w 1056"/>
                <a:gd name="T47" fmla="*/ 2147483647 h 924"/>
                <a:gd name="T48" fmla="*/ 2147483647 w 1056"/>
                <a:gd name="T49" fmla="*/ 2147483647 h 924"/>
                <a:gd name="T50" fmla="*/ 2147483647 w 1056"/>
                <a:gd name="T51" fmla="*/ 2147483647 h 924"/>
                <a:gd name="T52" fmla="*/ 2147483647 w 1056"/>
                <a:gd name="T53" fmla="*/ 2147483647 h 924"/>
                <a:gd name="T54" fmla="*/ 2147483647 w 1056"/>
                <a:gd name="T55" fmla="*/ 2147483647 h 924"/>
                <a:gd name="T56" fmla="*/ 2147483647 w 1056"/>
                <a:gd name="T57" fmla="*/ 2147483647 h 924"/>
                <a:gd name="T58" fmla="*/ 2147483647 w 1056"/>
                <a:gd name="T59" fmla="*/ 2147483647 h 924"/>
                <a:gd name="T60" fmla="*/ 2147483647 w 1056"/>
                <a:gd name="T61" fmla="*/ 2147483647 h 924"/>
                <a:gd name="T62" fmla="*/ 2147483647 w 1056"/>
                <a:gd name="T63" fmla="*/ 2147483647 h 924"/>
                <a:gd name="T64" fmla="*/ 2147483647 w 1056"/>
                <a:gd name="T65" fmla="*/ 2147483647 h 924"/>
                <a:gd name="T66" fmla="*/ 2147483647 w 1056"/>
                <a:gd name="T67" fmla="*/ 2147483647 h 924"/>
                <a:gd name="T68" fmla="*/ 2147483647 w 1056"/>
                <a:gd name="T69" fmla="*/ 2147483647 h 924"/>
                <a:gd name="T70" fmla="*/ 2147483647 w 1056"/>
                <a:gd name="T71" fmla="*/ 2147483647 h 924"/>
                <a:gd name="T72" fmla="*/ 2147483647 w 1056"/>
                <a:gd name="T73" fmla="*/ 0 h 924"/>
                <a:gd name="T74" fmla="*/ 2147483647 w 1056"/>
                <a:gd name="T75" fmla="*/ 2147483647 h 924"/>
                <a:gd name="T76" fmla="*/ 2147483647 w 1056"/>
                <a:gd name="T77" fmla="*/ 2147483647 h 924"/>
                <a:gd name="T78" fmla="*/ 2147483647 w 1056"/>
                <a:gd name="T79" fmla="*/ 2147483647 h 924"/>
                <a:gd name="T80" fmla="*/ 2147483647 w 1056"/>
                <a:gd name="T81" fmla="*/ 2147483647 h 924"/>
                <a:gd name="T82" fmla="*/ 2147483647 w 1056"/>
                <a:gd name="T83" fmla="*/ 2147483647 h 924"/>
                <a:gd name="T84" fmla="*/ 2147483647 w 1056"/>
                <a:gd name="T85" fmla="*/ 2147483647 h 924"/>
                <a:gd name="T86" fmla="*/ 2147483647 w 1056"/>
                <a:gd name="T87" fmla="*/ 2147483647 h 924"/>
                <a:gd name="T88" fmla="*/ 2147483647 w 1056"/>
                <a:gd name="T89" fmla="*/ 2147483647 h 924"/>
                <a:gd name="T90" fmla="*/ 2147483647 w 1056"/>
                <a:gd name="T91" fmla="*/ 2147483647 h 924"/>
                <a:gd name="T92" fmla="*/ 2147483647 w 1056"/>
                <a:gd name="T93" fmla="*/ 2147483647 h 924"/>
                <a:gd name="T94" fmla="*/ 2147483647 w 1056"/>
                <a:gd name="T95" fmla="*/ 2147483647 h 924"/>
                <a:gd name="T96" fmla="*/ 2147483647 w 1056"/>
                <a:gd name="T97" fmla="*/ 2147483647 h 924"/>
                <a:gd name="T98" fmla="*/ 2147483647 w 1056"/>
                <a:gd name="T99" fmla="*/ 2147483647 h 924"/>
                <a:gd name="T100" fmla="*/ 2147483647 w 1056"/>
                <a:gd name="T101" fmla="*/ 2147483647 h 924"/>
                <a:gd name="T102" fmla="*/ 2147483647 w 1056"/>
                <a:gd name="T103" fmla="*/ 2147483647 h 924"/>
                <a:gd name="T104" fmla="*/ 2147483647 w 1056"/>
                <a:gd name="T105" fmla="*/ 2147483647 h 924"/>
                <a:gd name="T106" fmla="*/ 2147483647 w 1056"/>
                <a:gd name="T107" fmla="*/ 2147483647 h 924"/>
                <a:gd name="T108" fmla="*/ 2147483647 w 1056"/>
                <a:gd name="T109" fmla="*/ 2147483647 h 924"/>
                <a:gd name="T110" fmla="*/ 2147483647 w 1056"/>
                <a:gd name="T111" fmla="*/ 2147483647 h 924"/>
                <a:gd name="T112" fmla="*/ 2147483647 w 1056"/>
                <a:gd name="T113" fmla="*/ 2147483647 h 924"/>
                <a:gd name="T114" fmla="*/ 2147483647 w 1056"/>
                <a:gd name="T115" fmla="*/ 2147483647 h 924"/>
                <a:gd name="T116" fmla="*/ 2147483647 w 1056"/>
                <a:gd name="T117" fmla="*/ 2147483647 h 9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056"/>
                <a:gd name="T178" fmla="*/ 0 h 924"/>
                <a:gd name="T179" fmla="*/ 1056 w 1056"/>
                <a:gd name="T180" fmla="*/ 924 h 9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056" h="924">
                  <a:moveTo>
                    <a:pt x="84" y="642"/>
                  </a:moveTo>
                  <a:lnTo>
                    <a:pt x="108" y="642"/>
                  </a:lnTo>
                  <a:lnTo>
                    <a:pt x="114" y="666"/>
                  </a:lnTo>
                  <a:lnTo>
                    <a:pt x="126" y="666"/>
                  </a:lnTo>
                  <a:lnTo>
                    <a:pt x="126" y="702"/>
                  </a:lnTo>
                  <a:lnTo>
                    <a:pt x="138" y="708"/>
                  </a:lnTo>
                  <a:lnTo>
                    <a:pt x="138" y="726"/>
                  </a:lnTo>
                  <a:lnTo>
                    <a:pt x="156" y="762"/>
                  </a:lnTo>
                  <a:lnTo>
                    <a:pt x="168" y="768"/>
                  </a:lnTo>
                  <a:lnTo>
                    <a:pt x="186" y="768"/>
                  </a:lnTo>
                  <a:lnTo>
                    <a:pt x="192" y="774"/>
                  </a:lnTo>
                  <a:lnTo>
                    <a:pt x="198" y="786"/>
                  </a:lnTo>
                  <a:lnTo>
                    <a:pt x="198" y="804"/>
                  </a:lnTo>
                  <a:lnTo>
                    <a:pt x="210" y="840"/>
                  </a:lnTo>
                  <a:lnTo>
                    <a:pt x="282" y="846"/>
                  </a:lnTo>
                  <a:lnTo>
                    <a:pt x="360" y="906"/>
                  </a:lnTo>
                  <a:lnTo>
                    <a:pt x="390" y="906"/>
                  </a:lnTo>
                  <a:lnTo>
                    <a:pt x="402" y="912"/>
                  </a:lnTo>
                  <a:lnTo>
                    <a:pt x="432" y="912"/>
                  </a:lnTo>
                  <a:lnTo>
                    <a:pt x="444" y="918"/>
                  </a:lnTo>
                  <a:lnTo>
                    <a:pt x="450" y="918"/>
                  </a:lnTo>
                  <a:lnTo>
                    <a:pt x="462" y="924"/>
                  </a:lnTo>
                  <a:lnTo>
                    <a:pt x="486" y="906"/>
                  </a:lnTo>
                  <a:lnTo>
                    <a:pt x="486" y="894"/>
                  </a:lnTo>
                  <a:lnTo>
                    <a:pt x="498" y="882"/>
                  </a:lnTo>
                  <a:lnTo>
                    <a:pt x="510" y="882"/>
                  </a:lnTo>
                  <a:lnTo>
                    <a:pt x="522" y="876"/>
                  </a:lnTo>
                  <a:lnTo>
                    <a:pt x="528" y="870"/>
                  </a:lnTo>
                  <a:lnTo>
                    <a:pt x="534" y="870"/>
                  </a:lnTo>
                  <a:lnTo>
                    <a:pt x="552" y="852"/>
                  </a:lnTo>
                  <a:lnTo>
                    <a:pt x="576" y="882"/>
                  </a:lnTo>
                  <a:lnTo>
                    <a:pt x="606" y="882"/>
                  </a:lnTo>
                  <a:lnTo>
                    <a:pt x="612" y="876"/>
                  </a:lnTo>
                  <a:lnTo>
                    <a:pt x="636" y="882"/>
                  </a:lnTo>
                  <a:lnTo>
                    <a:pt x="636" y="876"/>
                  </a:lnTo>
                  <a:lnTo>
                    <a:pt x="648" y="864"/>
                  </a:lnTo>
                  <a:lnTo>
                    <a:pt x="660" y="864"/>
                  </a:lnTo>
                  <a:lnTo>
                    <a:pt x="672" y="858"/>
                  </a:lnTo>
                  <a:lnTo>
                    <a:pt x="696" y="858"/>
                  </a:lnTo>
                  <a:lnTo>
                    <a:pt x="714" y="840"/>
                  </a:lnTo>
                  <a:lnTo>
                    <a:pt x="714" y="828"/>
                  </a:lnTo>
                  <a:lnTo>
                    <a:pt x="726" y="822"/>
                  </a:lnTo>
                  <a:lnTo>
                    <a:pt x="732" y="816"/>
                  </a:lnTo>
                  <a:lnTo>
                    <a:pt x="744" y="810"/>
                  </a:lnTo>
                  <a:lnTo>
                    <a:pt x="756" y="810"/>
                  </a:lnTo>
                  <a:lnTo>
                    <a:pt x="762" y="804"/>
                  </a:lnTo>
                  <a:lnTo>
                    <a:pt x="846" y="804"/>
                  </a:lnTo>
                  <a:lnTo>
                    <a:pt x="1056" y="558"/>
                  </a:lnTo>
                  <a:lnTo>
                    <a:pt x="984" y="564"/>
                  </a:lnTo>
                  <a:lnTo>
                    <a:pt x="948" y="546"/>
                  </a:lnTo>
                  <a:lnTo>
                    <a:pt x="936" y="534"/>
                  </a:lnTo>
                  <a:lnTo>
                    <a:pt x="918" y="528"/>
                  </a:lnTo>
                  <a:lnTo>
                    <a:pt x="906" y="522"/>
                  </a:lnTo>
                  <a:lnTo>
                    <a:pt x="882" y="516"/>
                  </a:lnTo>
                  <a:lnTo>
                    <a:pt x="810" y="492"/>
                  </a:lnTo>
                  <a:lnTo>
                    <a:pt x="774" y="474"/>
                  </a:lnTo>
                  <a:lnTo>
                    <a:pt x="768" y="462"/>
                  </a:lnTo>
                  <a:lnTo>
                    <a:pt x="762" y="456"/>
                  </a:lnTo>
                  <a:lnTo>
                    <a:pt x="756" y="444"/>
                  </a:lnTo>
                  <a:lnTo>
                    <a:pt x="732" y="444"/>
                  </a:lnTo>
                  <a:lnTo>
                    <a:pt x="732" y="438"/>
                  </a:lnTo>
                  <a:lnTo>
                    <a:pt x="726" y="432"/>
                  </a:lnTo>
                  <a:lnTo>
                    <a:pt x="714" y="408"/>
                  </a:lnTo>
                  <a:lnTo>
                    <a:pt x="708" y="402"/>
                  </a:lnTo>
                  <a:lnTo>
                    <a:pt x="702" y="390"/>
                  </a:lnTo>
                  <a:lnTo>
                    <a:pt x="696" y="384"/>
                  </a:lnTo>
                  <a:lnTo>
                    <a:pt x="690" y="372"/>
                  </a:lnTo>
                  <a:lnTo>
                    <a:pt x="690" y="360"/>
                  </a:lnTo>
                  <a:lnTo>
                    <a:pt x="678" y="348"/>
                  </a:lnTo>
                  <a:lnTo>
                    <a:pt x="696" y="318"/>
                  </a:lnTo>
                  <a:lnTo>
                    <a:pt x="690" y="312"/>
                  </a:lnTo>
                  <a:lnTo>
                    <a:pt x="678" y="306"/>
                  </a:lnTo>
                  <a:lnTo>
                    <a:pt x="666" y="306"/>
                  </a:lnTo>
                  <a:lnTo>
                    <a:pt x="660" y="312"/>
                  </a:lnTo>
                  <a:lnTo>
                    <a:pt x="654" y="312"/>
                  </a:lnTo>
                  <a:lnTo>
                    <a:pt x="648" y="318"/>
                  </a:lnTo>
                  <a:lnTo>
                    <a:pt x="624" y="318"/>
                  </a:lnTo>
                  <a:lnTo>
                    <a:pt x="612" y="306"/>
                  </a:lnTo>
                  <a:lnTo>
                    <a:pt x="612" y="294"/>
                  </a:lnTo>
                  <a:lnTo>
                    <a:pt x="606" y="276"/>
                  </a:lnTo>
                  <a:lnTo>
                    <a:pt x="606" y="264"/>
                  </a:lnTo>
                  <a:lnTo>
                    <a:pt x="624" y="246"/>
                  </a:lnTo>
                  <a:lnTo>
                    <a:pt x="654" y="192"/>
                  </a:lnTo>
                  <a:lnTo>
                    <a:pt x="642" y="174"/>
                  </a:lnTo>
                  <a:lnTo>
                    <a:pt x="630" y="174"/>
                  </a:lnTo>
                  <a:lnTo>
                    <a:pt x="618" y="168"/>
                  </a:lnTo>
                  <a:lnTo>
                    <a:pt x="612" y="162"/>
                  </a:lnTo>
                  <a:lnTo>
                    <a:pt x="612" y="138"/>
                  </a:lnTo>
                  <a:lnTo>
                    <a:pt x="600" y="126"/>
                  </a:lnTo>
                  <a:lnTo>
                    <a:pt x="576" y="114"/>
                  </a:lnTo>
                  <a:lnTo>
                    <a:pt x="570" y="108"/>
                  </a:lnTo>
                  <a:lnTo>
                    <a:pt x="546" y="72"/>
                  </a:lnTo>
                  <a:lnTo>
                    <a:pt x="534" y="66"/>
                  </a:lnTo>
                  <a:lnTo>
                    <a:pt x="528" y="60"/>
                  </a:lnTo>
                  <a:lnTo>
                    <a:pt x="516" y="60"/>
                  </a:lnTo>
                  <a:lnTo>
                    <a:pt x="498" y="36"/>
                  </a:lnTo>
                  <a:lnTo>
                    <a:pt x="468" y="36"/>
                  </a:lnTo>
                  <a:lnTo>
                    <a:pt x="462" y="30"/>
                  </a:lnTo>
                  <a:lnTo>
                    <a:pt x="444" y="30"/>
                  </a:lnTo>
                  <a:lnTo>
                    <a:pt x="432" y="36"/>
                  </a:lnTo>
                  <a:lnTo>
                    <a:pt x="420" y="36"/>
                  </a:lnTo>
                  <a:lnTo>
                    <a:pt x="420" y="24"/>
                  </a:lnTo>
                  <a:lnTo>
                    <a:pt x="414" y="18"/>
                  </a:lnTo>
                  <a:lnTo>
                    <a:pt x="408" y="24"/>
                  </a:lnTo>
                  <a:lnTo>
                    <a:pt x="402" y="36"/>
                  </a:lnTo>
                  <a:lnTo>
                    <a:pt x="372" y="36"/>
                  </a:lnTo>
                  <a:lnTo>
                    <a:pt x="366" y="24"/>
                  </a:lnTo>
                  <a:lnTo>
                    <a:pt x="360" y="18"/>
                  </a:lnTo>
                  <a:lnTo>
                    <a:pt x="354" y="18"/>
                  </a:lnTo>
                  <a:lnTo>
                    <a:pt x="342" y="6"/>
                  </a:lnTo>
                  <a:lnTo>
                    <a:pt x="330" y="0"/>
                  </a:lnTo>
                  <a:lnTo>
                    <a:pt x="330" y="12"/>
                  </a:lnTo>
                  <a:lnTo>
                    <a:pt x="324" y="24"/>
                  </a:lnTo>
                  <a:lnTo>
                    <a:pt x="318" y="42"/>
                  </a:lnTo>
                  <a:lnTo>
                    <a:pt x="318" y="54"/>
                  </a:lnTo>
                  <a:lnTo>
                    <a:pt x="306" y="66"/>
                  </a:lnTo>
                  <a:lnTo>
                    <a:pt x="288" y="48"/>
                  </a:lnTo>
                  <a:lnTo>
                    <a:pt x="288" y="42"/>
                  </a:lnTo>
                  <a:lnTo>
                    <a:pt x="282" y="36"/>
                  </a:lnTo>
                  <a:lnTo>
                    <a:pt x="276" y="36"/>
                  </a:lnTo>
                  <a:lnTo>
                    <a:pt x="276" y="42"/>
                  </a:lnTo>
                  <a:lnTo>
                    <a:pt x="270" y="48"/>
                  </a:lnTo>
                  <a:lnTo>
                    <a:pt x="234" y="48"/>
                  </a:lnTo>
                  <a:lnTo>
                    <a:pt x="234" y="90"/>
                  </a:lnTo>
                  <a:lnTo>
                    <a:pt x="228" y="96"/>
                  </a:lnTo>
                  <a:lnTo>
                    <a:pt x="222" y="108"/>
                  </a:lnTo>
                  <a:lnTo>
                    <a:pt x="216" y="114"/>
                  </a:lnTo>
                  <a:lnTo>
                    <a:pt x="210" y="126"/>
                  </a:lnTo>
                  <a:lnTo>
                    <a:pt x="210" y="174"/>
                  </a:lnTo>
                  <a:lnTo>
                    <a:pt x="180" y="174"/>
                  </a:lnTo>
                  <a:lnTo>
                    <a:pt x="174" y="180"/>
                  </a:lnTo>
                  <a:lnTo>
                    <a:pt x="168" y="192"/>
                  </a:lnTo>
                  <a:lnTo>
                    <a:pt x="162" y="198"/>
                  </a:lnTo>
                  <a:lnTo>
                    <a:pt x="162" y="234"/>
                  </a:lnTo>
                  <a:lnTo>
                    <a:pt x="156" y="240"/>
                  </a:lnTo>
                  <a:lnTo>
                    <a:pt x="144" y="240"/>
                  </a:lnTo>
                  <a:lnTo>
                    <a:pt x="138" y="246"/>
                  </a:lnTo>
                  <a:lnTo>
                    <a:pt x="138" y="270"/>
                  </a:lnTo>
                  <a:lnTo>
                    <a:pt x="126" y="288"/>
                  </a:lnTo>
                  <a:lnTo>
                    <a:pt x="126" y="294"/>
                  </a:lnTo>
                  <a:lnTo>
                    <a:pt x="132" y="300"/>
                  </a:lnTo>
                  <a:lnTo>
                    <a:pt x="132" y="336"/>
                  </a:lnTo>
                  <a:lnTo>
                    <a:pt x="126" y="342"/>
                  </a:lnTo>
                  <a:lnTo>
                    <a:pt x="114" y="342"/>
                  </a:lnTo>
                  <a:lnTo>
                    <a:pt x="108" y="336"/>
                  </a:lnTo>
                  <a:lnTo>
                    <a:pt x="108" y="324"/>
                  </a:lnTo>
                  <a:lnTo>
                    <a:pt x="102" y="324"/>
                  </a:lnTo>
                  <a:lnTo>
                    <a:pt x="84" y="342"/>
                  </a:lnTo>
                  <a:lnTo>
                    <a:pt x="84" y="360"/>
                  </a:lnTo>
                  <a:lnTo>
                    <a:pt x="90" y="372"/>
                  </a:lnTo>
                  <a:lnTo>
                    <a:pt x="90" y="390"/>
                  </a:lnTo>
                  <a:lnTo>
                    <a:pt x="84" y="396"/>
                  </a:lnTo>
                  <a:lnTo>
                    <a:pt x="72" y="402"/>
                  </a:lnTo>
                  <a:lnTo>
                    <a:pt x="66" y="414"/>
                  </a:lnTo>
                  <a:lnTo>
                    <a:pt x="66" y="426"/>
                  </a:lnTo>
                  <a:lnTo>
                    <a:pt x="72" y="438"/>
                  </a:lnTo>
                  <a:lnTo>
                    <a:pt x="72" y="450"/>
                  </a:lnTo>
                  <a:lnTo>
                    <a:pt x="78" y="456"/>
                  </a:lnTo>
                  <a:lnTo>
                    <a:pt x="78" y="492"/>
                  </a:lnTo>
                  <a:lnTo>
                    <a:pt x="72" y="504"/>
                  </a:lnTo>
                  <a:lnTo>
                    <a:pt x="72" y="516"/>
                  </a:lnTo>
                  <a:lnTo>
                    <a:pt x="66" y="522"/>
                  </a:lnTo>
                  <a:lnTo>
                    <a:pt x="54" y="522"/>
                  </a:lnTo>
                  <a:lnTo>
                    <a:pt x="48" y="528"/>
                  </a:lnTo>
                  <a:lnTo>
                    <a:pt x="42" y="522"/>
                  </a:lnTo>
                  <a:lnTo>
                    <a:pt x="6" y="522"/>
                  </a:lnTo>
                  <a:lnTo>
                    <a:pt x="12" y="546"/>
                  </a:lnTo>
                  <a:lnTo>
                    <a:pt x="6" y="552"/>
                  </a:lnTo>
                  <a:lnTo>
                    <a:pt x="0" y="564"/>
                  </a:lnTo>
                  <a:lnTo>
                    <a:pt x="0" y="576"/>
                  </a:lnTo>
                  <a:lnTo>
                    <a:pt x="6" y="576"/>
                  </a:lnTo>
                  <a:lnTo>
                    <a:pt x="18" y="582"/>
                  </a:lnTo>
                  <a:lnTo>
                    <a:pt x="42" y="582"/>
                  </a:lnTo>
                  <a:lnTo>
                    <a:pt x="48" y="588"/>
                  </a:lnTo>
                  <a:lnTo>
                    <a:pt x="60" y="594"/>
                  </a:lnTo>
                  <a:lnTo>
                    <a:pt x="66" y="606"/>
                  </a:lnTo>
                  <a:lnTo>
                    <a:pt x="78" y="612"/>
                  </a:lnTo>
                  <a:lnTo>
                    <a:pt x="78" y="630"/>
                  </a:lnTo>
                  <a:lnTo>
                    <a:pt x="84" y="642"/>
                  </a:lnTo>
                  <a:close/>
                </a:path>
              </a:pathLst>
            </a:custGeom>
            <a:solidFill>
              <a:srgbClr val="692864"/>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64" name="Estonia" descr="© INSCALE GmbH, 05.05.2010&#10;http://www.presentationload.com/"/>
            <p:cNvSpPr>
              <a:spLocks noEditPoints="1"/>
            </p:cNvSpPr>
            <p:nvPr/>
          </p:nvSpPr>
          <p:spPr bwMode="gray">
            <a:xfrm>
              <a:off x="4775203" y="2168526"/>
              <a:ext cx="139699" cy="61913"/>
            </a:xfrm>
            <a:custGeom>
              <a:avLst/>
              <a:gdLst>
                <a:gd name="T0" fmla="*/ 2147483647 w 348"/>
                <a:gd name="T1" fmla="*/ 2147483647 h 156"/>
                <a:gd name="T2" fmla="*/ 2147483647 w 348"/>
                <a:gd name="T3" fmla="*/ 2147483647 h 156"/>
                <a:gd name="T4" fmla="*/ 2147483647 w 348"/>
                <a:gd name="T5" fmla="*/ 2147483647 h 156"/>
                <a:gd name="T6" fmla="*/ 2147483647 w 348"/>
                <a:gd name="T7" fmla="*/ 2147483647 h 156"/>
                <a:gd name="T8" fmla="*/ 2147483647 w 348"/>
                <a:gd name="T9" fmla="*/ 2147483647 h 156"/>
                <a:gd name="T10" fmla="*/ 2147483647 w 348"/>
                <a:gd name="T11" fmla="*/ 2147483647 h 156"/>
                <a:gd name="T12" fmla="*/ 2147483647 w 348"/>
                <a:gd name="T13" fmla="*/ 2147483647 h 156"/>
                <a:gd name="T14" fmla="*/ 2147483647 w 348"/>
                <a:gd name="T15" fmla="*/ 0 h 156"/>
                <a:gd name="T16" fmla="*/ 2147483647 w 348"/>
                <a:gd name="T17" fmla="*/ 2147483647 h 156"/>
                <a:gd name="T18" fmla="*/ 2147483647 w 348"/>
                <a:gd name="T19" fmla="*/ 2147483647 h 156"/>
                <a:gd name="T20" fmla="*/ 2147483647 w 348"/>
                <a:gd name="T21" fmla="*/ 2147483647 h 156"/>
                <a:gd name="T22" fmla="*/ 2147483647 w 348"/>
                <a:gd name="T23" fmla="*/ 2147483647 h 156"/>
                <a:gd name="T24" fmla="*/ 2147483647 w 348"/>
                <a:gd name="T25" fmla="*/ 2147483647 h 156"/>
                <a:gd name="T26" fmla="*/ 2147483647 w 348"/>
                <a:gd name="T27" fmla="*/ 2147483647 h 156"/>
                <a:gd name="T28" fmla="*/ 2147483647 w 348"/>
                <a:gd name="T29" fmla="*/ 2147483647 h 156"/>
                <a:gd name="T30" fmla="*/ 2147483647 w 348"/>
                <a:gd name="T31" fmla="*/ 2147483647 h 156"/>
                <a:gd name="T32" fmla="*/ 2147483647 w 348"/>
                <a:gd name="T33" fmla="*/ 2147483647 h 156"/>
                <a:gd name="T34" fmla="*/ 2147483647 w 348"/>
                <a:gd name="T35" fmla="*/ 2147483647 h 156"/>
                <a:gd name="T36" fmla="*/ 2147483647 w 348"/>
                <a:gd name="T37" fmla="*/ 2147483647 h 156"/>
                <a:gd name="T38" fmla="*/ 2147483647 w 348"/>
                <a:gd name="T39" fmla="*/ 2147483647 h 156"/>
                <a:gd name="T40" fmla="*/ 2147483647 w 348"/>
                <a:gd name="T41" fmla="*/ 2147483647 h 156"/>
                <a:gd name="T42" fmla="*/ 2147483647 w 348"/>
                <a:gd name="T43" fmla="*/ 2147483647 h 156"/>
                <a:gd name="T44" fmla="*/ 2147483647 w 348"/>
                <a:gd name="T45" fmla="*/ 2147483647 h 156"/>
                <a:gd name="T46" fmla="*/ 2147483647 w 348"/>
                <a:gd name="T47" fmla="*/ 2147483647 h 156"/>
                <a:gd name="T48" fmla="*/ 0 w 348"/>
                <a:gd name="T49" fmla="*/ 2147483647 h 156"/>
                <a:gd name="T50" fmla="*/ 2147483647 w 348"/>
                <a:gd name="T51" fmla="*/ 2147483647 h 156"/>
                <a:gd name="T52" fmla="*/ 2147483647 w 348"/>
                <a:gd name="T53" fmla="*/ 2147483647 h 156"/>
                <a:gd name="T54" fmla="*/ 2147483647 w 348"/>
                <a:gd name="T55" fmla="*/ 2147483647 h 156"/>
                <a:gd name="T56" fmla="*/ 2147483647 w 348"/>
                <a:gd name="T57" fmla="*/ 2147483647 h 156"/>
                <a:gd name="T58" fmla="*/ 2147483647 w 348"/>
                <a:gd name="T59" fmla="*/ 2147483647 h 156"/>
                <a:gd name="T60" fmla="*/ 2147483647 w 348"/>
                <a:gd name="T61" fmla="*/ 2147483647 h 156"/>
                <a:gd name="T62" fmla="*/ 2147483647 w 348"/>
                <a:gd name="T63" fmla="*/ 2147483647 h 156"/>
                <a:gd name="T64" fmla="*/ 2147483647 w 348"/>
                <a:gd name="T65" fmla="*/ 2147483647 h 156"/>
                <a:gd name="T66" fmla="*/ 2147483647 w 348"/>
                <a:gd name="T67" fmla="*/ 2147483647 h 156"/>
                <a:gd name="T68" fmla="*/ 2147483647 w 348"/>
                <a:gd name="T69" fmla="*/ 2147483647 h 156"/>
                <a:gd name="T70" fmla="*/ 2147483647 w 348"/>
                <a:gd name="T71" fmla="*/ 2147483647 h 15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48"/>
                <a:gd name="T109" fmla="*/ 0 h 156"/>
                <a:gd name="T110" fmla="*/ 348 w 348"/>
                <a:gd name="T111" fmla="*/ 156 h 15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48" h="156">
                  <a:moveTo>
                    <a:pt x="336" y="114"/>
                  </a:moveTo>
                  <a:lnTo>
                    <a:pt x="324" y="108"/>
                  </a:lnTo>
                  <a:lnTo>
                    <a:pt x="336" y="84"/>
                  </a:lnTo>
                  <a:lnTo>
                    <a:pt x="318" y="78"/>
                  </a:lnTo>
                  <a:lnTo>
                    <a:pt x="318" y="60"/>
                  </a:lnTo>
                  <a:lnTo>
                    <a:pt x="330" y="48"/>
                  </a:lnTo>
                  <a:lnTo>
                    <a:pt x="336" y="48"/>
                  </a:lnTo>
                  <a:lnTo>
                    <a:pt x="342" y="42"/>
                  </a:lnTo>
                  <a:lnTo>
                    <a:pt x="336" y="30"/>
                  </a:lnTo>
                  <a:lnTo>
                    <a:pt x="342" y="18"/>
                  </a:lnTo>
                  <a:lnTo>
                    <a:pt x="330" y="12"/>
                  </a:lnTo>
                  <a:lnTo>
                    <a:pt x="312" y="12"/>
                  </a:lnTo>
                  <a:lnTo>
                    <a:pt x="294" y="6"/>
                  </a:lnTo>
                  <a:lnTo>
                    <a:pt x="276" y="6"/>
                  </a:lnTo>
                  <a:lnTo>
                    <a:pt x="264" y="0"/>
                  </a:lnTo>
                  <a:lnTo>
                    <a:pt x="204" y="0"/>
                  </a:lnTo>
                  <a:lnTo>
                    <a:pt x="192" y="6"/>
                  </a:lnTo>
                  <a:lnTo>
                    <a:pt x="156" y="6"/>
                  </a:lnTo>
                  <a:lnTo>
                    <a:pt x="150" y="12"/>
                  </a:lnTo>
                  <a:lnTo>
                    <a:pt x="126" y="24"/>
                  </a:lnTo>
                  <a:lnTo>
                    <a:pt x="108" y="30"/>
                  </a:lnTo>
                  <a:lnTo>
                    <a:pt x="96" y="36"/>
                  </a:lnTo>
                  <a:lnTo>
                    <a:pt x="90" y="36"/>
                  </a:lnTo>
                  <a:lnTo>
                    <a:pt x="84" y="42"/>
                  </a:lnTo>
                  <a:lnTo>
                    <a:pt x="84" y="48"/>
                  </a:lnTo>
                  <a:lnTo>
                    <a:pt x="90" y="60"/>
                  </a:lnTo>
                  <a:lnTo>
                    <a:pt x="90" y="72"/>
                  </a:lnTo>
                  <a:lnTo>
                    <a:pt x="96" y="78"/>
                  </a:lnTo>
                  <a:lnTo>
                    <a:pt x="96" y="84"/>
                  </a:lnTo>
                  <a:lnTo>
                    <a:pt x="150" y="90"/>
                  </a:lnTo>
                  <a:lnTo>
                    <a:pt x="138" y="126"/>
                  </a:lnTo>
                  <a:lnTo>
                    <a:pt x="150" y="126"/>
                  </a:lnTo>
                  <a:lnTo>
                    <a:pt x="180" y="114"/>
                  </a:lnTo>
                  <a:lnTo>
                    <a:pt x="210" y="114"/>
                  </a:lnTo>
                  <a:lnTo>
                    <a:pt x="234" y="126"/>
                  </a:lnTo>
                  <a:lnTo>
                    <a:pt x="240" y="132"/>
                  </a:lnTo>
                  <a:lnTo>
                    <a:pt x="252" y="138"/>
                  </a:lnTo>
                  <a:lnTo>
                    <a:pt x="270" y="156"/>
                  </a:lnTo>
                  <a:lnTo>
                    <a:pt x="288" y="156"/>
                  </a:lnTo>
                  <a:lnTo>
                    <a:pt x="294" y="150"/>
                  </a:lnTo>
                  <a:lnTo>
                    <a:pt x="312" y="150"/>
                  </a:lnTo>
                  <a:lnTo>
                    <a:pt x="318" y="156"/>
                  </a:lnTo>
                  <a:lnTo>
                    <a:pt x="330" y="156"/>
                  </a:lnTo>
                  <a:lnTo>
                    <a:pt x="330" y="144"/>
                  </a:lnTo>
                  <a:lnTo>
                    <a:pt x="348" y="132"/>
                  </a:lnTo>
                  <a:lnTo>
                    <a:pt x="336" y="114"/>
                  </a:lnTo>
                  <a:close/>
                  <a:moveTo>
                    <a:pt x="36" y="78"/>
                  </a:moveTo>
                  <a:lnTo>
                    <a:pt x="6" y="78"/>
                  </a:lnTo>
                  <a:lnTo>
                    <a:pt x="0" y="84"/>
                  </a:lnTo>
                  <a:lnTo>
                    <a:pt x="0" y="102"/>
                  </a:lnTo>
                  <a:lnTo>
                    <a:pt x="6" y="108"/>
                  </a:lnTo>
                  <a:lnTo>
                    <a:pt x="18" y="132"/>
                  </a:lnTo>
                  <a:lnTo>
                    <a:pt x="24" y="126"/>
                  </a:lnTo>
                  <a:lnTo>
                    <a:pt x="30" y="114"/>
                  </a:lnTo>
                  <a:lnTo>
                    <a:pt x="42" y="108"/>
                  </a:lnTo>
                  <a:lnTo>
                    <a:pt x="54" y="108"/>
                  </a:lnTo>
                  <a:lnTo>
                    <a:pt x="60" y="102"/>
                  </a:lnTo>
                  <a:lnTo>
                    <a:pt x="72" y="96"/>
                  </a:lnTo>
                  <a:lnTo>
                    <a:pt x="78" y="90"/>
                  </a:lnTo>
                  <a:lnTo>
                    <a:pt x="72" y="72"/>
                  </a:lnTo>
                  <a:lnTo>
                    <a:pt x="36" y="78"/>
                  </a:lnTo>
                  <a:close/>
                  <a:moveTo>
                    <a:pt x="36" y="66"/>
                  </a:moveTo>
                  <a:lnTo>
                    <a:pt x="48" y="66"/>
                  </a:lnTo>
                  <a:lnTo>
                    <a:pt x="54" y="54"/>
                  </a:lnTo>
                  <a:lnTo>
                    <a:pt x="60" y="48"/>
                  </a:lnTo>
                  <a:lnTo>
                    <a:pt x="60" y="42"/>
                  </a:lnTo>
                  <a:lnTo>
                    <a:pt x="54" y="36"/>
                  </a:lnTo>
                  <a:lnTo>
                    <a:pt x="48" y="36"/>
                  </a:lnTo>
                  <a:lnTo>
                    <a:pt x="36" y="42"/>
                  </a:lnTo>
                  <a:lnTo>
                    <a:pt x="30" y="48"/>
                  </a:lnTo>
                  <a:lnTo>
                    <a:pt x="24" y="60"/>
                  </a:lnTo>
                  <a:lnTo>
                    <a:pt x="30" y="66"/>
                  </a:lnTo>
                  <a:lnTo>
                    <a:pt x="36" y="66"/>
                  </a:lnTo>
                  <a:close/>
                </a:path>
              </a:pathLst>
            </a:custGeom>
            <a:solidFill>
              <a:srgbClr val="00508C"/>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65" name="Eritrea" descr="© INSCALE GmbH, 05.05.2010&#10;http://www.presentationload.com/"/>
            <p:cNvSpPr>
              <a:spLocks/>
            </p:cNvSpPr>
            <p:nvPr/>
          </p:nvSpPr>
          <p:spPr bwMode="gray">
            <a:xfrm>
              <a:off x="5248280" y="3492500"/>
              <a:ext cx="193676" cy="184150"/>
            </a:xfrm>
            <a:custGeom>
              <a:avLst/>
              <a:gdLst>
                <a:gd name="T0" fmla="*/ 2147483647 w 480"/>
                <a:gd name="T1" fmla="*/ 2147483647 h 456"/>
                <a:gd name="T2" fmla="*/ 2147483647 w 480"/>
                <a:gd name="T3" fmla="*/ 2147483647 h 456"/>
                <a:gd name="T4" fmla="*/ 2147483647 w 480"/>
                <a:gd name="T5" fmla="*/ 2147483647 h 456"/>
                <a:gd name="T6" fmla="*/ 2147483647 w 480"/>
                <a:gd name="T7" fmla="*/ 2147483647 h 456"/>
                <a:gd name="T8" fmla="*/ 2147483647 w 480"/>
                <a:gd name="T9" fmla="*/ 2147483647 h 456"/>
                <a:gd name="T10" fmla="*/ 2147483647 w 480"/>
                <a:gd name="T11" fmla="*/ 2147483647 h 456"/>
                <a:gd name="T12" fmla="*/ 2147483647 w 480"/>
                <a:gd name="T13" fmla="*/ 2147483647 h 456"/>
                <a:gd name="T14" fmla="*/ 2147483647 w 480"/>
                <a:gd name="T15" fmla="*/ 2147483647 h 456"/>
                <a:gd name="T16" fmla="*/ 0 w 480"/>
                <a:gd name="T17" fmla="*/ 2147483647 h 456"/>
                <a:gd name="T18" fmla="*/ 2147483647 w 480"/>
                <a:gd name="T19" fmla="*/ 2147483647 h 456"/>
                <a:gd name="T20" fmla="*/ 2147483647 w 480"/>
                <a:gd name="T21" fmla="*/ 2147483647 h 456"/>
                <a:gd name="T22" fmla="*/ 2147483647 w 480"/>
                <a:gd name="T23" fmla="*/ 2147483647 h 456"/>
                <a:gd name="T24" fmla="*/ 2147483647 w 480"/>
                <a:gd name="T25" fmla="*/ 2147483647 h 456"/>
                <a:gd name="T26" fmla="*/ 2147483647 w 480"/>
                <a:gd name="T27" fmla="*/ 2147483647 h 456"/>
                <a:gd name="T28" fmla="*/ 2147483647 w 480"/>
                <a:gd name="T29" fmla="*/ 2147483647 h 456"/>
                <a:gd name="T30" fmla="*/ 2147483647 w 480"/>
                <a:gd name="T31" fmla="*/ 2147483647 h 456"/>
                <a:gd name="T32" fmla="*/ 2147483647 w 480"/>
                <a:gd name="T33" fmla="*/ 2147483647 h 456"/>
                <a:gd name="T34" fmla="*/ 2147483647 w 480"/>
                <a:gd name="T35" fmla="*/ 2147483647 h 456"/>
                <a:gd name="T36" fmla="*/ 2147483647 w 480"/>
                <a:gd name="T37" fmla="*/ 2147483647 h 456"/>
                <a:gd name="T38" fmla="*/ 2147483647 w 480"/>
                <a:gd name="T39" fmla="*/ 2147483647 h 456"/>
                <a:gd name="T40" fmla="*/ 2147483647 w 480"/>
                <a:gd name="T41" fmla="*/ 2147483647 h 456"/>
                <a:gd name="T42" fmla="*/ 2147483647 w 480"/>
                <a:gd name="T43" fmla="*/ 2147483647 h 456"/>
                <a:gd name="T44" fmla="*/ 2147483647 w 480"/>
                <a:gd name="T45" fmla="*/ 2147483647 h 456"/>
                <a:gd name="T46" fmla="*/ 2147483647 w 480"/>
                <a:gd name="T47" fmla="*/ 2147483647 h 456"/>
                <a:gd name="T48" fmla="*/ 2147483647 w 480"/>
                <a:gd name="T49" fmla="*/ 2147483647 h 456"/>
                <a:gd name="T50" fmla="*/ 2147483647 w 480"/>
                <a:gd name="T51" fmla="*/ 2147483647 h 456"/>
                <a:gd name="T52" fmla="*/ 2147483647 w 480"/>
                <a:gd name="T53" fmla="*/ 2147483647 h 456"/>
                <a:gd name="T54" fmla="*/ 2147483647 w 480"/>
                <a:gd name="T55" fmla="*/ 2147483647 h 456"/>
                <a:gd name="T56" fmla="*/ 2147483647 w 480"/>
                <a:gd name="T57" fmla="*/ 2147483647 h 456"/>
                <a:gd name="T58" fmla="*/ 2147483647 w 480"/>
                <a:gd name="T59" fmla="*/ 2147483647 h 456"/>
                <a:gd name="T60" fmla="*/ 2147483647 w 480"/>
                <a:gd name="T61" fmla="*/ 2147483647 h 456"/>
                <a:gd name="T62" fmla="*/ 2147483647 w 480"/>
                <a:gd name="T63" fmla="*/ 2147483647 h 456"/>
                <a:gd name="T64" fmla="*/ 2147483647 w 480"/>
                <a:gd name="T65" fmla="*/ 2147483647 h 456"/>
                <a:gd name="T66" fmla="*/ 2147483647 w 480"/>
                <a:gd name="T67" fmla="*/ 2147483647 h 456"/>
                <a:gd name="T68" fmla="*/ 2147483647 w 480"/>
                <a:gd name="T69" fmla="*/ 2147483647 h 456"/>
                <a:gd name="T70" fmla="*/ 2147483647 w 480"/>
                <a:gd name="T71" fmla="*/ 2147483647 h 456"/>
                <a:gd name="T72" fmla="*/ 2147483647 w 480"/>
                <a:gd name="T73" fmla="*/ 2147483647 h 456"/>
                <a:gd name="T74" fmla="*/ 2147483647 w 480"/>
                <a:gd name="T75" fmla="*/ 2147483647 h 456"/>
                <a:gd name="T76" fmla="*/ 2147483647 w 480"/>
                <a:gd name="T77" fmla="*/ 2147483647 h 456"/>
                <a:gd name="T78" fmla="*/ 2147483647 w 480"/>
                <a:gd name="T79" fmla="*/ 2147483647 h 456"/>
                <a:gd name="T80" fmla="*/ 2147483647 w 480"/>
                <a:gd name="T81" fmla="*/ 2147483647 h 456"/>
                <a:gd name="T82" fmla="*/ 2147483647 w 480"/>
                <a:gd name="T83" fmla="*/ 2147483647 h 456"/>
                <a:gd name="T84" fmla="*/ 2147483647 w 480"/>
                <a:gd name="T85" fmla="*/ 2147483647 h 456"/>
                <a:gd name="T86" fmla="*/ 2147483647 w 480"/>
                <a:gd name="T87" fmla="*/ 2147483647 h 456"/>
                <a:gd name="T88" fmla="*/ 2147483647 w 480"/>
                <a:gd name="T89" fmla="*/ 2147483647 h 456"/>
                <a:gd name="T90" fmla="*/ 2147483647 w 480"/>
                <a:gd name="T91" fmla="*/ 2147483647 h 456"/>
                <a:gd name="T92" fmla="*/ 2147483647 w 480"/>
                <a:gd name="T93" fmla="*/ 2147483647 h 456"/>
                <a:gd name="T94" fmla="*/ 2147483647 w 480"/>
                <a:gd name="T95" fmla="*/ 2147483647 h 456"/>
                <a:gd name="T96" fmla="*/ 2147483647 w 480"/>
                <a:gd name="T97" fmla="*/ 0 h 456"/>
                <a:gd name="T98" fmla="*/ 2147483647 w 480"/>
                <a:gd name="T99" fmla="*/ 2147483647 h 456"/>
                <a:gd name="T100" fmla="*/ 2147483647 w 480"/>
                <a:gd name="T101" fmla="*/ 2147483647 h 456"/>
                <a:gd name="T102" fmla="*/ 2147483647 w 480"/>
                <a:gd name="T103" fmla="*/ 2147483647 h 45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80"/>
                <a:gd name="T157" fmla="*/ 0 h 456"/>
                <a:gd name="T158" fmla="*/ 480 w 480"/>
                <a:gd name="T159" fmla="*/ 456 h 45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80" h="456">
                  <a:moveTo>
                    <a:pt x="78" y="54"/>
                  </a:moveTo>
                  <a:lnTo>
                    <a:pt x="78" y="66"/>
                  </a:lnTo>
                  <a:lnTo>
                    <a:pt x="72" y="72"/>
                  </a:lnTo>
                  <a:lnTo>
                    <a:pt x="72" y="78"/>
                  </a:lnTo>
                  <a:lnTo>
                    <a:pt x="66" y="84"/>
                  </a:lnTo>
                  <a:lnTo>
                    <a:pt x="48" y="84"/>
                  </a:lnTo>
                  <a:lnTo>
                    <a:pt x="48" y="102"/>
                  </a:lnTo>
                  <a:lnTo>
                    <a:pt x="42" y="108"/>
                  </a:lnTo>
                  <a:lnTo>
                    <a:pt x="30" y="108"/>
                  </a:lnTo>
                  <a:lnTo>
                    <a:pt x="30" y="120"/>
                  </a:lnTo>
                  <a:lnTo>
                    <a:pt x="36" y="126"/>
                  </a:lnTo>
                  <a:lnTo>
                    <a:pt x="36" y="168"/>
                  </a:lnTo>
                  <a:lnTo>
                    <a:pt x="30" y="180"/>
                  </a:lnTo>
                  <a:lnTo>
                    <a:pt x="24" y="186"/>
                  </a:lnTo>
                  <a:lnTo>
                    <a:pt x="18" y="186"/>
                  </a:lnTo>
                  <a:lnTo>
                    <a:pt x="18" y="222"/>
                  </a:lnTo>
                  <a:lnTo>
                    <a:pt x="12" y="222"/>
                  </a:lnTo>
                  <a:lnTo>
                    <a:pt x="0" y="228"/>
                  </a:lnTo>
                  <a:lnTo>
                    <a:pt x="0" y="246"/>
                  </a:lnTo>
                  <a:lnTo>
                    <a:pt x="6" y="252"/>
                  </a:lnTo>
                  <a:lnTo>
                    <a:pt x="12" y="300"/>
                  </a:lnTo>
                  <a:lnTo>
                    <a:pt x="48" y="300"/>
                  </a:lnTo>
                  <a:lnTo>
                    <a:pt x="54" y="294"/>
                  </a:lnTo>
                  <a:lnTo>
                    <a:pt x="54" y="288"/>
                  </a:lnTo>
                  <a:lnTo>
                    <a:pt x="60" y="288"/>
                  </a:lnTo>
                  <a:lnTo>
                    <a:pt x="66" y="294"/>
                  </a:lnTo>
                  <a:lnTo>
                    <a:pt x="66" y="300"/>
                  </a:lnTo>
                  <a:lnTo>
                    <a:pt x="84" y="318"/>
                  </a:lnTo>
                  <a:lnTo>
                    <a:pt x="96" y="306"/>
                  </a:lnTo>
                  <a:lnTo>
                    <a:pt x="96" y="294"/>
                  </a:lnTo>
                  <a:lnTo>
                    <a:pt x="102" y="276"/>
                  </a:lnTo>
                  <a:lnTo>
                    <a:pt x="108" y="264"/>
                  </a:lnTo>
                  <a:lnTo>
                    <a:pt x="108" y="252"/>
                  </a:lnTo>
                  <a:lnTo>
                    <a:pt x="120" y="258"/>
                  </a:lnTo>
                  <a:lnTo>
                    <a:pt x="132" y="270"/>
                  </a:lnTo>
                  <a:lnTo>
                    <a:pt x="138" y="270"/>
                  </a:lnTo>
                  <a:lnTo>
                    <a:pt x="144" y="276"/>
                  </a:lnTo>
                  <a:lnTo>
                    <a:pt x="150" y="288"/>
                  </a:lnTo>
                  <a:lnTo>
                    <a:pt x="180" y="288"/>
                  </a:lnTo>
                  <a:lnTo>
                    <a:pt x="186" y="276"/>
                  </a:lnTo>
                  <a:lnTo>
                    <a:pt x="192" y="270"/>
                  </a:lnTo>
                  <a:lnTo>
                    <a:pt x="198" y="276"/>
                  </a:lnTo>
                  <a:lnTo>
                    <a:pt x="198" y="288"/>
                  </a:lnTo>
                  <a:lnTo>
                    <a:pt x="210" y="288"/>
                  </a:lnTo>
                  <a:lnTo>
                    <a:pt x="222" y="282"/>
                  </a:lnTo>
                  <a:lnTo>
                    <a:pt x="240" y="282"/>
                  </a:lnTo>
                  <a:lnTo>
                    <a:pt x="246" y="288"/>
                  </a:lnTo>
                  <a:lnTo>
                    <a:pt x="276" y="288"/>
                  </a:lnTo>
                  <a:lnTo>
                    <a:pt x="294" y="312"/>
                  </a:lnTo>
                  <a:lnTo>
                    <a:pt x="306" y="312"/>
                  </a:lnTo>
                  <a:lnTo>
                    <a:pt x="312" y="318"/>
                  </a:lnTo>
                  <a:lnTo>
                    <a:pt x="324" y="324"/>
                  </a:lnTo>
                  <a:lnTo>
                    <a:pt x="348" y="360"/>
                  </a:lnTo>
                  <a:lnTo>
                    <a:pt x="354" y="366"/>
                  </a:lnTo>
                  <a:lnTo>
                    <a:pt x="378" y="378"/>
                  </a:lnTo>
                  <a:lnTo>
                    <a:pt x="390" y="390"/>
                  </a:lnTo>
                  <a:lnTo>
                    <a:pt x="390" y="414"/>
                  </a:lnTo>
                  <a:lnTo>
                    <a:pt x="396" y="420"/>
                  </a:lnTo>
                  <a:lnTo>
                    <a:pt x="408" y="426"/>
                  </a:lnTo>
                  <a:lnTo>
                    <a:pt x="420" y="426"/>
                  </a:lnTo>
                  <a:lnTo>
                    <a:pt x="432" y="444"/>
                  </a:lnTo>
                  <a:lnTo>
                    <a:pt x="456" y="456"/>
                  </a:lnTo>
                  <a:lnTo>
                    <a:pt x="468" y="438"/>
                  </a:lnTo>
                  <a:lnTo>
                    <a:pt x="480" y="432"/>
                  </a:lnTo>
                  <a:lnTo>
                    <a:pt x="474" y="420"/>
                  </a:lnTo>
                  <a:lnTo>
                    <a:pt x="456" y="402"/>
                  </a:lnTo>
                  <a:lnTo>
                    <a:pt x="432" y="402"/>
                  </a:lnTo>
                  <a:lnTo>
                    <a:pt x="426" y="396"/>
                  </a:lnTo>
                  <a:lnTo>
                    <a:pt x="426" y="360"/>
                  </a:lnTo>
                  <a:lnTo>
                    <a:pt x="420" y="360"/>
                  </a:lnTo>
                  <a:lnTo>
                    <a:pt x="414" y="354"/>
                  </a:lnTo>
                  <a:lnTo>
                    <a:pt x="366" y="330"/>
                  </a:lnTo>
                  <a:lnTo>
                    <a:pt x="360" y="324"/>
                  </a:lnTo>
                  <a:lnTo>
                    <a:pt x="360" y="312"/>
                  </a:lnTo>
                  <a:lnTo>
                    <a:pt x="354" y="300"/>
                  </a:lnTo>
                  <a:lnTo>
                    <a:pt x="354" y="288"/>
                  </a:lnTo>
                  <a:lnTo>
                    <a:pt x="348" y="276"/>
                  </a:lnTo>
                  <a:lnTo>
                    <a:pt x="348" y="270"/>
                  </a:lnTo>
                  <a:lnTo>
                    <a:pt x="336" y="270"/>
                  </a:lnTo>
                  <a:lnTo>
                    <a:pt x="324" y="264"/>
                  </a:lnTo>
                  <a:lnTo>
                    <a:pt x="306" y="264"/>
                  </a:lnTo>
                  <a:lnTo>
                    <a:pt x="282" y="240"/>
                  </a:lnTo>
                  <a:lnTo>
                    <a:pt x="264" y="246"/>
                  </a:lnTo>
                  <a:lnTo>
                    <a:pt x="252" y="228"/>
                  </a:lnTo>
                  <a:lnTo>
                    <a:pt x="234" y="222"/>
                  </a:lnTo>
                  <a:lnTo>
                    <a:pt x="216" y="204"/>
                  </a:lnTo>
                  <a:lnTo>
                    <a:pt x="210" y="192"/>
                  </a:lnTo>
                  <a:lnTo>
                    <a:pt x="204" y="186"/>
                  </a:lnTo>
                  <a:lnTo>
                    <a:pt x="198" y="174"/>
                  </a:lnTo>
                  <a:lnTo>
                    <a:pt x="198" y="114"/>
                  </a:lnTo>
                  <a:lnTo>
                    <a:pt x="192" y="90"/>
                  </a:lnTo>
                  <a:lnTo>
                    <a:pt x="186" y="78"/>
                  </a:lnTo>
                  <a:lnTo>
                    <a:pt x="180" y="60"/>
                  </a:lnTo>
                  <a:lnTo>
                    <a:pt x="168" y="42"/>
                  </a:lnTo>
                  <a:lnTo>
                    <a:pt x="162" y="24"/>
                  </a:lnTo>
                  <a:lnTo>
                    <a:pt x="156" y="12"/>
                  </a:lnTo>
                  <a:lnTo>
                    <a:pt x="150" y="6"/>
                  </a:lnTo>
                  <a:lnTo>
                    <a:pt x="150" y="0"/>
                  </a:lnTo>
                  <a:lnTo>
                    <a:pt x="144" y="0"/>
                  </a:lnTo>
                  <a:lnTo>
                    <a:pt x="144" y="12"/>
                  </a:lnTo>
                  <a:lnTo>
                    <a:pt x="132" y="36"/>
                  </a:lnTo>
                  <a:lnTo>
                    <a:pt x="108" y="48"/>
                  </a:lnTo>
                  <a:lnTo>
                    <a:pt x="90" y="54"/>
                  </a:lnTo>
                  <a:lnTo>
                    <a:pt x="78" y="54"/>
                  </a:lnTo>
                  <a:close/>
                </a:path>
              </a:pathLst>
            </a:custGeom>
            <a:solidFill>
              <a:srgbClr val="692864"/>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66" name="Equatorial Guinea" descr="© INSCALE GmbH, 05.05.2010&#10;http://www.presentationload.com/"/>
            <p:cNvSpPr>
              <a:spLocks/>
            </p:cNvSpPr>
            <p:nvPr/>
          </p:nvSpPr>
          <p:spPr bwMode="gray">
            <a:xfrm>
              <a:off x="4479929" y="4002087"/>
              <a:ext cx="58737" cy="44450"/>
            </a:xfrm>
            <a:custGeom>
              <a:avLst/>
              <a:gdLst>
                <a:gd name="T0" fmla="*/ 2147483647 w 144"/>
                <a:gd name="T1" fmla="*/ 2147483647 h 108"/>
                <a:gd name="T2" fmla="*/ 2147483647 w 144"/>
                <a:gd name="T3" fmla="*/ 2147483647 h 108"/>
                <a:gd name="T4" fmla="*/ 2147483647 w 144"/>
                <a:gd name="T5" fmla="*/ 2147483647 h 108"/>
                <a:gd name="T6" fmla="*/ 2147483647 w 144"/>
                <a:gd name="T7" fmla="*/ 0 h 108"/>
                <a:gd name="T8" fmla="*/ 2147483647 w 144"/>
                <a:gd name="T9" fmla="*/ 2147483647 h 108"/>
                <a:gd name="T10" fmla="*/ 2147483647 w 144"/>
                <a:gd name="T11" fmla="*/ 2147483647 h 108"/>
                <a:gd name="T12" fmla="*/ 2147483647 w 144"/>
                <a:gd name="T13" fmla="*/ 2147483647 h 108"/>
                <a:gd name="T14" fmla="*/ 2147483647 w 144"/>
                <a:gd name="T15" fmla="*/ 2147483647 h 108"/>
                <a:gd name="T16" fmla="*/ 2147483647 w 144"/>
                <a:gd name="T17" fmla="*/ 2147483647 h 108"/>
                <a:gd name="T18" fmla="*/ 0 w 144"/>
                <a:gd name="T19" fmla="*/ 2147483647 h 108"/>
                <a:gd name="T20" fmla="*/ 0 w 144"/>
                <a:gd name="T21" fmla="*/ 2147483647 h 108"/>
                <a:gd name="T22" fmla="*/ 2147483647 w 144"/>
                <a:gd name="T23" fmla="*/ 2147483647 h 108"/>
                <a:gd name="T24" fmla="*/ 2147483647 w 144"/>
                <a:gd name="T25" fmla="*/ 2147483647 h 108"/>
                <a:gd name="T26" fmla="*/ 2147483647 w 144"/>
                <a:gd name="T27" fmla="*/ 2147483647 h 108"/>
                <a:gd name="T28" fmla="*/ 2147483647 w 144"/>
                <a:gd name="T29" fmla="*/ 2147483647 h 108"/>
                <a:gd name="T30" fmla="*/ 2147483647 w 144"/>
                <a:gd name="T31" fmla="*/ 2147483647 h 108"/>
                <a:gd name="T32" fmla="*/ 2147483647 w 144"/>
                <a:gd name="T33" fmla="*/ 2147483647 h 108"/>
                <a:gd name="T34" fmla="*/ 2147483647 w 144"/>
                <a:gd name="T35" fmla="*/ 2147483647 h 108"/>
                <a:gd name="T36" fmla="*/ 2147483647 w 144"/>
                <a:gd name="T37" fmla="*/ 2147483647 h 108"/>
                <a:gd name="T38" fmla="*/ 2147483647 w 144"/>
                <a:gd name="T39" fmla="*/ 2147483647 h 10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
                <a:gd name="T61" fmla="*/ 0 h 108"/>
                <a:gd name="T62" fmla="*/ 144 w 144"/>
                <a:gd name="T63" fmla="*/ 108 h 10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 h="108">
                  <a:moveTo>
                    <a:pt x="138" y="48"/>
                  </a:moveTo>
                  <a:lnTo>
                    <a:pt x="144" y="12"/>
                  </a:lnTo>
                  <a:lnTo>
                    <a:pt x="48" y="12"/>
                  </a:lnTo>
                  <a:lnTo>
                    <a:pt x="36" y="0"/>
                  </a:lnTo>
                  <a:lnTo>
                    <a:pt x="30" y="6"/>
                  </a:lnTo>
                  <a:lnTo>
                    <a:pt x="30" y="42"/>
                  </a:lnTo>
                  <a:lnTo>
                    <a:pt x="18" y="54"/>
                  </a:lnTo>
                  <a:lnTo>
                    <a:pt x="12" y="66"/>
                  </a:lnTo>
                  <a:lnTo>
                    <a:pt x="6" y="72"/>
                  </a:lnTo>
                  <a:lnTo>
                    <a:pt x="0" y="84"/>
                  </a:lnTo>
                  <a:lnTo>
                    <a:pt x="0" y="90"/>
                  </a:lnTo>
                  <a:lnTo>
                    <a:pt x="6" y="96"/>
                  </a:lnTo>
                  <a:lnTo>
                    <a:pt x="18" y="102"/>
                  </a:lnTo>
                  <a:lnTo>
                    <a:pt x="36" y="102"/>
                  </a:lnTo>
                  <a:lnTo>
                    <a:pt x="36" y="108"/>
                  </a:lnTo>
                  <a:lnTo>
                    <a:pt x="138" y="108"/>
                  </a:lnTo>
                  <a:lnTo>
                    <a:pt x="138" y="102"/>
                  </a:lnTo>
                  <a:lnTo>
                    <a:pt x="144" y="84"/>
                  </a:lnTo>
                  <a:lnTo>
                    <a:pt x="144" y="54"/>
                  </a:lnTo>
                  <a:lnTo>
                    <a:pt x="138" y="48"/>
                  </a:lnTo>
                  <a:close/>
                </a:path>
              </a:pathLst>
            </a:custGeom>
            <a:solidFill>
              <a:srgbClr val="692864"/>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67" name="El Salvador" descr="© INSCALE GmbH, 05.05.2010&#10;http://www.presentationload.com/"/>
            <p:cNvSpPr>
              <a:spLocks/>
            </p:cNvSpPr>
            <p:nvPr/>
          </p:nvSpPr>
          <p:spPr bwMode="gray">
            <a:xfrm>
              <a:off x="1651002" y="3609975"/>
              <a:ext cx="68261" cy="44450"/>
            </a:xfrm>
            <a:custGeom>
              <a:avLst/>
              <a:gdLst>
                <a:gd name="T0" fmla="*/ 2147483647 w 174"/>
                <a:gd name="T1" fmla="*/ 2147483647 h 114"/>
                <a:gd name="T2" fmla="*/ 2147483647 w 174"/>
                <a:gd name="T3" fmla="*/ 2147483647 h 114"/>
                <a:gd name="T4" fmla="*/ 2147483647 w 174"/>
                <a:gd name="T5" fmla="*/ 2147483647 h 114"/>
                <a:gd name="T6" fmla="*/ 2147483647 w 174"/>
                <a:gd name="T7" fmla="*/ 2147483647 h 114"/>
                <a:gd name="T8" fmla="*/ 2147483647 w 174"/>
                <a:gd name="T9" fmla="*/ 2147483647 h 114"/>
                <a:gd name="T10" fmla="*/ 2147483647 w 174"/>
                <a:gd name="T11" fmla="*/ 2147483647 h 114"/>
                <a:gd name="T12" fmla="*/ 2147483647 w 174"/>
                <a:gd name="T13" fmla="*/ 2147483647 h 114"/>
                <a:gd name="T14" fmla="*/ 2147483647 w 174"/>
                <a:gd name="T15" fmla="*/ 2147483647 h 114"/>
                <a:gd name="T16" fmla="*/ 2147483647 w 174"/>
                <a:gd name="T17" fmla="*/ 2147483647 h 114"/>
                <a:gd name="T18" fmla="*/ 2147483647 w 174"/>
                <a:gd name="T19" fmla="*/ 0 h 114"/>
                <a:gd name="T20" fmla="*/ 2147483647 w 174"/>
                <a:gd name="T21" fmla="*/ 2147483647 h 114"/>
                <a:gd name="T22" fmla="*/ 2147483647 w 174"/>
                <a:gd name="T23" fmla="*/ 2147483647 h 114"/>
                <a:gd name="T24" fmla="*/ 2147483647 w 174"/>
                <a:gd name="T25" fmla="*/ 2147483647 h 114"/>
                <a:gd name="T26" fmla="*/ 2147483647 w 174"/>
                <a:gd name="T27" fmla="*/ 2147483647 h 114"/>
                <a:gd name="T28" fmla="*/ 2147483647 w 174"/>
                <a:gd name="T29" fmla="*/ 2147483647 h 114"/>
                <a:gd name="T30" fmla="*/ 2147483647 w 174"/>
                <a:gd name="T31" fmla="*/ 2147483647 h 114"/>
                <a:gd name="T32" fmla="*/ 2147483647 w 174"/>
                <a:gd name="T33" fmla="*/ 2147483647 h 114"/>
                <a:gd name="T34" fmla="*/ 2147483647 w 174"/>
                <a:gd name="T35" fmla="*/ 2147483647 h 114"/>
                <a:gd name="T36" fmla="*/ 0 w 174"/>
                <a:gd name="T37" fmla="*/ 2147483647 h 114"/>
                <a:gd name="T38" fmla="*/ 2147483647 w 174"/>
                <a:gd name="T39" fmla="*/ 2147483647 h 114"/>
                <a:gd name="T40" fmla="*/ 2147483647 w 174"/>
                <a:gd name="T41" fmla="*/ 2147483647 h 114"/>
                <a:gd name="T42" fmla="*/ 2147483647 w 174"/>
                <a:gd name="T43" fmla="*/ 2147483647 h 114"/>
                <a:gd name="T44" fmla="*/ 2147483647 w 174"/>
                <a:gd name="T45" fmla="*/ 2147483647 h 114"/>
                <a:gd name="T46" fmla="*/ 2147483647 w 174"/>
                <a:gd name="T47" fmla="*/ 2147483647 h 114"/>
                <a:gd name="T48" fmla="*/ 2147483647 w 174"/>
                <a:gd name="T49" fmla="*/ 2147483647 h 114"/>
                <a:gd name="T50" fmla="*/ 2147483647 w 174"/>
                <a:gd name="T51" fmla="*/ 2147483647 h 114"/>
                <a:gd name="T52" fmla="*/ 2147483647 w 174"/>
                <a:gd name="T53" fmla="*/ 2147483647 h 114"/>
                <a:gd name="T54" fmla="*/ 2147483647 w 174"/>
                <a:gd name="T55" fmla="*/ 2147483647 h 114"/>
                <a:gd name="T56" fmla="*/ 2147483647 w 174"/>
                <a:gd name="T57" fmla="*/ 2147483647 h 11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4"/>
                <a:gd name="T88" fmla="*/ 0 h 114"/>
                <a:gd name="T89" fmla="*/ 174 w 174"/>
                <a:gd name="T90" fmla="*/ 114 h 11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4" h="114">
                  <a:moveTo>
                    <a:pt x="174" y="84"/>
                  </a:moveTo>
                  <a:lnTo>
                    <a:pt x="174" y="42"/>
                  </a:lnTo>
                  <a:lnTo>
                    <a:pt x="138" y="42"/>
                  </a:lnTo>
                  <a:lnTo>
                    <a:pt x="132" y="48"/>
                  </a:lnTo>
                  <a:lnTo>
                    <a:pt x="120" y="48"/>
                  </a:lnTo>
                  <a:lnTo>
                    <a:pt x="114" y="42"/>
                  </a:lnTo>
                  <a:lnTo>
                    <a:pt x="114" y="24"/>
                  </a:lnTo>
                  <a:lnTo>
                    <a:pt x="90" y="24"/>
                  </a:lnTo>
                  <a:lnTo>
                    <a:pt x="78" y="12"/>
                  </a:lnTo>
                  <a:lnTo>
                    <a:pt x="72" y="0"/>
                  </a:lnTo>
                  <a:lnTo>
                    <a:pt x="60" y="6"/>
                  </a:lnTo>
                  <a:lnTo>
                    <a:pt x="48" y="6"/>
                  </a:lnTo>
                  <a:lnTo>
                    <a:pt x="48" y="18"/>
                  </a:lnTo>
                  <a:lnTo>
                    <a:pt x="42" y="24"/>
                  </a:lnTo>
                  <a:lnTo>
                    <a:pt x="36" y="36"/>
                  </a:lnTo>
                  <a:lnTo>
                    <a:pt x="30" y="36"/>
                  </a:lnTo>
                  <a:lnTo>
                    <a:pt x="24" y="42"/>
                  </a:lnTo>
                  <a:lnTo>
                    <a:pt x="12" y="48"/>
                  </a:lnTo>
                  <a:lnTo>
                    <a:pt x="0" y="60"/>
                  </a:lnTo>
                  <a:lnTo>
                    <a:pt x="6" y="66"/>
                  </a:lnTo>
                  <a:lnTo>
                    <a:pt x="18" y="72"/>
                  </a:lnTo>
                  <a:lnTo>
                    <a:pt x="24" y="78"/>
                  </a:lnTo>
                  <a:lnTo>
                    <a:pt x="72" y="78"/>
                  </a:lnTo>
                  <a:lnTo>
                    <a:pt x="96" y="102"/>
                  </a:lnTo>
                  <a:lnTo>
                    <a:pt x="132" y="96"/>
                  </a:lnTo>
                  <a:lnTo>
                    <a:pt x="150" y="114"/>
                  </a:lnTo>
                  <a:lnTo>
                    <a:pt x="168" y="84"/>
                  </a:lnTo>
                  <a:lnTo>
                    <a:pt x="174" y="90"/>
                  </a:lnTo>
                  <a:lnTo>
                    <a:pt x="174" y="84"/>
                  </a:lnTo>
                  <a:close/>
                </a:path>
              </a:pathLst>
            </a:custGeom>
            <a:solidFill>
              <a:srgbClr val="658B26"/>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68" name="Egypt" descr="© INSCALE GmbH, 05.05.2010&#10;http://www.presentationload.com/"/>
            <p:cNvSpPr>
              <a:spLocks/>
            </p:cNvSpPr>
            <p:nvPr/>
          </p:nvSpPr>
          <p:spPr bwMode="gray">
            <a:xfrm>
              <a:off x="4903791" y="3051175"/>
              <a:ext cx="317500" cy="323850"/>
            </a:xfrm>
            <a:custGeom>
              <a:avLst/>
              <a:gdLst>
                <a:gd name="T0" fmla="*/ 2147483647 w 792"/>
                <a:gd name="T1" fmla="*/ 2147483647 h 804"/>
                <a:gd name="T2" fmla="*/ 2147483647 w 792"/>
                <a:gd name="T3" fmla="*/ 2147483647 h 804"/>
                <a:gd name="T4" fmla="*/ 2147483647 w 792"/>
                <a:gd name="T5" fmla="*/ 2147483647 h 804"/>
                <a:gd name="T6" fmla="*/ 2147483647 w 792"/>
                <a:gd name="T7" fmla="*/ 2147483647 h 804"/>
                <a:gd name="T8" fmla="*/ 2147483647 w 792"/>
                <a:gd name="T9" fmla="*/ 2147483647 h 804"/>
                <a:gd name="T10" fmla="*/ 2147483647 w 792"/>
                <a:gd name="T11" fmla="*/ 2147483647 h 804"/>
                <a:gd name="T12" fmla="*/ 2147483647 w 792"/>
                <a:gd name="T13" fmla="*/ 2147483647 h 804"/>
                <a:gd name="T14" fmla="*/ 2147483647 w 792"/>
                <a:gd name="T15" fmla="*/ 2147483647 h 804"/>
                <a:gd name="T16" fmla="*/ 2147483647 w 792"/>
                <a:gd name="T17" fmla="*/ 2147483647 h 804"/>
                <a:gd name="T18" fmla="*/ 2147483647 w 792"/>
                <a:gd name="T19" fmla="*/ 2147483647 h 804"/>
                <a:gd name="T20" fmla="*/ 2147483647 w 792"/>
                <a:gd name="T21" fmla="*/ 2147483647 h 804"/>
                <a:gd name="T22" fmla="*/ 2147483647 w 792"/>
                <a:gd name="T23" fmla="*/ 2147483647 h 804"/>
                <a:gd name="T24" fmla="*/ 2147483647 w 792"/>
                <a:gd name="T25" fmla="*/ 2147483647 h 804"/>
                <a:gd name="T26" fmla="*/ 2147483647 w 792"/>
                <a:gd name="T27" fmla="*/ 2147483647 h 804"/>
                <a:gd name="T28" fmla="*/ 2147483647 w 792"/>
                <a:gd name="T29" fmla="*/ 2147483647 h 804"/>
                <a:gd name="T30" fmla="*/ 2147483647 w 792"/>
                <a:gd name="T31" fmla="*/ 2147483647 h 804"/>
                <a:gd name="T32" fmla="*/ 2147483647 w 792"/>
                <a:gd name="T33" fmla="*/ 2147483647 h 804"/>
                <a:gd name="T34" fmla="*/ 2147483647 w 792"/>
                <a:gd name="T35" fmla="*/ 2147483647 h 804"/>
                <a:gd name="T36" fmla="*/ 2147483647 w 792"/>
                <a:gd name="T37" fmla="*/ 2147483647 h 804"/>
                <a:gd name="T38" fmla="*/ 2147483647 w 792"/>
                <a:gd name="T39" fmla="*/ 2147483647 h 804"/>
                <a:gd name="T40" fmla="*/ 2147483647 w 792"/>
                <a:gd name="T41" fmla="*/ 2147483647 h 804"/>
                <a:gd name="T42" fmla="*/ 2147483647 w 792"/>
                <a:gd name="T43" fmla="*/ 2147483647 h 804"/>
                <a:gd name="T44" fmla="*/ 2147483647 w 792"/>
                <a:gd name="T45" fmla="*/ 2147483647 h 804"/>
                <a:gd name="T46" fmla="*/ 2147483647 w 792"/>
                <a:gd name="T47" fmla="*/ 2147483647 h 804"/>
                <a:gd name="T48" fmla="*/ 2147483647 w 792"/>
                <a:gd name="T49" fmla="*/ 2147483647 h 804"/>
                <a:gd name="T50" fmla="*/ 2147483647 w 792"/>
                <a:gd name="T51" fmla="*/ 2147483647 h 804"/>
                <a:gd name="T52" fmla="*/ 2147483647 w 792"/>
                <a:gd name="T53" fmla="*/ 2147483647 h 804"/>
                <a:gd name="T54" fmla="*/ 2147483647 w 792"/>
                <a:gd name="T55" fmla="*/ 2147483647 h 804"/>
                <a:gd name="T56" fmla="*/ 2147483647 w 792"/>
                <a:gd name="T57" fmla="*/ 2147483647 h 804"/>
                <a:gd name="T58" fmla="*/ 2147483647 w 792"/>
                <a:gd name="T59" fmla="*/ 2147483647 h 804"/>
                <a:gd name="T60" fmla="*/ 2147483647 w 792"/>
                <a:gd name="T61" fmla="*/ 2147483647 h 804"/>
                <a:gd name="T62" fmla="*/ 2147483647 w 792"/>
                <a:gd name="T63" fmla="*/ 2147483647 h 804"/>
                <a:gd name="T64" fmla="*/ 2147483647 w 792"/>
                <a:gd name="T65" fmla="*/ 2147483647 h 804"/>
                <a:gd name="T66" fmla="*/ 2147483647 w 792"/>
                <a:gd name="T67" fmla="*/ 2147483647 h 804"/>
                <a:gd name="T68" fmla="*/ 2147483647 w 792"/>
                <a:gd name="T69" fmla="*/ 2147483647 h 804"/>
                <a:gd name="T70" fmla="*/ 2147483647 w 792"/>
                <a:gd name="T71" fmla="*/ 2147483647 h 804"/>
                <a:gd name="T72" fmla="*/ 2147483647 w 792"/>
                <a:gd name="T73" fmla="*/ 2147483647 h 804"/>
                <a:gd name="T74" fmla="*/ 2147483647 w 792"/>
                <a:gd name="T75" fmla="*/ 2147483647 h 804"/>
                <a:gd name="T76" fmla="*/ 2147483647 w 792"/>
                <a:gd name="T77" fmla="*/ 2147483647 h 804"/>
                <a:gd name="T78" fmla="*/ 2147483647 w 792"/>
                <a:gd name="T79" fmla="*/ 2147483647 h 804"/>
                <a:gd name="T80" fmla="*/ 2147483647 w 792"/>
                <a:gd name="T81" fmla="*/ 2147483647 h 804"/>
                <a:gd name="T82" fmla="*/ 2147483647 w 792"/>
                <a:gd name="T83" fmla="*/ 2147483647 h 804"/>
                <a:gd name="T84" fmla="*/ 2147483647 w 792"/>
                <a:gd name="T85" fmla="*/ 2147483647 h 804"/>
                <a:gd name="T86" fmla="*/ 2147483647 w 792"/>
                <a:gd name="T87" fmla="*/ 2147483647 h 804"/>
                <a:gd name="T88" fmla="*/ 2147483647 w 792"/>
                <a:gd name="T89" fmla="*/ 2147483647 h 804"/>
                <a:gd name="T90" fmla="*/ 2147483647 w 792"/>
                <a:gd name="T91" fmla="*/ 0 h 804"/>
                <a:gd name="T92" fmla="*/ 2147483647 w 792"/>
                <a:gd name="T93" fmla="*/ 2147483647 h 804"/>
                <a:gd name="T94" fmla="*/ 2147483647 w 792"/>
                <a:gd name="T95" fmla="*/ 0 h 8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92"/>
                <a:gd name="T145" fmla="*/ 0 h 804"/>
                <a:gd name="T146" fmla="*/ 792 w 792"/>
                <a:gd name="T147" fmla="*/ 804 h 80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92" h="804">
                  <a:moveTo>
                    <a:pt x="12" y="18"/>
                  </a:moveTo>
                  <a:lnTo>
                    <a:pt x="6" y="24"/>
                  </a:lnTo>
                  <a:lnTo>
                    <a:pt x="6" y="54"/>
                  </a:lnTo>
                  <a:lnTo>
                    <a:pt x="18" y="60"/>
                  </a:lnTo>
                  <a:lnTo>
                    <a:pt x="24" y="72"/>
                  </a:lnTo>
                  <a:lnTo>
                    <a:pt x="24" y="78"/>
                  </a:lnTo>
                  <a:lnTo>
                    <a:pt x="18" y="84"/>
                  </a:lnTo>
                  <a:lnTo>
                    <a:pt x="12" y="96"/>
                  </a:lnTo>
                  <a:lnTo>
                    <a:pt x="6" y="102"/>
                  </a:lnTo>
                  <a:lnTo>
                    <a:pt x="0" y="114"/>
                  </a:lnTo>
                  <a:lnTo>
                    <a:pt x="0" y="120"/>
                  </a:lnTo>
                  <a:lnTo>
                    <a:pt x="6" y="132"/>
                  </a:lnTo>
                  <a:lnTo>
                    <a:pt x="18" y="144"/>
                  </a:lnTo>
                  <a:lnTo>
                    <a:pt x="30" y="180"/>
                  </a:lnTo>
                  <a:lnTo>
                    <a:pt x="30" y="264"/>
                  </a:lnTo>
                  <a:lnTo>
                    <a:pt x="36" y="342"/>
                  </a:lnTo>
                  <a:lnTo>
                    <a:pt x="36" y="438"/>
                  </a:lnTo>
                  <a:lnTo>
                    <a:pt x="42" y="534"/>
                  </a:lnTo>
                  <a:lnTo>
                    <a:pt x="42" y="624"/>
                  </a:lnTo>
                  <a:lnTo>
                    <a:pt x="48" y="702"/>
                  </a:lnTo>
                  <a:lnTo>
                    <a:pt x="48" y="774"/>
                  </a:lnTo>
                  <a:lnTo>
                    <a:pt x="474" y="780"/>
                  </a:lnTo>
                  <a:lnTo>
                    <a:pt x="492" y="762"/>
                  </a:lnTo>
                  <a:lnTo>
                    <a:pt x="498" y="762"/>
                  </a:lnTo>
                  <a:lnTo>
                    <a:pt x="498" y="774"/>
                  </a:lnTo>
                  <a:lnTo>
                    <a:pt x="618" y="780"/>
                  </a:lnTo>
                  <a:lnTo>
                    <a:pt x="624" y="786"/>
                  </a:lnTo>
                  <a:lnTo>
                    <a:pt x="630" y="798"/>
                  </a:lnTo>
                  <a:lnTo>
                    <a:pt x="636" y="804"/>
                  </a:lnTo>
                  <a:lnTo>
                    <a:pt x="654" y="804"/>
                  </a:lnTo>
                  <a:lnTo>
                    <a:pt x="660" y="798"/>
                  </a:lnTo>
                  <a:lnTo>
                    <a:pt x="672" y="774"/>
                  </a:lnTo>
                  <a:lnTo>
                    <a:pt x="684" y="762"/>
                  </a:lnTo>
                  <a:lnTo>
                    <a:pt x="696" y="762"/>
                  </a:lnTo>
                  <a:lnTo>
                    <a:pt x="702" y="756"/>
                  </a:lnTo>
                  <a:lnTo>
                    <a:pt x="720" y="756"/>
                  </a:lnTo>
                  <a:lnTo>
                    <a:pt x="726" y="750"/>
                  </a:lnTo>
                  <a:lnTo>
                    <a:pt x="732" y="738"/>
                  </a:lnTo>
                  <a:lnTo>
                    <a:pt x="732" y="714"/>
                  </a:lnTo>
                  <a:lnTo>
                    <a:pt x="762" y="714"/>
                  </a:lnTo>
                  <a:lnTo>
                    <a:pt x="786" y="690"/>
                  </a:lnTo>
                  <a:lnTo>
                    <a:pt x="780" y="684"/>
                  </a:lnTo>
                  <a:lnTo>
                    <a:pt x="774" y="672"/>
                  </a:lnTo>
                  <a:lnTo>
                    <a:pt x="774" y="624"/>
                  </a:lnTo>
                  <a:lnTo>
                    <a:pt x="792" y="618"/>
                  </a:lnTo>
                  <a:lnTo>
                    <a:pt x="786" y="618"/>
                  </a:lnTo>
                  <a:lnTo>
                    <a:pt x="756" y="588"/>
                  </a:lnTo>
                  <a:lnTo>
                    <a:pt x="732" y="552"/>
                  </a:lnTo>
                  <a:lnTo>
                    <a:pt x="726" y="528"/>
                  </a:lnTo>
                  <a:lnTo>
                    <a:pt x="714" y="492"/>
                  </a:lnTo>
                  <a:lnTo>
                    <a:pt x="702" y="468"/>
                  </a:lnTo>
                  <a:lnTo>
                    <a:pt x="690" y="462"/>
                  </a:lnTo>
                  <a:lnTo>
                    <a:pt x="684" y="450"/>
                  </a:lnTo>
                  <a:lnTo>
                    <a:pt x="672" y="444"/>
                  </a:lnTo>
                  <a:lnTo>
                    <a:pt x="666" y="432"/>
                  </a:lnTo>
                  <a:lnTo>
                    <a:pt x="654" y="396"/>
                  </a:lnTo>
                  <a:lnTo>
                    <a:pt x="654" y="378"/>
                  </a:lnTo>
                  <a:lnTo>
                    <a:pt x="618" y="336"/>
                  </a:lnTo>
                  <a:lnTo>
                    <a:pt x="618" y="318"/>
                  </a:lnTo>
                  <a:lnTo>
                    <a:pt x="606" y="294"/>
                  </a:lnTo>
                  <a:lnTo>
                    <a:pt x="594" y="282"/>
                  </a:lnTo>
                  <a:lnTo>
                    <a:pt x="588" y="270"/>
                  </a:lnTo>
                  <a:lnTo>
                    <a:pt x="576" y="258"/>
                  </a:lnTo>
                  <a:lnTo>
                    <a:pt x="570" y="246"/>
                  </a:lnTo>
                  <a:lnTo>
                    <a:pt x="558" y="234"/>
                  </a:lnTo>
                  <a:lnTo>
                    <a:pt x="552" y="222"/>
                  </a:lnTo>
                  <a:lnTo>
                    <a:pt x="546" y="216"/>
                  </a:lnTo>
                  <a:lnTo>
                    <a:pt x="552" y="210"/>
                  </a:lnTo>
                  <a:lnTo>
                    <a:pt x="552" y="198"/>
                  </a:lnTo>
                  <a:lnTo>
                    <a:pt x="540" y="174"/>
                  </a:lnTo>
                  <a:lnTo>
                    <a:pt x="528" y="168"/>
                  </a:lnTo>
                  <a:lnTo>
                    <a:pt x="522" y="168"/>
                  </a:lnTo>
                  <a:lnTo>
                    <a:pt x="540" y="144"/>
                  </a:lnTo>
                  <a:lnTo>
                    <a:pt x="558" y="156"/>
                  </a:lnTo>
                  <a:lnTo>
                    <a:pt x="558" y="174"/>
                  </a:lnTo>
                  <a:lnTo>
                    <a:pt x="564" y="186"/>
                  </a:lnTo>
                  <a:lnTo>
                    <a:pt x="576" y="198"/>
                  </a:lnTo>
                  <a:lnTo>
                    <a:pt x="582" y="210"/>
                  </a:lnTo>
                  <a:lnTo>
                    <a:pt x="588" y="216"/>
                  </a:lnTo>
                  <a:lnTo>
                    <a:pt x="588" y="246"/>
                  </a:lnTo>
                  <a:lnTo>
                    <a:pt x="606" y="264"/>
                  </a:lnTo>
                  <a:lnTo>
                    <a:pt x="612" y="276"/>
                  </a:lnTo>
                  <a:lnTo>
                    <a:pt x="636" y="300"/>
                  </a:lnTo>
                  <a:lnTo>
                    <a:pt x="648" y="306"/>
                  </a:lnTo>
                  <a:lnTo>
                    <a:pt x="654" y="306"/>
                  </a:lnTo>
                  <a:lnTo>
                    <a:pt x="666" y="300"/>
                  </a:lnTo>
                  <a:lnTo>
                    <a:pt x="678" y="288"/>
                  </a:lnTo>
                  <a:lnTo>
                    <a:pt x="672" y="270"/>
                  </a:lnTo>
                  <a:lnTo>
                    <a:pt x="684" y="246"/>
                  </a:lnTo>
                  <a:lnTo>
                    <a:pt x="684" y="234"/>
                  </a:lnTo>
                  <a:lnTo>
                    <a:pt x="690" y="222"/>
                  </a:lnTo>
                  <a:lnTo>
                    <a:pt x="690" y="198"/>
                  </a:lnTo>
                  <a:lnTo>
                    <a:pt x="696" y="186"/>
                  </a:lnTo>
                  <a:lnTo>
                    <a:pt x="696" y="180"/>
                  </a:lnTo>
                  <a:lnTo>
                    <a:pt x="702" y="168"/>
                  </a:lnTo>
                  <a:lnTo>
                    <a:pt x="648" y="24"/>
                  </a:lnTo>
                  <a:lnTo>
                    <a:pt x="642" y="24"/>
                  </a:lnTo>
                  <a:lnTo>
                    <a:pt x="636" y="30"/>
                  </a:lnTo>
                  <a:lnTo>
                    <a:pt x="624" y="30"/>
                  </a:lnTo>
                  <a:lnTo>
                    <a:pt x="600" y="42"/>
                  </a:lnTo>
                  <a:lnTo>
                    <a:pt x="576" y="42"/>
                  </a:lnTo>
                  <a:lnTo>
                    <a:pt x="564" y="36"/>
                  </a:lnTo>
                  <a:lnTo>
                    <a:pt x="558" y="30"/>
                  </a:lnTo>
                  <a:lnTo>
                    <a:pt x="552" y="36"/>
                  </a:lnTo>
                  <a:lnTo>
                    <a:pt x="540" y="42"/>
                  </a:lnTo>
                  <a:lnTo>
                    <a:pt x="534" y="42"/>
                  </a:lnTo>
                  <a:lnTo>
                    <a:pt x="510" y="30"/>
                  </a:lnTo>
                  <a:lnTo>
                    <a:pt x="504" y="24"/>
                  </a:lnTo>
                  <a:lnTo>
                    <a:pt x="504" y="18"/>
                  </a:lnTo>
                  <a:lnTo>
                    <a:pt x="498" y="12"/>
                  </a:lnTo>
                  <a:lnTo>
                    <a:pt x="486" y="6"/>
                  </a:lnTo>
                  <a:lnTo>
                    <a:pt x="468" y="6"/>
                  </a:lnTo>
                  <a:lnTo>
                    <a:pt x="456" y="12"/>
                  </a:lnTo>
                  <a:lnTo>
                    <a:pt x="438" y="12"/>
                  </a:lnTo>
                  <a:lnTo>
                    <a:pt x="432" y="18"/>
                  </a:lnTo>
                  <a:lnTo>
                    <a:pt x="420" y="18"/>
                  </a:lnTo>
                  <a:lnTo>
                    <a:pt x="414" y="12"/>
                  </a:lnTo>
                  <a:lnTo>
                    <a:pt x="390" y="12"/>
                  </a:lnTo>
                  <a:lnTo>
                    <a:pt x="378" y="18"/>
                  </a:lnTo>
                  <a:lnTo>
                    <a:pt x="372" y="24"/>
                  </a:lnTo>
                  <a:lnTo>
                    <a:pt x="366" y="36"/>
                  </a:lnTo>
                  <a:lnTo>
                    <a:pt x="360" y="42"/>
                  </a:lnTo>
                  <a:lnTo>
                    <a:pt x="336" y="42"/>
                  </a:lnTo>
                  <a:lnTo>
                    <a:pt x="324" y="54"/>
                  </a:lnTo>
                  <a:lnTo>
                    <a:pt x="312" y="60"/>
                  </a:lnTo>
                  <a:lnTo>
                    <a:pt x="306" y="60"/>
                  </a:lnTo>
                  <a:lnTo>
                    <a:pt x="300" y="54"/>
                  </a:lnTo>
                  <a:lnTo>
                    <a:pt x="288" y="54"/>
                  </a:lnTo>
                  <a:lnTo>
                    <a:pt x="276" y="48"/>
                  </a:lnTo>
                  <a:lnTo>
                    <a:pt x="264" y="48"/>
                  </a:lnTo>
                  <a:lnTo>
                    <a:pt x="258" y="42"/>
                  </a:lnTo>
                  <a:lnTo>
                    <a:pt x="204" y="42"/>
                  </a:lnTo>
                  <a:lnTo>
                    <a:pt x="198" y="36"/>
                  </a:lnTo>
                  <a:lnTo>
                    <a:pt x="186" y="30"/>
                  </a:lnTo>
                  <a:lnTo>
                    <a:pt x="174" y="18"/>
                  </a:lnTo>
                  <a:lnTo>
                    <a:pt x="126" y="18"/>
                  </a:lnTo>
                  <a:lnTo>
                    <a:pt x="120" y="12"/>
                  </a:lnTo>
                  <a:lnTo>
                    <a:pt x="96" y="0"/>
                  </a:lnTo>
                  <a:lnTo>
                    <a:pt x="78" y="0"/>
                  </a:lnTo>
                  <a:lnTo>
                    <a:pt x="66" y="12"/>
                  </a:lnTo>
                  <a:lnTo>
                    <a:pt x="54" y="12"/>
                  </a:lnTo>
                  <a:lnTo>
                    <a:pt x="42" y="6"/>
                  </a:lnTo>
                  <a:lnTo>
                    <a:pt x="36" y="6"/>
                  </a:lnTo>
                  <a:lnTo>
                    <a:pt x="36" y="0"/>
                  </a:lnTo>
                  <a:lnTo>
                    <a:pt x="30" y="0"/>
                  </a:lnTo>
                  <a:lnTo>
                    <a:pt x="12" y="18"/>
                  </a:lnTo>
                  <a:close/>
                </a:path>
              </a:pathLst>
            </a:custGeom>
            <a:solidFill>
              <a:srgbClr val="692864"/>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69" name="Ecuador" descr="© INSCALE GmbH, 05.05.2010&#10;http://www.presentationload.com/"/>
            <p:cNvSpPr>
              <a:spLocks noEditPoints="1"/>
            </p:cNvSpPr>
            <p:nvPr/>
          </p:nvSpPr>
          <p:spPr bwMode="gray">
            <a:xfrm>
              <a:off x="1890714" y="4025900"/>
              <a:ext cx="166687" cy="212725"/>
            </a:xfrm>
            <a:custGeom>
              <a:avLst/>
              <a:gdLst>
                <a:gd name="T0" fmla="*/ 2147483647 w 414"/>
                <a:gd name="T1" fmla="*/ 2147483647 h 528"/>
                <a:gd name="T2" fmla="*/ 2147483647 w 414"/>
                <a:gd name="T3" fmla="*/ 2147483647 h 528"/>
                <a:gd name="T4" fmla="*/ 2147483647 w 414"/>
                <a:gd name="T5" fmla="*/ 2147483647 h 528"/>
                <a:gd name="T6" fmla="*/ 2147483647 w 414"/>
                <a:gd name="T7" fmla="*/ 2147483647 h 528"/>
                <a:gd name="T8" fmla="*/ 2147483647 w 414"/>
                <a:gd name="T9" fmla="*/ 2147483647 h 528"/>
                <a:gd name="T10" fmla="*/ 2147483647 w 414"/>
                <a:gd name="T11" fmla="*/ 2147483647 h 528"/>
                <a:gd name="T12" fmla="*/ 2147483647 w 414"/>
                <a:gd name="T13" fmla="*/ 2147483647 h 528"/>
                <a:gd name="T14" fmla="*/ 2147483647 w 414"/>
                <a:gd name="T15" fmla="*/ 2147483647 h 528"/>
                <a:gd name="T16" fmla="*/ 2147483647 w 414"/>
                <a:gd name="T17" fmla="*/ 2147483647 h 528"/>
                <a:gd name="T18" fmla="*/ 2147483647 w 414"/>
                <a:gd name="T19" fmla="*/ 2147483647 h 528"/>
                <a:gd name="T20" fmla="*/ 2147483647 w 414"/>
                <a:gd name="T21" fmla="*/ 2147483647 h 528"/>
                <a:gd name="T22" fmla="*/ 2147483647 w 414"/>
                <a:gd name="T23" fmla="*/ 2147483647 h 528"/>
                <a:gd name="T24" fmla="*/ 2147483647 w 414"/>
                <a:gd name="T25" fmla="*/ 2147483647 h 528"/>
                <a:gd name="T26" fmla="*/ 2147483647 w 414"/>
                <a:gd name="T27" fmla="*/ 2147483647 h 528"/>
                <a:gd name="T28" fmla="*/ 2147483647 w 414"/>
                <a:gd name="T29" fmla="*/ 2147483647 h 528"/>
                <a:gd name="T30" fmla="*/ 2147483647 w 414"/>
                <a:gd name="T31" fmla="*/ 2147483647 h 528"/>
                <a:gd name="T32" fmla="*/ 2147483647 w 414"/>
                <a:gd name="T33" fmla="*/ 2147483647 h 528"/>
                <a:gd name="T34" fmla="*/ 2147483647 w 414"/>
                <a:gd name="T35" fmla="*/ 2147483647 h 528"/>
                <a:gd name="T36" fmla="*/ 2147483647 w 414"/>
                <a:gd name="T37" fmla="*/ 2147483647 h 528"/>
                <a:gd name="T38" fmla="*/ 2147483647 w 414"/>
                <a:gd name="T39" fmla="*/ 2147483647 h 528"/>
                <a:gd name="T40" fmla="*/ 2147483647 w 414"/>
                <a:gd name="T41" fmla="*/ 2147483647 h 528"/>
                <a:gd name="T42" fmla="*/ 2147483647 w 414"/>
                <a:gd name="T43" fmla="*/ 2147483647 h 528"/>
                <a:gd name="T44" fmla="*/ 2147483647 w 414"/>
                <a:gd name="T45" fmla="*/ 2147483647 h 528"/>
                <a:gd name="T46" fmla="*/ 2147483647 w 414"/>
                <a:gd name="T47" fmla="*/ 2147483647 h 528"/>
                <a:gd name="T48" fmla="*/ 2147483647 w 414"/>
                <a:gd name="T49" fmla="*/ 2147483647 h 528"/>
                <a:gd name="T50" fmla="*/ 2147483647 w 414"/>
                <a:gd name="T51" fmla="*/ 2147483647 h 528"/>
                <a:gd name="T52" fmla="*/ 2147483647 w 414"/>
                <a:gd name="T53" fmla="*/ 2147483647 h 528"/>
                <a:gd name="T54" fmla="*/ 2147483647 w 414"/>
                <a:gd name="T55" fmla="*/ 2147483647 h 528"/>
                <a:gd name="T56" fmla="*/ 2147483647 w 414"/>
                <a:gd name="T57" fmla="*/ 2147483647 h 528"/>
                <a:gd name="T58" fmla="*/ 2147483647 w 414"/>
                <a:gd name="T59" fmla="*/ 2147483647 h 528"/>
                <a:gd name="T60" fmla="*/ 2147483647 w 414"/>
                <a:gd name="T61" fmla="*/ 2147483647 h 528"/>
                <a:gd name="T62" fmla="*/ 2147483647 w 414"/>
                <a:gd name="T63" fmla="*/ 2147483647 h 528"/>
                <a:gd name="T64" fmla="*/ 2147483647 w 414"/>
                <a:gd name="T65" fmla="*/ 2147483647 h 528"/>
                <a:gd name="T66" fmla="*/ 2147483647 w 414"/>
                <a:gd name="T67" fmla="*/ 2147483647 h 528"/>
                <a:gd name="T68" fmla="*/ 2147483647 w 414"/>
                <a:gd name="T69" fmla="*/ 2147483647 h 528"/>
                <a:gd name="T70" fmla="*/ 2147483647 w 414"/>
                <a:gd name="T71" fmla="*/ 2147483647 h 528"/>
                <a:gd name="T72" fmla="*/ 2147483647 w 414"/>
                <a:gd name="T73" fmla="*/ 2147483647 h 528"/>
                <a:gd name="T74" fmla="*/ 2147483647 w 414"/>
                <a:gd name="T75" fmla="*/ 2147483647 h 528"/>
                <a:gd name="T76" fmla="*/ 2147483647 w 414"/>
                <a:gd name="T77" fmla="*/ 2147483647 h 528"/>
                <a:gd name="T78" fmla="*/ 2147483647 w 414"/>
                <a:gd name="T79" fmla="*/ 2147483647 h 528"/>
                <a:gd name="T80" fmla="*/ 2147483647 w 414"/>
                <a:gd name="T81" fmla="*/ 2147483647 h 528"/>
                <a:gd name="T82" fmla="*/ 2147483647 w 414"/>
                <a:gd name="T83" fmla="*/ 2147483647 h 528"/>
                <a:gd name="T84" fmla="*/ 2147483647 w 414"/>
                <a:gd name="T85" fmla="*/ 2147483647 h 528"/>
                <a:gd name="T86" fmla="*/ 2147483647 w 414"/>
                <a:gd name="T87" fmla="*/ 2147483647 h 528"/>
                <a:gd name="T88" fmla="*/ 2147483647 w 414"/>
                <a:gd name="T89" fmla="*/ 2147483647 h 52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14"/>
                <a:gd name="T136" fmla="*/ 0 h 528"/>
                <a:gd name="T137" fmla="*/ 414 w 414"/>
                <a:gd name="T138" fmla="*/ 528 h 52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14" h="528">
                  <a:moveTo>
                    <a:pt x="60" y="372"/>
                  </a:moveTo>
                  <a:lnTo>
                    <a:pt x="72" y="366"/>
                  </a:lnTo>
                  <a:lnTo>
                    <a:pt x="78" y="360"/>
                  </a:lnTo>
                  <a:lnTo>
                    <a:pt x="78" y="342"/>
                  </a:lnTo>
                  <a:lnTo>
                    <a:pt x="72" y="342"/>
                  </a:lnTo>
                  <a:lnTo>
                    <a:pt x="54" y="360"/>
                  </a:lnTo>
                  <a:lnTo>
                    <a:pt x="54" y="372"/>
                  </a:lnTo>
                  <a:lnTo>
                    <a:pt x="60" y="372"/>
                  </a:lnTo>
                  <a:close/>
                  <a:moveTo>
                    <a:pt x="414" y="174"/>
                  </a:moveTo>
                  <a:lnTo>
                    <a:pt x="390" y="156"/>
                  </a:lnTo>
                  <a:lnTo>
                    <a:pt x="396" y="156"/>
                  </a:lnTo>
                  <a:lnTo>
                    <a:pt x="396" y="150"/>
                  </a:lnTo>
                  <a:lnTo>
                    <a:pt x="402" y="150"/>
                  </a:lnTo>
                  <a:lnTo>
                    <a:pt x="402" y="126"/>
                  </a:lnTo>
                  <a:lnTo>
                    <a:pt x="372" y="126"/>
                  </a:lnTo>
                  <a:lnTo>
                    <a:pt x="360" y="114"/>
                  </a:lnTo>
                  <a:lnTo>
                    <a:pt x="360" y="108"/>
                  </a:lnTo>
                  <a:lnTo>
                    <a:pt x="354" y="102"/>
                  </a:lnTo>
                  <a:lnTo>
                    <a:pt x="354" y="96"/>
                  </a:lnTo>
                  <a:lnTo>
                    <a:pt x="342" y="90"/>
                  </a:lnTo>
                  <a:lnTo>
                    <a:pt x="336" y="90"/>
                  </a:lnTo>
                  <a:lnTo>
                    <a:pt x="330" y="96"/>
                  </a:lnTo>
                  <a:lnTo>
                    <a:pt x="330" y="108"/>
                  </a:lnTo>
                  <a:lnTo>
                    <a:pt x="306" y="108"/>
                  </a:lnTo>
                  <a:lnTo>
                    <a:pt x="300" y="102"/>
                  </a:lnTo>
                  <a:lnTo>
                    <a:pt x="288" y="96"/>
                  </a:lnTo>
                  <a:lnTo>
                    <a:pt x="282" y="102"/>
                  </a:lnTo>
                  <a:lnTo>
                    <a:pt x="270" y="102"/>
                  </a:lnTo>
                  <a:lnTo>
                    <a:pt x="258" y="96"/>
                  </a:lnTo>
                  <a:lnTo>
                    <a:pt x="252" y="90"/>
                  </a:lnTo>
                  <a:lnTo>
                    <a:pt x="252" y="84"/>
                  </a:lnTo>
                  <a:lnTo>
                    <a:pt x="246" y="72"/>
                  </a:lnTo>
                  <a:lnTo>
                    <a:pt x="240" y="66"/>
                  </a:lnTo>
                  <a:lnTo>
                    <a:pt x="228" y="60"/>
                  </a:lnTo>
                  <a:lnTo>
                    <a:pt x="210" y="60"/>
                  </a:lnTo>
                  <a:lnTo>
                    <a:pt x="204" y="48"/>
                  </a:lnTo>
                  <a:lnTo>
                    <a:pt x="168" y="30"/>
                  </a:lnTo>
                  <a:lnTo>
                    <a:pt x="162" y="18"/>
                  </a:lnTo>
                  <a:lnTo>
                    <a:pt x="150" y="12"/>
                  </a:lnTo>
                  <a:lnTo>
                    <a:pt x="144" y="0"/>
                  </a:lnTo>
                  <a:lnTo>
                    <a:pt x="144" y="12"/>
                  </a:lnTo>
                  <a:lnTo>
                    <a:pt x="150" y="18"/>
                  </a:lnTo>
                  <a:lnTo>
                    <a:pt x="150" y="36"/>
                  </a:lnTo>
                  <a:lnTo>
                    <a:pt x="144" y="42"/>
                  </a:lnTo>
                  <a:lnTo>
                    <a:pt x="120" y="54"/>
                  </a:lnTo>
                  <a:lnTo>
                    <a:pt x="102" y="54"/>
                  </a:lnTo>
                  <a:lnTo>
                    <a:pt x="96" y="42"/>
                  </a:lnTo>
                  <a:lnTo>
                    <a:pt x="90" y="42"/>
                  </a:lnTo>
                  <a:lnTo>
                    <a:pt x="78" y="54"/>
                  </a:lnTo>
                  <a:lnTo>
                    <a:pt x="66" y="60"/>
                  </a:lnTo>
                  <a:lnTo>
                    <a:pt x="60" y="72"/>
                  </a:lnTo>
                  <a:lnTo>
                    <a:pt x="60" y="84"/>
                  </a:lnTo>
                  <a:lnTo>
                    <a:pt x="66" y="90"/>
                  </a:lnTo>
                  <a:lnTo>
                    <a:pt x="72" y="102"/>
                  </a:lnTo>
                  <a:lnTo>
                    <a:pt x="72" y="120"/>
                  </a:lnTo>
                  <a:lnTo>
                    <a:pt x="66" y="126"/>
                  </a:lnTo>
                  <a:lnTo>
                    <a:pt x="54" y="132"/>
                  </a:lnTo>
                  <a:lnTo>
                    <a:pt x="42" y="144"/>
                  </a:lnTo>
                  <a:lnTo>
                    <a:pt x="42" y="162"/>
                  </a:lnTo>
                  <a:lnTo>
                    <a:pt x="48" y="168"/>
                  </a:lnTo>
                  <a:lnTo>
                    <a:pt x="54" y="180"/>
                  </a:lnTo>
                  <a:lnTo>
                    <a:pt x="36" y="180"/>
                  </a:lnTo>
                  <a:lnTo>
                    <a:pt x="36" y="198"/>
                  </a:lnTo>
                  <a:lnTo>
                    <a:pt x="0" y="216"/>
                  </a:lnTo>
                  <a:lnTo>
                    <a:pt x="24" y="228"/>
                  </a:lnTo>
                  <a:lnTo>
                    <a:pt x="12" y="258"/>
                  </a:lnTo>
                  <a:lnTo>
                    <a:pt x="24" y="270"/>
                  </a:lnTo>
                  <a:lnTo>
                    <a:pt x="24" y="282"/>
                  </a:lnTo>
                  <a:lnTo>
                    <a:pt x="6" y="300"/>
                  </a:lnTo>
                  <a:lnTo>
                    <a:pt x="0" y="300"/>
                  </a:lnTo>
                  <a:lnTo>
                    <a:pt x="12" y="312"/>
                  </a:lnTo>
                  <a:lnTo>
                    <a:pt x="6" y="318"/>
                  </a:lnTo>
                  <a:lnTo>
                    <a:pt x="6" y="324"/>
                  </a:lnTo>
                  <a:lnTo>
                    <a:pt x="18" y="336"/>
                  </a:lnTo>
                  <a:lnTo>
                    <a:pt x="30" y="342"/>
                  </a:lnTo>
                  <a:lnTo>
                    <a:pt x="60" y="342"/>
                  </a:lnTo>
                  <a:lnTo>
                    <a:pt x="72" y="330"/>
                  </a:lnTo>
                  <a:lnTo>
                    <a:pt x="72" y="324"/>
                  </a:lnTo>
                  <a:lnTo>
                    <a:pt x="96" y="330"/>
                  </a:lnTo>
                  <a:lnTo>
                    <a:pt x="102" y="342"/>
                  </a:lnTo>
                  <a:lnTo>
                    <a:pt x="102" y="348"/>
                  </a:lnTo>
                  <a:lnTo>
                    <a:pt x="96" y="366"/>
                  </a:lnTo>
                  <a:lnTo>
                    <a:pt x="90" y="372"/>
                  </a:lnTo>
                  <a:lnTo>
                    <a:pt x="90" y="384"/>
                  </a:lnTo>
                  <a:lnTo>
                    <a:pt x="84" y="396"/>
                  </a:lnTo>
                  <a:lnTo>
                    <a:pt x="72" y="402"/>
                  </a:lnTo>
                  <a:lnTo>
                    <a:pt x="66" y="402"/>
                  </a:lnTo>
                  <a:lnTo>
                    <a:pt x="60" y="408"/>
                  </a:lnTo>
                  <a:lnTo>
                    <a:pt x="54" y="408"/>
                  </a:lnTo>
                  <a:lnTo>
                    <a:pt x="60" y="408"/>
                  </a:lnTo>
                  <a:lnTo>
                    <a:pt x="72" y="414"/>
                  </a:lnTo>
                  <a:lnTo>
                    <a:pt x="78" y="414"/>
                  </a:lnTo>
                  <a:lnTo>
                    <a:pt x="78" y="420"/>
                  </a:lnTo>
                  <a:lnTo>
                    <a:pt x="72" y="426"/>
                  </a:lnTo>
                  <a:lnTo>
                    <a:pt x="66" y="438"/>
                  </a:lnTo>
                  <a:lnTo>
                    <a:pt x="54" y="444"/>
                  </a:lnTo>
                  <a:lnTo>
                    <a:pt x="48" y="456"/>
                  </a:lnTo>
                  <a:lnTo>
                    <a:pt x="42" y="462"/>
                  </a:lnTo>
                  <a:lnTo>
                    <a:pt x="54" y="474"/>
                  </a:lnTo>
                  <a:lnTo>
                    <a:pt x="42" y="486"/>
                  </a:lnTo>
                  <a:lnTo>
                    <a:pt x="48" y="492"/>
                  </a:lnTo>
                  <a:lnTo>
                    <a:pt x="54" y="492"/>
                  </a:lnTo>
                  <a:lnTo>
                    <a:pt x="66" y="486"/>
                  </a:lnTo>
                  <a:lnTo>
                    <a:pt x="78" y="474"/>
                  </a:lnTo>
                  <a:lnTo>
                    <a:pt x="90" y="486"/>
                  </a:lnTo>
                  <a:lnTo>
                    <a:pt x="120" y="486"/>
                  </a:lnTo>
                  <a:lnTo>
                    <a:pt x="120" y="492"/>
                  </a:lnTo>
                  <a:lnTo>
                    <a:pt x="126" y="498"/>
                  </a:lnTo>
                  <a:lnTo>
                    <a:pt x="126" y="516"/>
                  </a:lnTo>
                  <a:lnTo>
                    <a:pt x="132" y="528"/>
                  </a:lnTo>
                  <a:lnTo>
                    <a:pt x="150" y="528"/>
                  </a:lnTo>
                  <a:lnTo>
                    <a:pt x="150" y="522"/>
                  </a:lnTo>
                  <a:lnTo>
                    <a:pt x="156" y="516"/>
                  </a:lnTo>
                  <a:lnTo>
                    <a:pt x="156" y="510"/>
                  </a:lnTo>
                  <a:lnTo>
                    <a:pt x="162" y="504"/>
                  </a:lnTo>
                  <a:lnTo>
                    <a:pt x="180" y="504"/>
                  </a:lnTo>
                  <a:lnTo>
                    <a:pt x="180" y="474"/>
                  </a:lnTo>
                  <a:lnTo>
                    <a:pt x="186" y="462"/>
                  </a:lnTo>
                  <a:lnTo>
                    <a:pt x="186" y="438"/>
                  </a:lnTo>
                  <a:lnTo>
                    <a:pt x="198" y="426"/>
                  </a:lnTo>
                  <a:lnTo>
                    <a:pt x="198" y="408"/>
                  </a:lnTo>
                  <a:lnTo>
                    <a:pt x="210" y="402"/>
                  </a:lnTo>
                  <a:lnTo>
                    <a:pt x="210" y="396"/>
                  </a:lnTo>
                  <a:lnTo>
                    <a:pt x="228" y="378"/>
                  </a:lnTo>
                  <a:lnTo>
                    <a:pt x="246" y="366"/>
                  </a:lnTo>
                  <a:lnTo>
                    <a:pt x="264" y="360"/>
                  </a:lnTo>
                  <a:lnTo>
                    <a:pt x="324" y="330"/>
                  </a:lnTo>
                  <a:lnTo>
                    <a:pt x="342" y="318"/>
                  </a:lnTo>
                  <a:lnTo>
                    <a:pt x="354" y="300"/>
                  </a:lnTo>
                  <a:lnTo>
                    <a:pt x="366" y="288"/>
                  </a:lnTo>
                  <a:lnTo>
                    <a:pt x="372" y="276"/>
                  </a:lnTo>
                  <a:lnTo>
                    <a:pt x="384" y="264"/>
                  </a:lnTo>
                  <a:lnTo>
                    <a:pt x="390" y="252"/>
                  </a:lnTo>
                  <a:lnTo>
                    <a:pt x="402" y="210"/>
                  </a:lnTo>
                  <a:lnTo>
                    <a:pt x="414" y="204"/>
                  </a:lnTo>
                  <a:lnTo>
                    <a:pt x="414" y="174"/>
                  </a:lnTo>
                  <a:close/>
                </a:path>
              </a:pathLst>
            </a:custGeom>
            <a:solidFill>
              <a:srgbClr val="658B26"/>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70" name="East Timor" descr="© INSCALE GmbH, 05.05.2010&#10;http://www.presentationload.com/"/>
            <p:cNvSpPr>
              <a:spLocks noEditPoints="1"/>
            </p:cNvSpPr>
            <p:nvPr/>
          </p:nvSpPr>
          <p:spPr bwMode="gray">
            <a:xfrm>
              <a:off x="7756532" y="4344987"/>
              <a:ext cx="100012" cy="47625"/>
            </a:xfrm>
            <a:custGeom>
              <a:avLst/>
              <a:gdLst>
                <a:gd name="T0" fmla="*/ 2147483647 w 252"/>
                <a:gd name="T1" fmla="*/ 0 h 120"/>
                <a:gd name="T2" fmla="*/ 2147483647 w 252"/>
                <a:gd name="T3" fmla="*/ 2147483647 h 120"/>
                <a:gd name="T4" fmla="*/ 2147483647 w 252"/>
                <a:gd name="T5" fmla="*/ 2147483647 h 120"/>
                <a:gd name="T6" fmla="*/ 2147483647 w 252"/>
                <a:gd name="T7" fmla="*/ 2147483647 h 120"/>
                <a:gd name="T8" fmla="*/ 2147483647 w 252"/>
                <a:gd name="T9" fmla="*/ 2147483647 h 120"/>
                <a:gd name="T10" fmla="*/ 2147483647 w 252"/>
                <a:gd name="T11" fmla="*/ 2147483647 h 120"/>
                <a:gd name="T12" fmla="*/ 2147483647 w 252"/>
                <a:gd name="T13" fmla="*/ 2147483647 h 120"/>
                <a:gd name="T14" fmla="*/ 2147483647 w 252"/>
                <a:gd name="T15" fmla="*/ 2147483647 h 120"/>
                <a:gd name="T16" fmla="*/ 2147483647 w 252"/>
                <a:gd name="T17" fmla="*/ 2147483647 h 120"/>
                <a:gd name="T18" fmla="*/ 2147483647 w 252"/>
                <a:gd name="T19" fmla="*/ 2147483647 h 120"/>
                <a:gd name="T20" fmla="*/ 2147483647 w 252"/>
                <a:gd name="T21" fmla="*/ 2147483647 h 120"/>
                <a:gd name="T22" fmla="*/ 2147483647 w 252"/>
                <a:gd name="T23" fmla="*/ 2147483647 h 120"/>
                <a:gd name="T24" fmla="*/ 2147483647 w 252"/>
                <a:gd name="T25" fmla="*/ 2147483647 h 120"/>
                <a:gd name="T26" fmla="*/ 2147483647 w 252"/>
                <a:gd name="T27" fmla="*/ 2147483647 h 120"/>
                <a:gd name="T28" fmla="*/ 2147483647 w 252"/>
                <a:gd name="T29" fmla="*/ 2147483647 h 120"/>
                <a:gd name="T30" fmla="*/ 2147483647 w 252"/>
                <a:gd name="T31" fmla="*/ 2147483647 h 120"/>
                <a:gd name="T32" fmla="*/ 2147483647 w 252"/>
                <a:gd name="T33" fmla="*/ 2147483647 h 120"/>
                <a:gd name="T34" fmla="*/ 2147483647 w 252"/>
                <a:gd name="T35" fmla="*/ 2147483647 h 120"/>
                <a:gd name="T36" fmla="*/ 2147483647 w 252"/>
                <a:gd name="T37" fmla="*/ 2147483647 h 120"/>
                <a:gd name="T38" fmla="*/ 2147483647 w 252"/>
                <a:gd name="T39" fmla="*/ 2147483647 h 120"/>
                <a:gd name="T40" fmla="*/ 2147483647 w 252"/>
                <a:gd name="T41" fmla="*/ 2147483647 h 120"/>
                <a:gd name="T42" fmla="*/ 2147483647 w 252"/>
                <a:gd name="T43" fmla="*/ 2147483647 h 120"/>
                <a:gd name="T44" fmla="*/ 2147483647 w 252"/>
                <a:gd name="T45" fmla="*/ 2147483647 h 120"/>
                <a:gd name="T46" fmla="*/ 2147483647 w 252"/>
                <a:gd name="T47" fmla="*/ 0 h 120"/>
                <a:gd name="T48" fmla="*/ 0 w 252"/>
                <a:gd name="T49" fmla="*/ 2147483647 h 120"/>
                <a:gd name="T50" fmla="*/ 2147483647 w 252"/>
                <a:gd name="T51" fmla="*/ 2147483647 h 120"/>
                <a:gd name="T52" fmla="*/ 2147483647 w 252"/>
                <a:gd name="T53" fmla="*/ 2147483647 h 120"/>
                <a:gd name="T54" fmla="*/ 2147483647 w 252"/>
                <a:gd name="T55" fmla="*/ 2147483647 h 120"/>
                <a:gd name="T56" fmla="*/ 2147483647 w 252"/>
                <a:gd name="T57" fmla="*/ 2147483647 h 120"/>
                <a:gd name="T58" fmla="*/ 2147483647 w 252"/>
                <a:gd name="T59" fmla="*/ 2147483647 h 120"/>
                <a:gd name="T60" fmla="*/ 2147483647 w 252"/>
                <a:gd name="T61" fmla="*/ 2147483647 h 120"/>
                <a:gd name="T62" fmla="*/ 2147483647 w 252"/>
                <a:gd name="T63" fmla="*/ 2147483647 h 120"/>
                <a:gd name="T64" fmla="*/ 0 w 252"/>
                <a:gd name="T65" fmla="*/ 2147483647 h 1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52"/>
                <a:gd name="T100" fmla="*/ 0 h 120"/>
                <a:gd name="T101" fmla="*/ 252 w 252"/>
                <a:gd name="T102" fmla="*/ 120 h 1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52" h="120">
                  <a:moveTo>
                    <a:pt x="228" y="0"/>
                  </a:moveTo>
                  <a:lnTo>
                    <a:pt x="204" y="24"/>
                  </a:lnTo>
                  <a:lnTo>
                    <a:pt x="114" y="24"/>
                  </a:lnTo>
                  <a:lnTo>
                    <a:pt x="108" y="30"/>
                  </a:lnTo>
                  <a:lnTo>
                    <a:pt x="102" y="42"/>
                  </a:lnTo>
                  <a:lnTo>
                    <a:pt x="96" y="48"/>
                  </a:lnTo>
                  <a:lnTo>
                    <a:pt x="90" y="48"/>
                  </a:lnTo>
                  <a:lnTo>
                    <a:pt x="78" y="54"/>
                  </a:lnTo>
                  <a:lnTo>
                    <a:pt x="90" y="72"/>
                  </a:lnTo>
                  <a:lnTo>
                    <a:pt x="84" y="78"/>
                  </a:lnTo>
                  <a:lnTo>
                    <a:pt x="72" y="102"/>
                  </a:lnTo>
                  <a:lnTo>
                    <a:pt x="72" y="114"/>
                  </a:lnTo>
                  <a:lnTo>
                    <a:pt x="78" y="120"/>
                  </a:lnTo>
                  <a:lnTo>
                    <a:pt x="78" y="114"/>
                  </a:lnTo>
                  <a:lnTo>
                    <a:pt x="84" y="108"/>
                  </a:lnTo>
                  <a:lnTo>
                    <a:pt x="96" y="108"/>
                  </a:lnTo>
                  <a:lnTo>
                    <a:pt x="132" y="84"/>
                  </a:lnTo>
                  <a:lnTo>
                    <a:pt x="138" y="90"/>
                  </a:lnTo>
                  <a:lnTo>
                    <a:pt x="162" y="90"/>
                  </a:lnTo>
                  <a:lnTo>
                    <a:pt x="186" y="78"/>
                  </a:lnTo>
                  <a:lnTo>
                    <a:pt x="198" y="66"/>
                  </a:lnTo>
                  <a:lnTo>
                    <a:pt x="210" y="60"/>
                  </a:lnTo>
                  <a:lnTo>
                    <a:pt x="252" y="18"/>
                  </a:lnTo>
                  <a:lnTo>
                    <a:pt x="228" y="0"/>
                  </a:lnTo>
                  <a:close/>
                  <a:moveTo>
                    <a:pt x="0" y="90"/>
                  </a:moveTo>
                  <a:lnTo>
                    <a:pt x="6" y="102"/>
                  </a:lnTo>
                  <a:lnTo>
                    <a:pt x="18" y="96"/>
                  </a:lnTo>
                  <a:lnTo>
                    <a:pt x="24" y="90"/>
                  </a:lnTo>
                  <a:lnTo>
                    <a:pt x="36" y="90"/>
                  </a:lnTo>
                  <a:lnTo>
                    <a:pt x="36" y="84"/>
                  </a:lnTo>
                  <a:lnTo>
                    <a:pt x="42" y="72"/>
                  </a:lnTo>
                  <a:lnTo>
                    <a:pt x="18" y="72"/>
                  </a:lnTo>
                  <a:lnTo>
                    <a:pt x="0" y="90"/>
                  </a:lnTo>
                  <a:close/>
                </a:path>
              </a:pathLst>
            </a:custGeom>
            <a:solidFill>
              <a:srgbClr val="FFC000"/>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71" name="Dominican Republic" descr="© INSCALE GmbH, 05.05.2010&#10;http://www.presentationload.com/"/>
            <p:cNvSpPr>
              <a:spLocks/>
            </p:cNvSpPr>
            <p:nvPr/>
          </p:nvSpPr>
          <p:spPr bwMode="gray">
            <a:xfrm>
              <a:off x="2187576" y="3433762"/>
              <a:ext cx="100012" cy="66675"/>
            </a:xfrm>
            <a:custGeom>
              <a:avLst/>
              <a:gdLst>
                <a:gd name="T0" fmla="*/ 2147483647 w 252"/>
                <a:gd name="T1" fmla="*/ 2147483647 h 168"/>
                <a:gd name="T2" fmla="*/ 2147483647 w 252"/>
                <a:gd name="T3" fmla="*/ 2147483647 h 168"/>
                <a:gd name="T4" fmla="*/ 2147483647 w 252"/>
                <a:gd name="T5" fmla="*/ 2147483647 h 168"/>
                <a:gd name="T6" fmla="*/ 2147483647 w 252"/>
                <a:gd name="T7" fmla="*/ 2147483647 h 168"/>
                <a:gd name="T8" fmla="*/ 2147483647 w 252"/>
                <a:gd name="T9" fmla="*/ 2147483647 h 168"/>
                <a:gd name="T10" fmla="*/ 2147483647 w 252"/>
                <a:gd name="T11" fmla="*/ 2147483647 h 168"/>
                <a:gd name="T12" fmla="*/ 2147483647 w 252"/>
                <a:gd name="T13" fmla="*/ 2147483647 h 168"/>
                <a:gd name="T14" fmla="*/ 2147483647 w 252"/>
                <a:gd name="T15" fmla="*/ 2147483647 h 168"/>
                <a:gd name="T16" fmla="*/ 2147483647 w 252"/>
                <a:gd name="T17" fmla="*/ 2147483647 h 168"/>
                <a:gd name="T18" fmla="*/ 2147483647 w 252"/>
                <a:gd name="T19" fmla="*/ 2147483647 h 168"/>
                <a:gd name="T20" fmla="*/ 2147483647 w 252"/>
                <a:gd name="T21" fmla="*/ 0 h 168"/>
                <a:gd name="T22" fmla="*/ 2147483647 w 252"/>
                <a:gd name="T23" fmla="*/ 0 h 168"/>
                <a:gd name="T24" fmla="*/ 2147483647 w 252"/>
                <a:gd name="T25" fmla="*/ 2147483647 h 168"/>
                <a:gd name="T26" fmla="*/ 2147483647 w 252"/>
                <a:gd name="T27" fmla="*/ 2147483647 h 168"/>
                <a:gd name="T28" fmla="*/ 2147483647 w 252"/>
                <a:gd name="T29" fmla="*/ 2147483647 h 168"/>
                <a:gd name="T30" fmla="*/ 2147483647 w 252"/>
                <a:gd name="T31" fmla="*/ 2147483647 h 168"/>
                <a:gd name="T32" fmla="*/ 2147483647 w 252"/>
                <a:gd name="T33" fmla="*/ 2147483647 h 168"/>
                <a:gd name="T34" fmla="*/ 2147483647 w 252"/>
                <a:gd name="T35" fmla="*/ 2147483647 h 168"/>
                <a:gd name="T36" fmla="*/ 2147483647 w 252"/>
                <a:gd name="T37" fmla="*/ 2147483647 h 168"/>
                <a:gd name="T38" fmla="*/ 2147483647 w 252"/>
                <a:gd name="T39" fmla="*/ 2147483647 h 168"/>
                <a:gd name="T40" fmla="*/ 2147483647 w 252"/>
                <a:gd name="T41" fmla="*/ 2147483647 h 168"/>
                <a:gd name="T42" fmla="*/ 0 w 252"/>
                <a:gd name="T43" fmla="*/ 2147483647 h 168"/>
                <a:gd name="T44" fmla="*/ 0 w 252"/>
                <a:gd name="T45" fmla="*/ 2147483647 h 168"/>
                <a:gd name="T46" fmla="*/ 2147483647 w 252"/>
                <a:gd name="T47" fmla="*/ 2147483647 h 168"/>
                <a:gd name="T48" fmla="*/ 0 w 252"/>
                <a:gd name="T49" fmla="*/ 2147483647 h 168"/>
                <a:gd name="T50" fmla="*/ 2147483647 w 252"/>
                <a:gd name="T51" fmla="*/ 2147483647 h 168"/>
                <a:gd name="T52" fmla="*/ 2147483647 w 252"/>
                <a:gd name="T53" fmla="*/ 2147483647 h 168"/>
                <a:gd name="T54" fmla="*/ 2147483647 w 252"/>
                <a:gd name="T55" fmla="*/ 2147483647 h 168"/>
                <a:gd name="T56" fmla="*/ 2147483647 w 252"/>
                <a:gd name="T57" fmla="*/ 2147483647 h 168"/>
                <a:gd name="T58" fmla="*/ 2147483647 w 252"/>
                <a:gd name="T59" fmla="*/ 2147483647 h 168"/>
                <a:gd name="T60" fmla="*/ 2147483647 w 252"/>
                <a:gd name="T61" fmla="*/ 2147483647 h 168"/>
                <a:gd name="T62" fmla="*/ 2147483647 w 252"/>
                <a:gd name="T63" fmla="*/ 2147483647 h 168"/>
                <a:gd name="T64" fmla="*/ 2147483647 w 252"/>
                <a:gd name="T65" fmla="*/ 2147483647 h 168"/>
                <a:gd name="T66" fmla="*/ 2147483647 w 252"/>
                <a:gd name="T67" fmla="*/ 2147483647 h 16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52"/>
                <a:gd name="T103" fmla="*/ 0 h 168"/>
                <a:gd name="T104" fmla="*/ 252 w 252"/>
                <a:gd name="T105" fmla="*/ 168 h 16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52" h="168">
                  <a:moveTo>
                    <a:pt x="246" y="102"/>
                  </a:moveTo>
                  <a:lnTo>
                    <a:pt x="234" y="96"/>
                  </a:lnTo>
                  <a:lnTo>
                    <a:pt x="216" y="78"/>
                  </a:lnTo>
                  <a:lnTo>
                    <a:pt x="192" y="66"/>
                  </a:lnTo>
                  <a:lnTo>
                    <a:pt x="156" y="54"/>
                  </a:lnTo>
                  <a:lnTo>
                    <a:pt x="132" y="42"/>
                  </a:lnTo>
                  <a:lnTo>
                    <a:pt x="126" y="30"/>
                  </a:lnTo>
                  <a:lnTo>
                    <a:pt x="108" y="12"/>
                  </a:lnTo>
                  <a:lnTo>
                    <a:pt x="96" y="6"/>
                  </a:lnTo>
                  <a:lnTo>
                    <a:pt x="84" y="6"/>
                  </a:lnTo>
                  <a:lnTo>
                    <a:pt x="60" y="0"/>
                  </a:lnTo>
                  <a:lnTo>
                    <a:pt x="30" y="0"/>
                  </a:lnTo>
                  <a:lnTo>
                    <a:pt x="24" y="6"/>
                  </a:lnTo>
                  <a:lnTo>
                    <a:pt x="18" y="6"/>
                  </a:lnTo>
                  <a:lnTo>
                    <a:pt x="30" y="42"/>
                  </a:lnTo>
                  <a:lnTo>
                    <a:pt x="30" y="54"/>
                  </a:lnTo>
                  <a:lnTo>
                    <a:pt x="24" y="60"/>
                  </a:lnTo>
                  <a:lnTo>
                    <a:pt x="18" y="72"/>
                  </a:lnTo>
                  <a:lnTo>
                    <a:pt x="12" y="78"/>
                  </a:lnTo>
                  <a:lnTo>
                    <a:pt x="12" y="90"/>
                  </a:lnTo>
                  <a:lnTo>
                    <a:pt x="6" y="102"/>
                  </a:lnTo>
                  <a:lnTo>
                    <a:pt x="0" y="108"/>
                  </a:lnTo>
                  <a:lnTo>
                    <a:pt x="0" y="114"/>
                  </a:lnTo>
                  <a:lnTo>
                    <a:pt x="12" y="144"/>
                  </a:lnTo>
                  <a:lnTo>
                    <a:pt x="0" y="126"/>
                  </a:lnTo>
                  <a:lnTo>
                    <a:pt x="30" y="168"/>
                  </a:lnTo>
                  <a:lnTo>
                    <a:pt x="78" y="132"/>
                  </a:lnTo>
                  <a:lnTo>
                    <a:pt x="174" y="132"/>
                  </a:lnTo>
                  <a:lnTo>
                    <a:pt x="186" y="138"/>
                  </a:lnTo>
                  <a:lnTo>
                    <a:pt x="240" y="138"/>
                  </a:lnTo>
                  <a:lnTo>
                    <a:pt x="246" y="132"/>
                  </a:lnTo>
                  <a:lnTo>
                    <a:pt x="252" y="120"/>
                  </a:lnTo>
                  <a:lnTo>
                    <a:pt x="252" y="114"/>
                  </a:lnTo>
                  <a:lnTo>
                    <a:pt x="246" y="102"/>
                  </a:lnTo>
                  <a:close/>
                </a:path>
              </a:pathLst>
            </a:custGeom>
            <a:solidFill>
              <a:srgbClr val="658B26"/>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72" name="Djibouti" descr="© INSCALE GmbH, 05.05.2010&#10;http://www.presentationload.com/"/>
            <p:cNvSpPr>
              <a:spLocks/>
            </p:cNvSpPr>
            <p:nvPr/>
          </p:nvSpPr>
          <p:spPr bwMode="gray">
            <a:xfrm>
              <a:off x="5402268" y="3667125"/>
              <a:ext cx="47625" cy="55564"/>
            </a:xfrm>
            <a:custGeom>
              <a:avLst/>
              <a:gdLst>
                <a:gd name="T0" fmla="*/ 2147483647 w 114"/>
                <a:gd name="T1" fmla="*/ 2147483647 h 138"/>
                <a:gd name="T2" fmla="*/ 2147483647 w 114"/>
                <a:gd name="T3" fmla="*/ 2147483647 h 138"/>
                <a:gd name="T4" fmla="*/ 2147483647 w 114"/>
                <a:gd name="T5" fmla="*/ 2147483647 h 138"/>
                <a:gd name="T6" fmla="*/ 0 w 114"/>
                <a:gd name="T7" fmla="*/ 2147483647 h 138"/>
                <a:gd name="T8" fmla="*/ 0 w 114"/>
                <a:gd name="T9" fmla="*/ 2147483647 h 138"/>
                <a:gd name="T10" fmla="*/ 2147483647 w 114"/>
                <a:gd name="T11" fmla="*/ 2147483647 h 138"/>
                <a:gd name="T12" fmla="*/ 2147483647 w 114"/>
                <a:gd name="T13" fmla="*/ 2147483647 h 138"/>
                <a:gd name="T14" fmla="*/ 2147483647 w 114"/>
                <a:gd name="T15" fmla="*/ 2147483647 h 138"/>
                <a:gd name="T16" fmla="*/ 2147483647 w 114"/>
                <a:gd name="T17" fmla="*/ 2147483647 h 138"/>
                <a:gd name="T18" fmla="*/ 2147483647 w 114"/>
                <a:gd name="T19" fmla="*/ 2147483647 h 138"/>
                <a:gd name="T20" fmla="*/ 2147483647 w 114"/>
                <a:gd name="T21" fmla="*/ 2147483647 h 138"/>
                <a:gd name="T22" fmla="*/ 2147483647 w 114"/>
                <a:gd name="T23" fmla="*/ 2147483647 h 138"/>
                <a:gd name="T24" fmla="*/ 2147483647 w 114"/>
                <a:gd name="T25" fmla="*/ 2147483647 h 138"/>
                <a:gd name="T26" fmla="*/ 2147483647 w 114"/>
                <a:gd name="T27" fmla="*/ 2147483647 h 138"/>
                <a:gd name="T28" fmla="*/ 2147483647 w 114"/>
                <a:gd name="T29" fmla="*/ 2147483647 h 138"/>
                <a:gd name="T30" fmla="*/ 2147483647 w 114"/>
                <a:gd name="T31" fmla="*/ 2147483647 h 138"/>
                <a:gd name="T32" fmla="*/ 2147483647 w 114"/>
                <a:gd name="T33" fmla="*/ 2147483647 h 138"/>
                <a:gd name="T34" fmla="*/ 2147483647 w 114"/>
                <a:gd name="T35" fmla="*/ 2147483647 h 138"/>
                <a:gd name="T36" fmla="*/ 2147483647 w 114"/>
                <a:gd name="T37" fmla="*/ 2147483647 h 138"/>
                <a:gd name="T38" fmla="*/ 2147483647 w 114"/>
                <a:gd name="T39" fmla="*/ 2147483647 h 138"/>
                <a:gd name="T40" fmla="*/ 2147483647 w 114"/>
                <a:gd name="T41" fmla="*/ 2147483647 h 138"/>
                <a:gd name="T42" fmla="*/ 2147483647 w 114"/>
                <a:gd name="T43" fmla="*/ 2147483647 h 138"/>
                <a:gd name="T44" fmla="*/ 2147483647 w 114"/>
                <a:gd name="T45" fmla="*/ 2147483647 h 138"/>
                <a:gd name="T46" fmla="*/ 2147483647 w 114"/>
                <a:gd name="T47" fmla="*/ 2147483647 h 138"/>
                <a:gd name="T48" fmla="*/ 2147483647 w 114"/>
                <a:gd name="T49" fmla="*/ 2147483647 h 138"/>
                <a:gd name="T50" fmla="*/ 2147483647 w 114"/>
                <a:gd name="T51" fmla="*/ 2147483647 h 138"/>
                <a:gd name="T52" fmla="*/ 2147483647 w 114"/>
                <a:gd name="T53" fmla="*/ 2147483647 h 138"/>
                <a:gd name="T54" fmla="*/ 2147483647 w 114"/>
                <a:gd name="T55" fmla="*/ 0 h 138"/>
                <a:gd name="T56" fmla="*/ 2147483647 w 114"/>
                <a:gd name="T57" fmla="*/ 2147483647 h 138"/>
                <a:gd name="T58" fmla="*/ 2147483647 w 114"/>
                <a:gd name="T59" fmla="*/ 2147483647 h 1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14"/>
                <a:gd name="T91" fmla="*/ 0 h 138"/>
                <a:gd name="T92" fmla="*/ 114 w 114"/>
                <a:gd name="T93" fmla="*/ 138 h 13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14" h="138">
                  <a:moveTo>
                    <a:pt x="72" y="24"/>
                  </a:moveTo>
                  <a:lnTo>
                    <a:pt x="48" y="12"/>
                  </a:lnTo>
                  <a:lnTo>
                    <a:pt x="18" y="66"/>
                  </a:lnTo>
                  <a:lnTo>
                    <a:pt x="0" y="84"/>
                  </a:lnTo>
                  <a:lnTo>
                    <a:pt x="0" y="96"/>
                  </a:lnTo>
                  <a:lnTo>
                    <a:pt x="6" y="114"/>
                  </a:lnTo>
                  <a:lnTo>
                    <a:pt x="6" y="126"/>
                  </a:lnTo>
                  <a:lnTo>
                    <a:pt x="18" y="138"/>
                  </a:lnTo>
                  <a:lnTo>
                    <a:pt x="42" y="138"/>
                  </a:lnTo>
                  <a:lnTo>
                    <a:pt x="48" y="132"/>
                  </a:lnTo>
                  <a:lnTo>
                    <a:pt x="54" y="132"/>
                  </a:lnTo>
                  <a:lnTo>
                    <a:pt x="60" y="126"/>
                  </a:lnTo>
                  <a:lnTo>
                    <a:pt x="72" y="126"/>
                  </a:lnTo>
                  <a:lnTo>
                    <a:pt x="84" y="132"/>
                  </a:lnTo>
                  <a:lnTo>
                    <a:pt x="90" y="138"/>
                  </a:lnTo>
                  <a:lnTo>
                    <a:pt x="90" y="132"/>
                  </a:lnTo>
                  <a:lnTo>
                    <a:pt x="114" y="108"/>
                  </a:lnTo>
                  <a:lnTo>
                    <a:pt x="114" y="102"/>
                  </a:lnTo>
                  <a:lnTo>
                    <a:pt x="102" y="90"/>
                  </a:lnTo>
                  <a:lnTo>
                    <a:pt x="66" y="90"/>
                  </a:lnTo>
                  <a:lnTo>
                    <a:pt x="78" y="84"/>
                  </a:lnTo>
                  <a:lnTo>
                    <a:pt x="84" y="72"/>
                  </a:lnTo>
                  <a:lnTo>
                    <a:pt x="96" y="66"/>
                  </a:lnTo>
                  <a:lnTo>
                    <a:pt x="102" y="54"/>
                  </a:lnTo>
                  <a:lnTo>
                    <a:pt x="114" y="42"/>
                  </a:lnTo>
                  <a:lnTo>
                    <a:pt x="114" y="24"/>
                  </a:lnTo>
                  <a:lnTo>
                    <a:pt x="108" y="12"/>
                  </a:lnTo>
                  <a:lnTo>
                    <a:pt x="96" y="0"/>
                  </a:lnTo>
                  <a:lnTo>
                    <a:pt x="84" y="6"/>
                  </a:lnTo>
                  <a:lnTo>
                    <a:pt x="72" y="24"/>
                  </a:lnTo>
                  <a:close/>
                </a:path>
              </a:pathLst>
            </a:custGeom>
            <a:solidFill>
              <a:srgbClr val="692864"/>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73" name="Denmark" descr="© INSCALE GmbH, 05.05.2010&#10;http://www.presentationload.com/"/>
            <p:cNvSpPr>
              <a:spLocks noEditPoints="1"/>
            </p:cNvSpPr>
            <p:nvPr/>
          </p:nvSpPr>
          <p:spPr bwMode="gray">
            <a:xfrm>
              <a:off x="4454529" y="2227263"/>
              <a:ext cx="111125" cy="95250"/>
            </a:xfrm>
            <a:custGeom>
              <a:avLst/>
              <a:gdLst>
                <a:gd name="T0" fmla="*/ 2147483647 w 71"/>
                <a:gd name="T1" fmla="*/ 2147483647 h 60"/>
                <a:gd name="T2" fmla="*/ 2147483647 w 71"/>
                <a:gd name="T3" fmla="*/ 2147483647 h 60"/>
                <a:gd name="T4" fmla="*/ 2147483647 w 71"/>
                <a:gd name="T5" fmla="*/ 2147483647 h 60"/>
                <a:gd name="T6" fmla="*/ 2147483647 w 71"/>
                <a:gd name="T7" fmla="*/ 2147483647 h 60"/>
                <a:gd name="T8" fmla="*/ 2147483647 w 71"/>
                <a:gd name="T9" fmla="*/ 2147483647 h 60"/>
                <a:gd name="T10" fmla="*/ 2147483647 w 71"/>
                <a:gd name="T11" fmla="*/ 2147483647 h 60"/>
                <a:gd name="T12" fmla="*/ 2147483647 w 71"/>
                <a:gd name="T13" fmla="*/ 2147483647 h 60"/>
                <a:gd name="T14" fmla="*/ 2147483647 w 71"/>
                <a:gd name="T15" fmla="*/ 2147483647 h 60"/>
                <a:gd name="T16" fmla="*/ 2147483647 w 71"/>
                <a:gd name="T17" fmla="*/ 2147483647 h 60"/>
                <a:gd name="T18" fmla="*/ 2147483647 w 71"/>
                <a:gd name="T19" fmla="*/ 2147483647 h 60"/>
                <a:gd name="T20" fmla="*/ 2147483647 w 71"/>
                <a:gd name="T21" fmla="*/ 2147483647 h 60"/>
                <a:gd name="T22" fmla="*/ 2147483647 w 71"/>
                <a:gd name="T23" fmla="*/ 2147483647 h 60"/>
                <a:gd name="T24" fmla="*/ 2147483647 w 71"/>
                <a:gd name="T25" fmla="*/ 2147483647 h 60"/>
                <a:gd name="T26" fmla="*/ 2147483647 w 71"/>
                <a:gd name="T27" fmla="*/ 2147483647 h 60"/>
                <a:gd name="T28" fmla="*/ 2147483647 w 71"/>
                <a:gd name="T29" fmla="*/ 2147483647 h 60"/>
                <a:gd name="T30" fmla="*/ 2147483647 w 71"/>
                <a:gd name="T31" fmla="*/ 2147483647 h 60"/>
                <a:gd name="T32" fmla="*/ 2147483647 w 71"/>
                <a:gd name="T33" fmla="*/ 2147483647 h 60"/>
                <a:gd name="T34" fmla="*/ 2147483647 w 71"/>
                <a:gd name="T35" fmla="*/ 2147483647 h 60"/>
                <a:gd name="T36" fmla="*/ 2147483647 w 71"/>
                <a:gd name="T37" fmla="*/ 2147483647 h 60"/>
                <a:gd name="T38" fmla="*/ 2147483647 w 71"/>
                <a:gd name="T39" fmla="*/ 2147483647 h 60"/>
                <a:gd name="T40" fmla="*/ 2147483647 w 71"/>
                <a:gd name="T41" fmla="*/ 2147483647 h 60"/>
                <a:gd name="T42" fmla="*/ 2147483647 w 71"/>
                <a:gd name="T43" fmla="*/ 2147483647 h 60"/>
                <a:gd name="T44" fmla="*/ 2147483647 w 71"/>
                <a:gd name="T45" fmla="*/ 2147483647 h 60"/>
                <a:gd name="T46" fmla="*/ 2147483647 w 71"/>
                <a:gd name="T47" fmla="*/ 2147483647 h 60"/>
                <a:gd name="T48" fmla="*/ 2147483647 w 71"/>
                <a:gd name="T49" fmla="*/ 2147483647 h 60"/>
                <a:gd name="T50" fmla="*/ 2147483647 w 71"/>
                <a:gd name="T51" fmla="*/ 2147483647 h 60"/>
                <a:gd name="T52" fmla="*/ 2147483647 w 71"/>
                <a:gd name="T53" fmla="*/ 2147483647 h 60"/>
                <a:gd name="T54" fmla="*/ 2147483647 w 71"/>
                <a:gd name="T55" fmla="*/ 2147483647 h 60"/>
                <a:gd name="T56" fmla="*/ 2147483647 w 71"/>
                <a:gd name="T57" fmla="*/ 2147483647 h 60"/>
                <a:gd name="T58" fmla="*/ 2147483647 w 71"/>
                <a:gd name="T59" fmla="*/ 2147483647 h 60"/>
                <a:gd name="T60" fmla="*/ 2147483647 w 71"/>
                <a:gd name="T61" fmla="*/ 2147483647 h 60"/>
                <a:gd name="T62" fmla="*/ 2147483647 w 71"/>
                <a:gd name="T63" fmla="*/ 0 h 60"/>
                <a:gd name="T64" fmla="*/ 2147483647 w 71"/>
                <a:gd name="T65" fmla="*/ 2147483647 h 60"/>
                <a:gd name="T66" fmla="*/ 2147483647 w 71"/>
                <a:gd name="T67" fmla="*/ 2147483647 h 60"/>
                <a:gd name="T68" fmla="*/ 2147483647 w 71"/>
                <a:gd name="T69" fmla="*/ 2147483647 h 60"/>
                <a:gd name="T70" fmla="*/ 2147483647 w 71"/>
                <a:gd name="T71" fmla="*/ 2147483647 h 60"/>
                <a:gd name="T72" fmla="*/ 2147483647 w 71"/>
                <a:gd name="T73" fmla="*/ 2147483647 h 60"/>
                <a:gd name="T74" fmla="*/ 2147483647 w 71"/>
                <a:gd name="T75" fmla="*/ 2147483647 h 60"/>
                <a:gd name="T76" fmla="*/ 2147483647 w 71"/>
                <a:gd name="T77" fmla="*/ 2147483647 h 60"/>
                <a:gd name="T78" fmla="*/ 2147483647 w 71"/>
                <a:gd name="T79" fmla="*/ 2147483647 h 60"/>
                <a:gd name="T80" fmla="*/ 2147483647 w 71"/>
                <a:gd name="T81" fmla="*/ 2147483647 h 60"/>
                <a:gd name="T82" fmla="*/ 0 w 71"/>
                <a:gd name="T83" fmla="*/ 2147483647 h 60"/>
                <a:gd name="T84" fmla="*/ 0 w 71"/>
                <a:gd name="T85" fmla="*/ 2147483647 h 60"/>
                <a:gd name="T86" fmla="*/ 2147483647 w 71"/>
                <a:gd name="T87" fmla="*/ 2147483647 h 60"/>
                <a:gd name="T88" fmla="*/ 2147483647 w 71"/>
                <a:gd name="T89" fmla="*/ 2147483647 h 60"/>
                <a:gd name="T90" fmla="*/ 2147483647 w 71"/>
                <a:gd name="T91" fmla="*/ 2147483647 h 60"/>
                <a:gd name="T92" fmla="*/ 2147483647 w 71"/>
                <a:gd name="T93" fmla="*/ 2147483647 h 60"/>
                <a:gd name="T94" fmla="*/ 2147483647 w 71"/>
                <a:gd name="T95" fmla="*/ 2147483647 h 60"/>
                <a:gd name="T96" fmla="*/ 2147483647 w 71"/>
                <a:gd name="T97" fmla="*/ 2147483647 h 60"/>
                <a:gd name="T98" fmla="*/ 2147483647 w 71"/>
                <a:gd name="T99" fmla="*/ 2147483647 h 60"/>
                <a:gd name="T100" fmla="*/ 2147483647 w 71"/>
                <a:gd name="T101" fmla="*/ 2147483647 h 60"/>
                <a:gd name="T102" fmla="*/ 2147483647 w 71"/>
                <a:gd name="T103" fmla="*/ 2147483647 h 60"/>
                <a:gd name="T104" fmla="*/ 2147483647 w 71"/>
                <a:gd name="T105" fmla="*/ 2147483647 h 60"/>
                <a:gd name="T106" fmla="*/ 2147483647 w 71"/>
                <a:gd name="T107" fmla="*/ 2147483647 h 60"/>
                <a:gd name="T108" fmla="*/ 2147483647 w 71"/>
                <a:gd name="T109" fmla="*/ 2147483647 h 60"/>
                <a:gd name="T110" fmla="*/ 2147483647 w 71"/>
                <a:gd name="T111" fmla="*/ 2147483647 h 60"/>
                <a:gd name="T112" fmla="*/ 2147483647 w 71"/>
                <a:gd name="T113" fmla="*/ 2147483647 h 60"/>
                <a:gd name="T114" fmla="*/ 2147483647 w 71"/>
                <a:gd name="T115" fmla="*/ 2147483647 h 60"/>
                <a:gd name="T116" fmla="*/ 2147483647 w 71"/>
                <a:gd name="T117" fmla="*/ 2147483647 h 60"/>
                <a:gd name="T118" fmla="*/ 2147483647 w 71"/>
                <a:gd name="T119" fmla="*/ 2147483647 h 60"/>
                <a:gd name="T120" fmla="*/ 2147483647 w 71"/>
                <a:gd name="T121" fmla="*/ 2147483647 h 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1"/>
                <a:gd name="T184" fmla="*/ 0 h 60"/>
                <a:gd name="T185" fmla="*/ 71 w 71"/>
                <a:gd name="T186" fmla="*/ 60 h 6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1" h="60">
                  <a:moveTo>
                    <a:pt x="62" y="48"/>
                  </a:moveTo>
                  <a:lnTo>
                    <a:pt x="67" y="46"/>
                  </a:lnTo>
                  <a:lnTo>
                    <a:pt x="69" y="46"/>
                  </a:lnTo>
                  <a:lnTo>
                    <a:pt x="69" y="43"/>
                  </a:lnTo>
                  <a:lnTo>
                    <a:pt x="67" y="43"/>
                  </a:lnTo>
                  <a:lnTo>
                    <a:pt x="62" y="41"/>
                  </a:lnTo>
                  <a:lnTo>
                    <a:pt x="62" y="38"/>
                  </a:lnTo>
                  <a:lnTo>
                    <a:pt x="64" y="38"/>
                  </a:lnTo>
                  <a:lnTo>
                    <a:pt x="64" y="36"/>
                  </a:lnTo>
                  <a:lnTo>
                    <a:pt x="67" y="34"/>
                  </a:lnTo>
                  <a:lnTo>
                    <a:pt x="67" y="29"/>
                  </a:lnTo>
                  <a:lnTo>
                    <a:pt x="64" y="29"/>
                  </a:lnTo>
                  <a:lnTo>
                    <a:pt x="62" y="29"/>
                  </a:lnTo>
                  <a:lnTo>
                    <a:pt x="60" y="31"/>
                  </a:lnTo>
                  <a:lnTo>
                    <a:pt x="60" y="34"/>
                  </a:lnTo>
                  <a:lnTo>
                    <a:pt x="57" y="36"/>
                  </a:lnTo>
                  <a:lnTo>
                    <a:pt x="57" y="34"/>
                  </a:lnTo>
                  <a:lnTo>
                    <a:pt x="55" y="31"/>
                  </a:lnTo>
                  <a:lnTo>
                    <a:pt x="52" y="34"/>
                  </a:lnTo>
                  <a:lnTo>
                    <a:pt x="45" y="38"/>
                  </a:lnTo>
                  <a:lnTo>
                    <a:pt x="48" y="38"/>
                  </a:lnTo>
                  <a:lnTo>
                    <a:pt x="50" y="41"/>
                  </a:lnTo>
                  <a:lnTo>
                    <a:pt x="50" y="43"/>
                  </a:lnTo>
                  <a:lnTo>
                    <a:pt x="50" y="46"/>
                  </a:lnTo>
                  <a:lnTo>
                    <a:pt x="50" y="48"/>
                  </a:lnTo>
                  <a:lnTo>
                    <a:pt x="48" y="48"/>
                  </a:lnTo>
                  <a:lnTo>
                    <a:pt x="50" y="48"/>
                  </a:lnTo>
                  <a:lnTo>
                    <a:pt x="50" y="50"/>
                  </a:lnTo>
                  <a:lnTo>
                    <a:pt x="55" y="50"/>
                  </a:lnTo>
                  <a:lnTo>
                    <a:pt x="55" y="48"/>
                  </a:lnTo>
                  <a:lnTo>
                    <a:pt x="57" y="48"/>
                  </a:lnTo>
                  <a:lnTo>
                    <a:pt x="57" y="50"/>
                  </a:lnTo>
                  <a:lnTo>
                    <a:pt x="60" y="53"/>
                  </a:lnTo>
                  <a:lnTo>
                    <a:pt x="60" y="55"/>
                  </a:lnTo>
                  <a:lnTo>
                    <a:pt x="62" y="55"/>
                  </a:lnTo>
                  <a:lnTo>
                    <a:pt x="62" y="53"/>
                  </a:lnTo>
                  <a:lnTo>
                    <a:pt x="62" y="48"/>
                  </a:lnTo>
                  <a:close/>
                  <a:moveTo>
                    <a:pt x="71" y="53"/>
                  </a:moveTo>
                  <a:lnTo>
                    <a:pt x="62" y="55"/>
                  </a:lnTo>
                  <a:lnTo>
                    <a:pt x="60" y="58"/>
                  </a:lnTo>
                  <a:lnTo>
                    <a:pt x="57" y="58"/>
                  </a:lnTo>
                  <a:lnTo>
                    <a:pt x="57" y="55"/>
                  </a:lnTo>
                  <a:lnTo>
                    <a:pt x="55" y="55"/>
                  </a:lnTo>
                  <a:lnTo>
                    <a:pt x="50" y="53"/>
                  </a:lnTo>
                  <a:lnTo>
                    <a:pt x="45" y="53"/>
                  </a:lnTo>
                  <a:lnTo>
                    <a:pt x="45" y="58"/>
                  </a:lnTo>
                  <a:lnTo>
                    <a:pt x="50" y="58"/>
                  </a:lnTo>
                  <a:lnTo>
                    <a:pt x="52" y="58"/>
                  </a:lnTo>
                  <a:lnTo>
                    <a:pt x="55" y="60"/>
                  </a:lnTo>
                  <a:lnTo>
                    <a:pt x="57" y="60"/>
                  </a:lnTo>
                  <a:lnTo>
                    <a:pt x="60" y="60"/>
                  </a:lnTo>
                  <a:lnTo>
                    <a:pt x="62" y="60"/>
                  </a:lnTo>
                  <a:lnTo>
                    <a:pt x="69" y="58"/>
                  </a:lnTo>
                  <a:lnTo>
                    <a:pt x="71" y="58"/>
                  </a:lnTo>
                  <a:lnTo>
                    <a:pt x="71" y="53"/>
                  </a:lnTo>
                  <a:close/>
                  <a:moveTo>
                    <a:pt x="31" y="12"/>
                  </a:moveTo>
                  <a:lnTo>
                    <a:pt x="36" y="7"/>
                  </a:lnTo>
                  <a:lnTo>
                    <a:pt x="36" y="3"/>
                  </a:lnTo>
                  <a:lnTo>
                    <a:pt x="36" y="0"/>
                  </a:lnTo>
                  <a:lnTo>
                    <a:pt x="26" y="0"/>
                  </a:lnTo>
                  <a:lnTo>
                    <a:pt x="26" y="3"/>
                  </a:lnTo>
                  <a:lnTo>
                    <a:pt x="21" y="7"/>
                  </a:lnTo>
                  <a:lnTo>
                    <a:pt x="21" y="10"/>
                  </a:lnTo>
                  <a:lnTo>
                    <a:pt x="19" y="10"/>
                  </a:lnTo>
                  <a:lnTo>
                    <a:pt x="19" y="19"/>
                  </a:lnTo>
                  <a:lnTo>
                    <a:pt x="14" y="14"/>
                  </a:lnTo>
                  <a:lnTo>
                    <a:pt x="12" y="7"/>
                  </a:lnTo>
                  <a:lnTo>
                    <a:pt x="7" y="10"/>
                  </a:lnTo>
                  <a:lnTo>
                    <a:pt x="5" y="10"/>
                  </a:lnTo>
                  <a:lnTo>
                    <a:pt x="5" y="12"/>
                  </a:lnTo>
                  <a:lnTo>
                    <a:pt x="5" y="14"/>
                  </a:lnTo>
                  <a:lnTo>
                    <a:pt x="7" y="14"/>
                  </a:lnTo>
                  <a:lnTo>
                    <a:pt x="12" y="19"/>
                  </a:lnTo>
                  <a:lnTo>
                    <a:pt x="12" y="22"/>
                  </a:lnTo>
                  <a:lnTo>
                    <a:pt x="5" y="19"/>
                  </a:lnTo>
                  <a:lnTo>
                    <a:pt x="2" y="24"/>
                  </a:lnTo>
                  <a:lnTo>
                    <a:pt x="0" y="24"/>
                  </a:lnTo>
                  <a:lnTo>
                    <a:pt x="0" y="29"/>
                  </a:lnTo>
                  <a:lnTo>
                    <a:pt x="0" y="31"/>
                  </a:lnTo>
                  <a:lnTo>
                    <a:pt x="5" y="34"/>
                  </a:lnTo>
                  <a:lnTo>
                    <a:pt x="7" y="34"/>
                  </a:lnTo>
                  <a:lnTo>
                    <a:pt x="2" y="38"/>
                  </a:lnTo>
                  <a:lnTo>
                    <a:pt x="2" y="41"/>
                  </a:lnTo>
                  <a:lnTo>
                    <a:pt x="5" y="43"/>
                  </a:lnTo>
                  <a:lnTo>
                    <a:pt x="7" y="43"/>
                  </a:lnTo>
                  <a:lnTo>
                    <a:pt x="7" y="48"/>
                  </a:lnTo>
                  <a:lnTo>
                    <a:pt x="5" y="53"/>
                  </a:lnTo>
                  <a:lnTo>
                    <a:pt x="7" y="53"/>
                  </a:lnTo>
                  <a:lnTo>
                    <a:pt x="17" y="53"/>
                  </a:lnTo>
                  <a:lnTo>
                    <a:pt x="17" y="55"/>
                  </a:lnTo>
                  <a:lnTo>
                    <a:pt x="24" y="55"/>
                  </a:lnTo>
                  <a:lnTo>
                    <a:pt x="26" y="58"/>
                  </a:lnTo>
                  <a:lnTo>
                    <a:pt x="26" y="55"/>
                  </a:lnTo>
                  <a:lnTo>
                    <a:pt x="24" y="53"/>
                  </a:lnTo>
                  <a:lnTo>
                    <a:pt x="24" y="48"/>
                  </a:lnTo>
                  <a:lnTo>
                    <a:pt x="26" y="43"/>
                  </a:lnTo>
                  <a:lnTo>
                    <a:pt x="24" y="41"/>
                  </a:lnTo>
                  <a:lnTo>
                    <a:pt x="24" y="38"/>
                  </a:lnTo>
                  <a:lnTo>
                    <a:pt x="21" y="38"/>
                  </a:lnTo>
                  <a:lnTo>
                    <a:pt x="24" y="38"/>
                  </a:lnTo>
                  <a:lnTo>
                    <a:pt x="31" y="34"/>
                  </a:lnTo>
                  <a:lnTo>
                    <a:pt x="33" y="26"/>
                  </a:lnTo>
                  <a:lnTo>
                    <a:pt x="38" y="26"/>
                  </a:lnTo>
                  <a:lnTo>
                    <a:pt x="41" y="19"/>
                  </a:lnTo>
                  <a:lnTo>
                    <a:pt x="31" y="19"/>
                  </a:lnTo>
                  <a:lnTo>
                    <a:pt x="31" y="12"/>
                  </a:lnTo>
                  <a:close/>
                  <a:moveTo>
                    <a:pt x="29" y="38"/>
                  </a:moveTo>
                  <a:lnTo>
                    <a:pt x="31" y="48"/>
                  </a:lnTo>
                  <a:lnTo>
                    <a:pt x="36" y="53"/>
                  </a:lnTo>
                  <a:lnTo>
                    <a:pt x="38" y="46"/>
                  </a:lnTo>
                  <a:lnTo>
                    <a:pt x="33" y="41"/>
                  </a:lnTo>
                  <a:lnTo>
                    <a:pt x="29" y="38"/>
                  </a:lnTo>
                  <a:close/>
                </a:path>
              </a:pathLst>
            </a:custGeom>
            <a:solidFill>
              <a:srgbClr val="005995"/>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74" name="Czech Republic" descr="© INSCALE GmbH, 05.05.2010&#10;http://www.presentationload.com/"/>
            <p:cNvSpPr>
              <a:spLocks/>
            </p:cNvSpPr>
            <p:nvPr/>
          </p:nvSpPr>
          <p:spPr bwMode="gray">
            <a:xfrm>
              <a:off x="4552954" y="2430462"/>
              <a:ext cx="169862" cy="77788"/>
            </a:xfrm>
            <a:custGeom>
              <a:avLst/>
              <a:gdLst>
                <a:gd name="T0" fmla="*/ 2147483647 w 420"/>
                <a:gd name="T1" fmla="*/ 2147483647 h 192"/>
                <a:gd name="T2" fmla="*/ 2147483647 w 420"/>
                <a:gd name="T3" fmla="*/ 2147483647 h 192"/>
                <a:gd name="T4" fmla="*/ 2147483647 w 420"/>
                <a:gd name="T5" fmla="*/ 2147483647 h 192"/>
                <a:gd name="T6" fmla="*/ 2147483647 w 420"/>
                <a:gd name="T7" fmla="*/ 2147483647 h 192"/>
                <a:gd name="T8" fmla="*/ 2147483647 w 420"/>
                <a:gd name="T9" fmla="*/ 2147483647 h 192"/>
                <a:gd name="T10" fmla="*/ 2147483647 w 420"/>
                <a:gd name="T11" fmla="*/ 2147483647 h 192"/>
                <a:gd name="T12" fmla="*/ 2147483647 w 420"/>
                <a:gd name="T13" fmla="*/ 2147483647 h 192"/>
                <a:gd name="T14" fmla="*/ 2147483647 w 420"/>
                <a:gd name="T15" fmla="*/ 2147483647 h 192"/>
                <a:gd name="T16" fmla="*/ 2147483647 w 420"/>
                <a:gd name="T17" fmla="*/ 2147483647 h 192"/>
                <a:gd name="T18" fmla="*/ 2147483647 w 420"/>
                <a:gd name="T19" fmla="*/ 2147483647 h 192"/>
                <a:gd name="T20" fmla="*/ 2147483647 w 420"/>
                <a:gd name="T21" fmla="*/ 2147483647 h 192"/>
                <a:gd name="T22" fmla="*/ 2147483647 w 420"/>
                <a:gd name="T23" fmla="*/ 2147483647 h 192"/>
                <a:gd name="T24" fmla="*/ 2147483647 w 420"/>
                <a:gd name="T25" fmla="*/ 2147483647 h 192"/>
                <a:gd name="T26" fmla="*/ 2147483647 w 420"/>
                <a:gd name="T27" fmla="*/ 2147483647 h 192"/>
                <a:gd name="T28" fmla="*/ 2147483647 w 420"/>
                <a:gd name="T29" fmla="*/ 0 h 192"/>
                <a:gd name="T30" fmla="*/ 2147483647 w 420"/>
                <a:gd name="T31" fmla="*/ 2147483647 h 192"/>
                <a:gd name="T32" fmla="*/ 2147483647 w 420"/>
                <a:gd name="T33" fmla="*/ 0 h 192"/>
                <a:gd name="T34" fmla="*/ 2147483647 w 420"/>
                <a:gd name="T35" fmla="*/ 2147483647 h 192"/>
                <a:gd name="T36" fmla="*/ 2147483647 w 420"/>
                <a:gd name="T37" fmla="*/ 2147483647 h 192"/>
                <a:gd name="T38" fmla="*/ 2147483647 w 420"/>
                <a:gd name="T39" fmla="*/ 2147483647 h 192"/>
                <a:gd name="T40" fmla="*/ 2147483647 w 420"/>
                <a:gd name="T41" fmla="*/ 2147483647 h 192"/>
                <a:gd name="T42" fmla="*/ 2147483647 w 420"/>
                <a:gd name="T43" fmla="*/ 2147483647 h 192"/>
                <a:gd name="T44" fmla="*/ 2147483647 w 420"/>
                <a:gd name="T45" fmla="*/ 2147483647 h 192"/>
                <a:gd name="T46" fmla="*/ 2147483647 w 420"/>
                <a:gd name="T47" fmla="*/ 2147483647 h 192"/>
                <a:gd name="T48" fmla="*/ 2147483647 w 420"/>
                <a:gd name="T49" fmla="*/ 2147483647 h 192"/>
                <a:gd name="T50" fmla="*/ 2147483647 w 420"/>
                <a:gd name="T51" fmla="*/ 2147483647 h 192"/>
                <a:gd name="T52" fmla="*/ 0 w 420"/>
                <a:gd name="T53" fmla="*/ 2147483647 h 192"/>
                <a:gd name="T54" fmla="*/ 2147483647 w 420"/>
                <a:gd name="T55" fmla="*/ 2147483647 h 192"/>
                <a:gd name="T56" fmla="*/ 2147483647 w 420"/>
                <a:gd name="T57" fmla="*/ 2147483647 h 192"/>
                <a:gd name="T58" fmla="*/ 2147483647 w 420"/>
                <a:gd name="T59" fmla="*/ 2147483647 h 192"/>
                <a:gd name="T60" fmla="*/ 2147483647 w 420"/>
                <a:gd name="T61" fmla="*/ 2147483647 h 192"/>
                <a:gd name="T62" fmla="*/ 2147483647 w 420"/>
                <a:gd name="T63" fmla="*/ 2147483647 h 192"/>
                <a:gd name="T64" fmla="*/ 2147483647 w 420"/>
                <a:gd name="T65" fmla="*/ 2147483647 h 192"/>
                <a:gd name="T66" fmla="*/ 2147483647 w 420"/>
                <a:gd name="T67" fmla="*/ 2147483647 h 192"/>
                <a:gd name="T68" fmla="*/ 2147483647 w 420"/>
                <a:gd name="T69" fmla="*/ 2147483647 h 192"/>
                <a:gd name="T70" fmla="*/ 2147483647 w 420"/>
                <a:gd name="T71" fmla="*/ 2147483647 h 192"/>
                <a:gd name="T72" fmla="*/ 2147483647 w 420"/>
                <a:gd name="T73" fmla="*/ 2147483647 h 192"/>
                <a:gd name="T74" fmla="*/ 2147483647 w 420"/>
                <a:gd name="T75" fmla="*/ 2147483647 h 192"/>
                <a:gd name="T76" fmla="*/ 2147483647 w 420"/>
                <a:gd name="T77" fmla="*/ 2147483647 h 192"/>
                <a:gd name="T78" fmla="*/ 2147483647 w 420"/>
                <a:gd name="T79" fmla="*/ 2147483647 h 192"/>
                <a:gd name="T80" fmla="*/ 2147483647 w 420"/>
                <a:gd name="T81" fmla="*/ 2147483647 h 192"/>
                <a:gd name="T82" fmla="*/ 2147483647 w 420"/>
                <a:gd name="T83" fmla="*/ 2147483647 h 192"/>
                <a:gd name="T84" fmla="*/ 2147483647 w 420"/>
                <a:gd name="T85" fmla="*/ 2147483647 h 192"/>
                <a:gd name="T86" fmla="*/ 2147483647 w 420"/>
                <a:gd name="T87" fmla="*/ 2147483647 h 192"/>
                <a:gd name="T88" fmla="*/ 2147483647 w 420"/>
                <a:gd name="T89" fmla="*/ 2147483647 h 192"/>
                <a:gd name="T90" fmla="*/ 2147483647 w 420"/>
                <a:gd name="T91" fmla="*/ 2147483647 h 192"/>
                <a:gd name="T92" fmla="*/ 2147483647 w 420"/>
                <a:gd name="T93" fmla="*/ 2147483647 h 192"/>
                <a:gd name="T94" fmla="*/ 2147483647 w 420"/>
                <a:gd name="T95" fmla="*/ 2147483647 h 192"/>
                <a:gd name="T96" fmla="*/ 2147483647 w 420"/>
                <a:gd name="T97" fmla="*/ 2147483647 h 192"/>
                <a:gd name="T98" fmla="*/ 2147483647 w 420"/>
                <a:gd name="T99" fmla="*/ 2147483647 h 192"/>
                <a:gd name="T100" fmla="*/ 2147483647 w 420"/>
                <a:gd name="T101" fmla="*/ 2147483647 h 192"/>
                <a:gd name="T102" fmla="*/ 2147483647 w 420"/>
                <a:gd name="T103" fmla="*/ 2147483647 h 192"/>
                <a:gd name="T104" fmla="*/ 2147483647 w 420"/>
                <a:gd name="T105" fmla="*/ 2147483647 h 1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20"/>
                <a:gd name="T160" fmla="*/ 0 h 192"/>
                <a:gd name="T161" fmla="*/ 420 w 420"/>
                <a:gd name="T162" fmla="*/ 192 h 1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20" h="192">
                  <a:moveTo>
                    <a:pt x="408" y="108"/>
                  </a:moveTo>
                  <a:lnTo>
                    <a:pt x="402" y="96"/>
                  </a:lnTo>
                  <a:lnTo>
                    <a:pt x="402" y="90"/>
                  </a:lnTo>
                  <a:lnTo>
                    <a:pt x="390" y="84"/>
                  </a:lnTo>
                  <a:lnTo>
                    <a:pt x="372" y="84"/>
                  </a:lnTo>
                  <a:lnTo>
                    <a:pt x="372" y="78"/>
                  </a:lnTo>
                  <a:lnTo>
                    <a:pt x="366" y="72"/>
                  </a:lnTo>
                  <a:lnTo>
                    <a:pt x="360" y="84"/>
                  </a:lnTo>
                  <a:lnTo>
                    <a:pt x="354" y="78"/>
                  </a:lnTo>
                  <a:lnTo>
                    <a:pt x="348" y="66"/>
                  </a:lnTo>
                  <a:lnTo>
                    <a:pt x="342" y="60"/>
                  </a:lnTo>
                  <a:lnTo>
                    <a:pt x="324" y="60"/>
                  </a:lnTo>
                  <a:lnTo>
                    <a:pt x="330" y="54"/>
                  </a:lnTo>
                  <a:lnTo>
                    <a:pt x="312" y="54"/>
                  </a:lnTo>
                  <a:lnTo>
                    <a:pt x="300" y="60"/>
                  </a:lnTo>
                  <a:lnTo>
                    <a:pt x="294" y="60"/>
                  </a:lnTo>
                  <a:lnTo>
                    <a:pt x="294" y="66"/>
                  </a:lnTo>
                  <a:lnTo>
                    <a:pt x="276" y="66"/>
                  </a:lnTo>
                  <a:lnTo>
                    <a:pt x="270" y="60"/>
                  </a:lnTo>
                  <a:lnTo>
                    <a:pt x="264" y="60"/>
                  </a:lnTo>
                  <a:lnTo>
                    <a:pt x="264" y="48"/>
                  </a:lnTo>
                  <a:lnTo>
                    <a:pt x="252" y="42"/>
                  </a:lnTo>
                  <a:lnTo>
                    <a:pt x="264" y="36"/>
                  </a:lnTo>
                  <a:lnTo>
                    <a:pt x="258" y="30"/>
                  </a:lnTo>
                  <a:lnTo>
                    <a:pt x="234" y="30"/>
                  </a:lnTo>
                  <a:lnTo>
                    <a:pt x="234" y="24"/>
                  </a:lnTo>
                  <a:lnTo>
                    <a:pt x="228" y="24"/>
                  </a:lnTo>
                  <a:lnTo>
                    <a:pt x="216" y="18"/>
                  </a:lnTo>
                  <a:lnTo>
                    <a:pt x="198" y="18"/>
                  </a:lnTo>
                  <a:lnTo>
                    <a:pt x="192" y="0"/>
                  </a:lnTo>
                  <a:lnTo>
                    <a:pt x="174" y="0"/>
                  </a:lnTo>
                  <a:lnTo>
                    <a:pt x="162" y="12"/>
                  </a:lnTo>
                  <a:lnTo>
                    <a:pt x="156" y="12"/>
                  </a:lnTo>
                  <a:lnTo>
                    <a:pt x="144" y="0"/>
                  </a:lnTo>
                  <a:lnTo>
                    <a:pt x="138" y="6"/>
                  </a:lnTo>
                  <a:lnTo>
                    <a:pt x="132" y="6"/>
                  </a:lnTo>
                  <a:lnTo>
                    <a:pt x="126" y="12"/>
                  </a:lnTo>
                  <a:lnTo>
                    <a:pt x="126" y="18"/>
                  </a:lnTo>
                  <a:lnTo>
                    <a:pt x="108" y="18"/>
                  </a:lnTo>
                  <a:lnTo>
                    <a:pt x="108" y="24"/>
                  </a:lnTo>
                  <a:lnTo>
                    <a:pt x="84" y="24"/>
                  </a:lnTo>
                  <a:lnTo>
                    <a:pt x="84" y="30"/>
                  </a:lnTo>
                  <a:lnTo>
                    <a:pt x="66" y="36"/>
                  </a:lnTo>
                  <a:lnTo>
                    <a:pt x="54" y="48"/>
                  </a:lnTo>
                  <a:lnTo>
                    <a:pt x="42" y="42"/>
                  </a:lnTo>
                  <a:lnTo>
                    <a:pt x="36" y="42"/>
                  </a:lnTo>
                  <a:lnTo>
                    <a:pt x="30" y="48"/>
                  </a:lnTo>
                  <a:lnTo>
                    <a:pt x="30" y="54"/>
                  </a:lnTo>
                  <a:lnTo>
                    <a:pt x="18" y="54"/>
                  </a:lnTo>
                  <a:lnTo>
                    <a:pt x="18" y="60"/>
                  </a:lnTo>
                  <a:lnTo>
                    <a:pt x="6" y="60"/>
                  </a:lnTo>
                  <a:lnTo>
                    <a:pt x="6" y="54"/>
                  </a:lnTo>
                  <a:lnTo>
                    <a:pt x="0" y="54"/>
                  </a:lnTo>
                  <a:lnTo>
                    <a:pt x="0" y="66"/>
                  </a:lnTo>
                  <a:lnTo>
                    <a:pt x="6" y="72"/>
                  </a:lnTo>
                  <a:lnTo>
                    <a:pt x="12" y="72"/>
                  </a:lnTo>
                  <a:lnTo>
                    <a:pt x="24" y="84"/>
                  </a:lnTo>
                  <a:lnTo>
                    <a:pt x="18" y="90"/>
                  </a:lnTo>
                  <a:lnTo>
                    <a:pt x="12" y="90"/>
                  </a:lnTo>
                  <a:lnTo>
                    <a:pt x="12" y="96"/>
                  </a:lnTo>
                  <a:lnTo>
                    <a:pt x="24" y="108"/>
                  </a:lnTo>
                  <a:lnTo>
                    <a:pt x="30" y="120"/>
                  </a:lnTo>
                  <a:lnTo>
                    <a:pt x="36" y="120"/>
                  </a:lnTo>
                  <a:lnTo>
                    <a:pt x="36" y="126"/>
                  </a:lnTo>
                  <a:lnTo>
                    <a:pt x="48" y="132"/>
                  </a:lnTo>
                  <a:lnTo>
                    <a:pt x="60" y="132"/>
                  </a:lnTo>
                  <a:lnTo>
                    <a:pt x="66" y="144"/>
                  </a:lnTo>
                  <a:lnTo>
                    <a:pt x="72" y="144"/>
                  </a:lnTo>
                  <a:lnTo>
                    <a:pt x="78" y="156"/>
                  </a:lnTo>
                  <a:lnTo>
                    <a:pt x="90" y="156"/>
                  </a:lnTo>
                  <a:lnTo>
                    <a:pt x="96" y="162"/>
                  </a:lnTo>
                  <a:lnTo>
                    <a:pt x="102" y="162"/>
                  </a:lnTo>
                  <a:lnTo>
                    <a:pt x="102" y="174"/>
                  </a:lnTo>
                  <a:lnTo>
                    <a:pt x="120" y="192"/>
                  </a:lnTo>
                  <a:lnTo>
                    <a:pt x="132" y="192"/>
                  </a:lnTo>
                  <a:lnTo>
                    <a:pt x="144" y="186"/>
                  </a:lnTo>
                  <a:lnTo>
                    <a:pt x="150" y="186"/>
                  </a:lnTo>
                  <a:lnTo>
                    <a:pt x="162" y="192"/>
                  </a:lnTo>
                  <a:lnTo>
                    <a:pt x="162" y="174"/>
                  </a:lnTo>
                  <a:lnTo>
                    <a:pt x="168" y="174"/>
                  </a:lnTo>
                  <a:lnTo>
                    <a:pt x="174" y="162"/>
                  </a:lnTo>
                  <a:lnTo>
                    <a:pt x="180" y="156"/>
                  </a:lnTo>
                  <a:lnTo>
                    <a:pt x="198" y="156"/>
                  </a:lnTo>
                  <a:lnTo>
                    <a:pt x="210" y="162"/>
                  </a:lnTo>
                  <a:lnTo>
                    <a:pt x="222" y="174"/>
                  </a:lnTo>
                  <a:lnTo>
                    <a:pt x="234" y="168"/>
                  </a:lnTo>
                  <a:lnTo>
                    <a:pt x="246" y="180"/>
                  </a:lnTo>
                  <a:lnTo>
                    <a:pt x="258" y="174"/>
                  </a:lnTo>
                  <a:lnTo>
                    <a:pt x="264" y="168"/>
                  </a:lnTo>
                  <a:lnTo>
                    <a:pt x="276" y="168"/>
                  </a:lnTo>
                  <a:lnTo>
                    <a:pt x="282" y="174"/>
                  </a:lnTo>
                  <a:lnTo>
                    <a:pt x="288" y="174"/>
                  </a:lnTo>
                  <a:lnTo>
                    <a:pt x="300" y="180"/>
                  </a:lnTo>
                  <a:lnTo>
                    <a:pt x="306" y="174"/>
                  </a:lnTo>
                  <a:lnTo>
                    <a:pt x="324" y="174"/>
                  </a:lnTo>
                  <a:lnTo>
                    <a:pt x="330" y="168"/>
                  </a:lnTo>
                  <a:lnTo>
                    <a:pt x="330" y="174"/>
                  </a:lnTo>
                  <a:lnTo>
                    <a:pt x="348" y="174"/>
                  </a:lnTo>
                  <a:lnTo>
                    <a:pt x="360" y="168"/>
                  </a:lnTo>
                  <a:lnTo>
                    <a:pt x="366" y="162"/>
                  </a:lnTo>
                  <a:lnTo>
                    <a:pt x="378" y="156"/>
                  </a:lnTo>
                  <a:lnTo>
                    <a:pt x="378" y="132"/>
                  </a:lnTo>
                  <a:lnTo>
                    <a:pt x="402" y="126"/>
                  </a:lnTo>
                  <a:lnTo>
                    <a:pt x="420" y="114"/>
                  </a:lnTo>
                  <a:lnTo>
                    <a:pt x="414" y="108"/>
                  </a:lnTo>
                  <a:lnTo>
                    <a:pt x="408" y="108"/>
                  </a:lnTo>
                  <a:close/>
                </a:path>
              </a:pathLst>
            </a:custGeom>
            <a:solidFill>
              <a:srgbClr val="00508C"/>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75" name="Cyprus" descr="© INSCALE GmbH, 05.05.2010&#10;http://www.presentationload.com/"/>
            <p:cNvSpPr>
              <a:spLocks/>
            </p:cNvSpPr>
            <p:nvPr/>
          </p:nvSpPr>
          <p:spPr bwMode="gray">
            <a:xfrm>
              <a:off x="5099054" y="2922588"/>
              <a:ext cx="60325" cy="34925"/>
            </a:xfrm>
            <a:custGeom>
              <a:avLst/>
              <a:gdLst>
                <a:gd name="T0" fmla="*/ 0 w 150"/>
                <a:gd name="T1" fmla="*/ 2147483647 h 84"/>
                <a:gd name="T2" fmla="*/ 2147483647 w 150"/>
                <a:gd name="T3" fmla="*/ 2147483647 h 84"/>
                <a:gd name="T4" fmla="*/ 2147483647 w 150"/>
                <a:gd name="T5" fmla="*/ 2147483647 h 84"/>
                <a:gd name="T6" fmla="*/ 2147483647 w 150"/>
                <a:gd name="T7" fmla="*/ 2147483647 h 84"/>
                <a:gd name="T8" fmla="*/ 2147483647 w 150"/>
                <a:gd name="T9" fmla="*/ 2147483647 h 84"/>
                <a:gd name="T10" fmla="*/ 2147483647 w 150"/>
                <a:gd name="T11" fmla="*/ 2147483647 h 84"/>
                <a:gd name="T12" fmla="*/ 2147483647 w 150"/>
                <a:gd name="T13" fmla="*/ 2147483647 h 84"/>
                <a:gd name="T14" fmla="*/ 2147483647 w 150"/>
                <a:gd name="T15" fmla="*/ 2147483647 h 84"/>
                <a:gd name="T16" fmla="*/ 2147483647 w 150"/>
                <a:gd name="T17" fmla="*/ 2147483647 h 84"/>
                <a:gd name="T18" fmla="*/ 2147483647 w 150"/>
                <a:gd name="T19" fmla="*/ 2147483647 h 84"/>
                <a:gd name="T20" fmla="*/ 2147483647 w 150"/>
                <a:gd name="T21" fmla="*/ 2147483647 h 84"/>
                <a:gd name="T22" fmla="*/ 2147483647 w 150"/>
                <a:gd name="T23" fmla="*/ 2147483647 h 84"/>
                <a:gd name="T24" fmla="*/ 2147483647 w 150"/>
                <a:gd name="T25" fmla="*/ 2147483647 h 84"/>
                <a:gd name="T26" fmla="*/ 2147483647 w 150"/>
                <a:gd name="T27" fmla="*/ 0 h 84"/>
                <a:gd name="T28" fmla="*/ 2147483647 w 150"/>
                <a:gd name="T29" fmla="*/ 2147483647 h 84"/>
                <a:gd name="T30" fmla="*/ 2147483647 w 150"/>
                <a:gd name="T31" fmla="*/ 2147483647 h 84"/>
                <a:gd name="T32" fmla="*/ 2147483647 w 150"/>
                <a:gd name="T33" fmla="*/ 2147483647 h 84"/>
                <a:gd name="T34" fmla="*/ 2147483647 w 150"/>
                <a:gd name="T35" fmla="*/ 2147483647 h 84"/>
                <a:gd name="T36" fmla="*/ 2147483647 w 150"/>
                <a:gd name="T37" fmla="*/ 2147483647 h 84"/>
                <a:gd name="T38" fmla="*/ 0 w 150"/>
                <a:gd name="T39" fmla="*/ 2147483647 h 84"/>
                <a:gd name="T40" fmla="*/ 0 w 150"/>
                <a:gd name="T41" fmla="*/ 2147483647 h 8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0"/>
                <a:gd name="T64" fmla="*/ 0 h 84"/>
                <a:gd name="T65" fmla="*/ 150 w 150"/>
                <a:gd name="T66" fmla="*/ 84 h 8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0" h="84">
                  <a:moveTo>
                    <a:pt x="0" y="48"/>
                  </a:moveTo>
                  <a:lnTo>
                    <a:pt x="6" y="60"/>
                  </a:lnTo>
                  <a:lnTo>
                    <a:pt x="30" y="72"/>
                  </a:lnTo>
                  <a:lnTo>
                    <a:pt x="36" y="84"/>
                  </a:lnTo>
                  <a:lnTo>
                    <a:pt x="54" y="84"/>
                  </a:lnTo>
                  <a:lnTo>
                    <a:pt x="60" y="78"/>
                  </a:lnTo>
                  <a:lnTo>
                    <a:pt x="72" y="72"/>
                  </a:lnTo>
                  <a:lnTo>
                    <a:pt x="78" y="66"/>
                  </a:lnTo>
                  <a:lnTo>
                    <a:pt x="90" y="60"/>
                  </a:lnTo>
                  <a:lnTo>
                    <a:pt x="96" y="54"/>
                  </a:lnTo>
                  <a:lnTo>
                    <a:pt x="102" y="60"/>
                  </a:lnTo>
                  <a:lnTo>
                    <a:pt x="120" y="60"/>
                  </a:lnTo>
                  <a:lnTo>
                    <a:pt x="120" y="36"/>
                  </a:lnTo>
                  <a:lnTo>
                    <a:pt x="150" y="0"/>
                  </a:lnTo>
                  <a:lnTo>
                    <a:pt x="108" y="24"/>
                  </a:lnTo>
                  <a:lnTo>
                    <a:pt x="54" y="24"/>
                  </a:lnTo>
                  <a:lnTo>
                    <a:pt x="48" y="30"/>
                  </a:lnTo>
                  <a:lnTo>
                    <a:pt x="48" y="36"/>
                  </a:lnTo>
                  <a:lnTo>
                    <a:pt x="12" y="36"/>
                  </a:lnTo>
                  <a:lnTo>
                    <a:pt x="0" y="42"/>
                  </a:lnTo>
                  <a:lnTo>
                    <a:pt x="0" y="48"/>
                  </a:lnTo>
                  <a:close/>
                </a:path>
              </a:pathLst>
            </a:custGeom>
            <a:solidFill>
              <a:srgbClr val="005995"/>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76" name="Cuba" descr="© INSCALE GmbH, 05.05.2010&#10;http://www.presentationload.com/"/>
            <p:cNvSpPr>
              <a:spLocks noEditPoints="1"/>
            </p:cNvSpPr>
            <p:nvPr/>
          </p:nvSpPr>
          <p:spPr bwMode="gray">
            <a:xfrm>
              <a:off x="1836740" y="3324225"/>
              <a:ext cx="296862" cy="109538"/>
            </a:xfrm>
            <a:custGeom>
              <a:avLst/>
              <a:gdLst>
                <a:gd name="T0" fmla="*/ 2147483647 w 738"/>
                <a:gd name="T1" fmla="*/ 2147483647 h 270"/>
                <a:gd name="T2" fmla="*/ 2147483647 w 738"/>
                <a:gd name="T3" fmla="*/ 2147483647 h 270"/>
                <a:gd name="T4" fmla="*/ 2147483647 w 738"/>
                <a:gd name="T5" fmla="*/ 2147483647 h 270"/>
                <a:gd name="T6" fmla="*/ 2147483647 w 738"/>
                <a:gd name="T7" fmla="*/ 2147483647 h 270"/>
                <a:gd name="T8" fmla="*/ 2147483647 w 738"/>
                <a:gd name="T9" fmla="*/ 2147483647 h 270"/>
                <a:gd name="T10" fmla="*/ 2147483647 w 738"/>
                <a:gd name="T11" fmla="*/ 2147483647 h 270"/>
                <a:gd name="T12" fmla="*/ 2147483647 w 738"/>
                <a:gd name="T13" fmla="*/ 2147483647 h 270"/>
                <a:gd name="T14" fmla="*/ 2147483647 w 738"/>
                <a:gd name="T15" fmla="*/ 2147483647 h 270"/>
                <a:gd name="T16" fmla="*/ 2147483647 w 738"/>
                <a:gd name="T17" fmla="*/ 2147483647 h 270"/>
                <a:gd name="T18" fmla="*/ 2147483647 w 738"/>
                <a:gd name="T19" fmla="*/ 2147483647 h 270"/>
                <a:gd name="T20" fmla="*/ 2147483647 w 738"/>
                <a:gd name="T21" fmla="*/ 2147483647 h 270"/>
                <a:gd name="T22" fmla="*/ 2147483647 w 738"/>
                <a:gd name="T23" fmla="*/ 2147483647 h 270"/>
                <a:gd name="T24" fmla="*/ 2147483647 w 738"/>
                <a:gd name="T25" fmla="*/ 2147483647 h 270"/>
                <a:gd name="T26" fmla="*/ 2147483647 w 738"/>
                <a:gd name="T27" fmla="*/ 2147483647 h 270"/>
                <a:gd name="T28" fmla="*/ 2147483647 w 738"/>
                <a:gd name="T29" fmla="*/ 2147483647 h 270"/>
                <a:gd name="T30" fmla="*/ 2147483647 w 738"/>
                <a:gd name="T31" fmla="*/ 2147483647 h 270"/>
                <a:gd name="T32" fmla="*/ 2147483647 w 738"/>
                <a:gd name="T33" fmla="*/ 2147483647 h 270"/>
                <a:gd name="T34" fmla="*/ 2147483647 w 738"/>
                <a:gd name="T35" fmla="*/ 2147483647 h 270"/>
                <a:gd name="T36" fmla="*/ 2147483647 w 738"/>
                <a:gd name="T37" fmla="*/ 0 h 270"/>
                <a:gd name="T38" fmla="*/ 2147483647 w 738"/>
                <a:gd name="T39" fmla="*/ 2147483647 h 270"/>
                <a:gd name="T40" fmla="*/ 2147483647 w 738"/>
                <a:gd name="T41" fmla="*/ 2147483647 h 270"/>
                <a:gd name="T42" fmla="*/ 2147483647 w 738"/>
                <a:gd name="T43" fmla="*/ 2147483647 h 270"/>
                <a:gd name="T44" fmla="*/ 2147483647 w 738"/>
                <a:gd name="T45" fmla="*/ 2147483647 h 270"/>
                <a:gd name="T46" fmla="*/ 2147483647 w 738"/>
                <a:gd name="T47" fmla="*/ 2147483647 h 270"/>
                <a:gd name="T48" fmla="*/ 2147483647 w 738"/>
                <a:gd name="T49" fmla="*/ 2147483647 h 270"/>
                <a:gd name="T50" fmla="*/ 2147483647 w 738"/>
                <a:gd name="T51" fmla="*/ 2147483647 h 270"/>
                <a:gd name="T52" fmla="*/ 2147483647 w 738"/>
                <a:gd name="T53" fmla="*/ 2147483647 h 270"/>
                <a:gd name="T54" fmla="*/ 2147483647 w 738"/>
                <a:gd name="T55" fmla="*/ 2147483647 h 270"/>
                <a:gd name="T56" fmla="*/ 2147483647 w 738"/>
                <a:gd name="T57" fmla="*/ 2147483647 h 270"/>
                <a:gd name="T58" fmla="*/ 2147483647 w 738"/>
                <a:gd name="T59" fmla="*/ 2147483647 h 270"/>
                <a:gd name="T60" fmla="*/ 2147483647 w 738"/>
                <a:gd name="T61" fmla="*/ 2147483647 h 270"/>
                <a:gd name="T62" fmla="*/ 2147483647 w 738"/>
                <a:gd name="T63" fmla="*/ 2147483647 h 270"/>
                <a:gd name="T64" fmla="*/ 2147483647 w 738"/>
                <a:gd name="T65" fmla="*/ 2147483647 h 270"/>
                <a:gd name="T66" fmla="*/ 2147483647 w 738"/>
                <a:gd name="T67" fmla="*/ 2147483647 h 270"/>
                <a:gd name="T68" fmla="*/ 2147483647 w 738"/>
                <a:gd name="T69" fmla="*/ 2147483647 h 270"/>
                <a:gd name="T70" fmla="*/ 2147483647 w 738"/>
                <a:gd name="T71" fmla="*/ 2147483647 h 270"/>
                <a:gd name="T72" fmla="*/ 2147483647 w 738"/>
                <a:gd name="T73" fmla="*/ 2147483647 h 270"/>
                <a:gd name="T74" fmla="*/ 2147483647 w 738"/>
                <a:gd name="T75" fmla="*/ 2147483647 h 270"/>
                <a:gd name="T76" fmla="*/ 2147483647 w 738"/>
                <a:gd name="T77" fmla="*/ 2147483647 h 270"/>
                <a:gd name="T78" fmla="*/ 2147483647 w 738"/>
                <a:gd name="T79" fmla="*/ 2147483647 h 270"/>
                <a:gd name="T80" fmla="*/ 2147483647 w 738"/>
                <a:gd name="T81" fmla="*/ 2147483647 h 270"/>
                <a:gd name="T82" fmla="*/ 2147483647 w 738"/>
                <a:gd name="T83" fmla="*/ 2147483647 h 270"/>
                <a:gd name="T84" fmla="*/ 2147483647 w 738"/>
                <a:gd name="T85" fmla="*/ 2147483647 h 270"/>
                <a:gd name="T86" fmla="*/ 2147483647 w 738"/>
                <a:gd name="T87" fmla="*/ 2147483647 h 270"/>
                <a:gd name="T88" fmla="*/ 2147483647 w 738"/>
                <a:gd name="T89" fmla="*/ 2147483647 h 270"/>
                <a:gd name="T90" fmla="*/ 2147483647 w 738"/>
                <a:gd name="T91" fmla="*/ 2147483647 h 270"/>
                <a:gd name="T92" fmla="*/ 2147483647 w 738"/>
                <a:gd name="T93" fmla="*/ 2147483647 h 270"/>
                <a:gd name="T94" fmla="*/ 2147483647 w 738"/>
                <a:gd name="T95" fmla="*/ 2147483647 h 270"/>
                <a:gd name="T96" fmla="*/ 2147483647 w 738"/>
                <a:gd name="T97" fmla="*/ 2147483647 h 270"/>
                <a:gd name="T98" fmla="*/ 2147483647 w 738"/>
                <a:gd name="T99" fmla="*/ 2147483647 h 270"/>
                <a:gd name="T100" fmla="*/ 2147483647 w 738"/>
                <a:gd name="T101" fmla="*/ 2147483647 h 270"/>
                <a:gd name="T102" fmla="*/ 2147483647 w 738"/>
                <a:gd name="T103" fmla="*/ 2147483647 h 270"/>
                <a:gd name="T104" fmla="*/ 2147483647 w 738"/>
                <a:gd name="T105" fmla="*/ 2147483647 h 270"/>
                <a:gd name="T106" fmla="*/ 2147483647 w 738"/>
                <a:gd name="T107" fmla="*/ 2147483647 h 270"/>
                <a:gd name="T108" fmla="*/ 2147483647 w 738"/>
                <a:gd name="T109" fmla="*/ 2147483647 h 270"/>
                <a:gd name="T110" fmla="*/ 2147483647 w 738"/>
                <a:gd name="T111" fmla="*/ 2147483647 h 270"/>
                <a:gd name="T112" fmla="*/ 2147483647 w 738"/>
                <a:gd name="T113" fmla="*/ 2147483647 h 270"/>
                <a:gd name="T114" fmla="*/ 2147483647 w 738"/>
                <a:gd name="T115" fmla="*/ 2147483647 h 27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38"/>
                <a:gd name="T175" fmla="*/ 0 h 270"/>
                <a:gd name="T176" fmla="*/ 738 w 738"/>
                <a:gd name="T177" fmla="*/ 270 h 27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38" h="270">
                  <a:moveTo>
                    <a:pt x="708" y="228"/>
                  </a:moveTo>
                  <a:lnTo>
                    <a:pt x="690" y="222"/>
                  </a:lnTo>
                  <a:lnTo>
                    <a:pt x="666" y="222"/>
                  </a:lnTo>
                  <a:lnTo>
                    <a:pt x="666" y="204"/>
                  </a:lnTo>
                  <a:lnTo>
                    <a:pt x="660" y="198"/>
                  </a:lnTo>
                  <a:lnTo>
                    <a:pt x="648" y="192"/>
                  </a:lnTo>
                  <a:lnTo>
                    <a:pt x="600" y="192"/>
                  </a:lnTo>
                  <a:lnTo>
                    <a:pt x="624" y="168"/>
                  </a:lnTo>
                  <a:lnTo>
                    <a:pt x="612" y="168"/>
                  </a:lnTo>
                  <a:lnTo>
                    <a:pt x="600" y="162"/>
                  </a:lnTo>
                  <a:lnTo>
                    <a:pt x="558" y="162"/>
                  </a:lnTo>
                  <a:lnTo>
                    <a:pt x="534" y="150"/>
                  </a:lnTo>
                  <a:lnTo>
                    <a:pt x="528" y="144"/>
                  </a:lnTo>
                  <a:lnTo>
                    <a:pt x="522" y="144"/>
                  </a:lnTo>
                  <a:lnTo>
                    <a:pt x="528" y="138"/>
                  </a:lnTo>
                  <a:lnTo>
                    <a:pt x="528" y="132"/>
                  </a:lnTo>
                  <a:lnTo>
                    <a:pt x="534" y="126"/>
                  </a:lnTo>
                  <a:lnTo>
                    <a:pt x="534" y="120"/>
                  </a:lnTo>
                  <a:lnTo>
                    <a:pt x="522" y="120"/>
                  </a:lnTo>
                  <a:lnTo>
                    <a:pt x="510" y="114"/>
                  </a:lnTo>
                  <a:lnTo>
                    <a:pt x="504" y="114"/>
                  </a:lnTo>
                  <a:lnTo>
                    <a:pt x="474" y="84"/>
                  </a:lnTo>
                  <a:lnTo>
                    <a:pt x="462" y="78"/>
                  </a:lnTo>
                  <a:lnTo>
                    <a:pt x="450" y="66"/>
                  </a:lnTo>
                  <a:lnTo>
                    <a:pt x="432" y="66"/>
                  </a:lnTo>
                  <a:lnTo>
                    <a:pt x="432" y="84"/>
                  </a:lnTo>
                  <a:lnTo>
                    <a:pt x="444" y="96"/>
                  </a:lnTo>
                  <a:lnTo>
                    <a:pt x="450" y="96"/>
                  </a:lnTo>
                  <a:lnTo>
                    <a:pt x="378" y="60"/>
                  </a:lnTo>
                  <a:lnTo>
                    <a:pt x="372" y="54"/>
                  </a:lnTo>
                  <a:lnTo>
                    <a:pt x="360" y="48"/>
                  </a:lnTo>
                  <a:lnTo>
                    <a:pt x="354" y="36"/>
                  </a:lnTo>
                  <a:lnTo>
                    <a:pt x="342" y="30"/>
                  </a:lnTo>
                  <a:lnTo>
                    <a:pt x="330" y="18"/>
                  </a:lnTo>
                  <a:lnTo>
                    <a:pt x="270" y="18"/>
                  </a:lnTo>
                  <a:lnTo>
                    <a:pt x="258" y="12"/>
                  </a:lnTo>
                  <a:lnTo>
                    <a:pt x="228" y="6"/>
                  </a:lnTo>
                  <a:lnTo>
                    <a:pt x="174" y="0"/>
                  </a:lnTo>
                  <a:lnTo>
                    <a:pt x="126" y="6"/>
                  </a:lnTo>
                  <a:lnTo>
                    <a:pt x="96" y="18"/>
                  </a:lnTo>
                  <a:lnTo>
                    <a:pt x="72" y="42"/>
                  </a:lnTo>
                  <a:lnTo>
                    <a:pt x="60" y="48"/>
                  </a:lnTo>
                  <a:lnTo>
                    <a:pt x="42" y="60"/>
                  </a:lnTo>
                  <a:lnTo>
                    <a:pt x="24" y="66"/>
                  </a:lnTo>
                  <a:lnTo>
                    <a:pt x="12" y="72"/>
                  </a:lnTo>
                  <a:lnTo>
                    <a:pt x="6" y="78"/>
                  </a:lnTo>
                  <a:lnTo>
                    <a:pt x="0" y="78"/>
                  </a:lnTo>
                  <a:lnTo>
                    <a:pt x="72" y="72"/>
                  </a:lnTo>
                  <a:lnTo>
                    <a:pt x="72" y="60"/>
                  </a:lnTo>
                  <a:lnTo>
                    <a:pt x="150" y="54"/>
                  </a:lnTo>
                  <a:lnTo>
                    <a:pt x="174" y="42"/>
                  </a:lnTo>
                  <a:lnTo>
                    <a:pt x="198" y="42"/>
                  </a:lnTo>
                  <a:lnTo>
                    <a:pt x="222" y="54"/>
                  </a:lnTo>
                  <a:lnTo>
                    <a:pt x="222" y="60"/>
                  </a:lnTo>
                  <a:lnTo>
                    <a:pt x="216" y="60"/>
                  </a:lnTo>
                  <a:lnTo>
                    <a:pt x="210" y="66"/>
                  </a:lnTo>
                  <a:lnTo>
                    <a:pt x="198" y="66"/>
                  </a:lnTo>
                  <a:lnTo>
                    <a:pt x="192" y="72"/>
                  </a:lnTo>
                  <a:lnTo>
                    <a:pt x="186" y="72"/>
                  </a:lnTo>
                  <a:lnTo>
                    <a:pt x="204" y="78"/>
                  </a:lnTo>
                  <a:lnTo>
                    <a:pt x="210" y="78"/>
                  </a:lnTo>
                  <a:lnTo>
                    <a:pt x="216" y="84"/>
                  </a:lnTo>
                  <a:lnTo>
                    <a:pt x="228" y="90"/>
                  </a:lnTo>
                  <a:lnTo>
                    <a:pt x="246" y="96"/>
                  </a:lnTo>
                  <a:lnTo>
                    <a:pt x="258" y="102"/>
                  </a:lnTo>
                  <a:lnTo>
                    <a:pt x="276" y="102"/>
                  </a:lnTo>
                  <a:lnTo>
                    <a:pt x="282" y="96"/>
                  </a:lnTo>
                  <a:lnTo>
                    <a:pt x="282" y="90"/>
                  </a:lnTo>
                  <a:lnTo>
                    <a:pt x="294" y="96"/>
                  </a:lnTo>
                  <a:lnTo>
                    <a:pt x="300" y="102"/>
                  </a:lnTo>
                  <a:lnTo>
                    <a:pt x="318" y="114"/>
                  </a:lnTo>
                  <a:lnTo>
                    <a:pt x="342" y="126"/>
                  </a:lnTo>
                  <a:lnTo>
                    <a:pt x="372" y="126"/>
                  </a:lnTo>
                  <a:lnTo>
                    <a:pt x="390" y="120"/>
                  </a:lnTo>
                  <a:lnTo>
                    <a:pt x="402" y="120"/>
                  </a:lnTo>
                  <a:lnTo>
                    <a:pt x="390" y="144"/>
                  </a:lnTo>
                  <a:lnTo>
                    <a:pt x="450" y="168"/>
                  </a:lnTo>
                  <a:lnTo>
                    <a:pt x="474" y="204"/>
                  </a:lnTo>
                  <a:lnTo>
                    <a:pt x="480" y="210"/>
                  </a:lnTo>
                  <a:lnTo>
                    <a:pt x="492" y="216"/>
                  </a:lnTo>
                  <a:lnTo>
                    <a:pt x="498" y="222"/>
                  </a:lnTo>
                  <a:lnTo>
                    <a:pt x="498" y="228"/>
                  </a:lnTo>
                  <a:lnTo>
                    <a:pt x="474" y="252"/>
                  </a:lnTo>
                  <a:lnTo>
                    <a:pt x="474" y="258"/>
                  </a:lnTo>
                  <a:lnTo>
                    <a:pt x="480" y="264"/>
                  </a:lnTo>
                  <a:lnTo>
                    <a:pt x="492" y="258"/>
                  </a:lnTo>
                  <a:lnTo>
                    <a:pt x="504" y="258"/>
                  </a:lnTo>
                  <a:lnTo>
                    <a:pt x="528" y="246"/>
                  </a:lnTo>
                  <a:lnTo>
                    <a:pt x="558" y="246"/>
                  </a:lnTo>
                  <a:lnTo>
                    <a:pt x="558" y="252"/>
                  </a:lnTo>
                  <a:lnTo>
                    <a:pt x="552" y="252"/>
                  </a:lnTo>
                  <a:lnTo>
                    <a:pt x="546" y="258"/>
                  </a:lnTo>
                  <a:lnTo>
                    <a:pt x="546" y="264"/>
                  </a:lnTo>
                  <a:lnTo>
                    <a:pt x="558" y="264"/>
                  </a:lnTo>
                  <a:lnTo>
                    <a:pt x="564" y="270"/>
                  </a:lnTo>
                  <a:lnTo>
                    <a:pt x="612" y="270"/>
                  </a:lnTo>
                  <a:lnTo>
                    <a:pt x="636" y="264"/>
                  </a:lnTo>
                  <a:lnTo>
                    <a:pt x="684" y="258"/>
                  </a:lnTo>
                  <a:lnTo>
                    <a:pt x="720" y="252"/>
                  </a:lnTo>
                  <a:lnTo>
                    <a:pt x="738" y="246"/>
                  </a:lnTo>
                  <a:lnTo>
                    <a:pt x="738" y="240"/>
                  </a:lnTo>
                  <a:lnTo>
                    <a:pt x="732" y="234"/>
                  </a:lnTo>
                  <a:lnTo>
                    <a:pt x="720" y="228"/>
                  </a:lnTo>
                  <a:lnTo>
                    <a:pt x="708" y="228"/>
                  </a:lnTo>
                  <a:close/>
                  <a:moveTo>
                    <a:pt x="114" y="126"/>
                  </a:moveTo>
                  <a:lnTo>
                    <a:pt x="114" y="132"/>
                  </a:lnTo>
                  <a:lnTo>
                    <a:pt x="120" y="138"/>
                  </a:lnTo>
                  <a:lnTo>
                    <a:pt x="132" y="144"/>
                  </a:lnTo>
                  <a:lnTo>
                    <a:pt x="144" y="138"/>
                  </a:lnTo>
                  <a:lnTo>
                    <a:pt x="150" y="138"/>
                  </a:lnTo>
                  <a:lnTo>
                    <a:pt x="156" y="126"/>
                  </a:lnTo>
                  <a:lnTo>
                    <a:pt x="156" y="120"/>
                  </a:lnTo>
                  <a:lnTo>
                    <a:pt x="150" y="114"/>
                  </a:lnTo>
                  <a:lnTo>
                    <a:pt x="138" y="114"/>
                  </a:lnTo>
                  <a:lnTo>
                    <a:pt x="126" y="120"/>
                  </a:lnTo>
                  <a:lnTo>
                    <a:pt x="120" y="120"/>
                  </a:lnTo>
                  <a:lnTo>
                    <a:pt x="114" y="126"/>
                  </a:lnTo>
                  <a:close/>
                </a:path>
              </a:pathLst>
            </a:custGeom>
            <a:solidFill>
              <a:srgbClr val="658B26"/>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77" name="Croatia" descr="© INSCALE GmbH, 05.05.2010&#10;http://www.presentationload.com/"/>
            <p:cNvSpPr>
              <a:spLocks/>
            </p:cNvSpPr>
            <p:nvPr/>
          </p:nvSpPr>
          <p:spPr bwMode="gray">
            <a:xfrm>
              <a:off x="4594229" y="2573338"/>
              <a:ext cx="147638" cy="111125"/>
            </a:xfrm>
            <a:custGeom>
              <a:avLst/>
              <a:gdLst>
                <a:gd name="T0" fmla="*/ 2147483647 w 366"/>
                <a:gd name="T1" fmla="*/ 2147483647 h 276"/>
                <a:gd name="T2" fmla="*/ 2147483647 w 366"/>
                <a:gd name="T3" fmla="*/ 2147483647 h 276"/>
                <a:gd name="T4" fmla="*/ 2147483647 w 366"/>
                <a:gd name="T5" fmla="*/ 2147483647 h 276"/>
                <a:gd name="T6" fmla="*/ 2147483647 w 366"/>
                <a:gd name="T7" fmla="*/ 2147483647 h 276"/>
                <a:gd name="T8" fmla="*/ 2147483647 w 366"/>
                <a:gd name="T9" fmla="*/ 2147483647 h 276"/>
                <a:gd name="T10" fmla="*/ 2147483647 w 366"/>
                <a:gd name="T11" fmla="*/ 2147483647 h 276"/>
                <a:gd name="T12" fmla="*/ 2147483647 w 366"/>
                <a:gd name="T13" fmla="*/ 2147483647 h 276"/>
                <a:gd name="T14" fmla="*/ 2147483647 w 366"/>
                <a:gd name="T15" fmla="*/ 2147483647 h 276"/>
                <a:gd name="T16" fmla="*/ 2147483647 w 366"/>
                <a:gd name="T17" fmla="*/ 2147483647 h 276"/>
                <a:gd name="T18" fmla="*/ 2147483647 w 366"/>
                <a:gd name="T19" fmla="*/ 2147483647 h 276"/>
                <a:gd name="T20" fmla="*/ 2147483647 w 366"/>
                <a:gd name="T21" fmla="*/ 2147483647 h 276"/>
                <a:gd name="T22" fmla="*/ 2147483647 w 366"/>
                <a:gd name="T23" fmla="*/ 0 h 276"/>
                <a:gd name="T24" fmla="*/ 2147483647 w 366"/>
                <a:gd name="T25" fmla="*/ 2147483647 h 276"/>
                <a:gd name="T26" fmla="*/ 2147483647 w 366"/>
                <a:gd name="T27" fmla="*/ 2147483647 h 276"/>
                <a:gd name="T28" fmla="*/ 2147483647 w 366"/>
                <a:gd name="T29" fmla="*/ 2147483647 h 276"/>
                <a:gd name="T30" fmla="*/ 2147483647 w 366"/>
                <a:gd name="T31" fmla="*/ 2147483647 h 276"/>
                <a:gd name="T32" fmla="*/ 2147483647 w 366"/>
                <a:gd name="T33" fmla="*/ 2147483647 h 276"/>
                <a:gd name="T34" fmla="*/ 2147483647 w 366"/>
                <a:gd name="T35" fmla="*/ 2147483647 h 276"/>
                <a:gd name="T36" fmla="*/ 2147483647 w 366"/>
                <a:gd name="T37" fmla="*/ 2147483647 h 276"/>
                <a:gd name="T38" fmla="*/ 2147483647 w 366"/>
                <a:gd name="T39" fmla="*/ 2147483647 h 276"/>
                <a:gd name="T40" fmla="*/ 0 w 366"/>
                <a:gd name="T41" fmla="*/ 2147483647 h 276"/>
                <a:gd name="T42" fmla="*/ 2147483647 w 366"/>
                <a:gd name="T43" fmla="*/ 2147483647 h 276"/>
                <a:gd name="T44" fmla="*/ 2147483647 w 366"/>
                <a:gd name="T45" fmla="*/ 2147483647 h 276"/>
                <a:gd name="T46" fmla="*/ 2147483647 w 366"/>
                <a:gd name="T47" fmla="*/ 2147483647 h 276"/>
                <a:gd name="T48" fmla="*/ 2147483647 w 366"/>
                <a:gd name="T49" fmla="*/ 2147483647 h 276"/>
                <a:gd name="T50" fmla="*/ 2147483647 w 366"/>
                <a:gd name="T51" fmla="*/ 2147483647 h 276"/>
                <a:gd name="T52" fmla="*/ 2147483647 w 366"/>
                <a:gd name="T53" fmla="*/ 2147483647 h 276"/>
                <a:gd name="T54" fmla="*/ 2147483647 w 366"/>
                <a:gd name="T55" fmla="*/ 2147483647 h 276"/>
                <a:gd name="T56" fmla="*/ 2147483647 w 366"/>
                <a:gd name="T57" fmla="*/ 2147483647 h 276"/>
                <a:gd name="T58" fmla="*/ 2147483647 w 366"/>
                <a:gd name="T59" fmla="*/ 2147483647 h 276"/>
                <a:gd name="T60" fmla="*/ 2147483647 w 366"/>
                <a:gd name="T61" fmla="*/ 2147483647 h 276"/>
                <a:gd name="T62" fmla="*/ 2147483647 w 366"/>
                <a:gd name="T63" fmla="*/ 2147483647 h 276"/>
                <a:gd name="T64" fmla="*/ 2147483647 w 366"/>
                <a:gd name="T65" fmla="*/ 2147483647 h 276"/>
                <a:gd name="T66" fmla="*/ 2147483647 w 366"/>
                <a:gd name="T67" fmla="*/ 2147483647 h 276"/>
                <a:gd name="T68" fmla="*/ 2147483647 w 366"/>
                <a:gd name="T69" fmla="*/ 2147483647 h 276"/>
                <a:gd name="T70" fmla="*/ 2147483647 w 366"/>
                <a:gd name="T71" fmla="*/ 2147483647 h 276"/>
                <a:gd name="T72" fmla="*/ 2147483647 w 366"/>
                <a:gd name="T73" fmla="*/ 2147483647 h 276"/>
                <a:gd name="T74" fmla="*/ 2147483647 w 366"/>
                <a:gd name="T75" fmla="*/ 2147483647 h 276"/>
                <a:gd name="T76" fmla="*/ 2147483647 w 366"/>
                <a:gd name="T77" fmla="*/ 2147483647 h 276"/>
                <a:gd name="T78" fmla="*/ 2147483647 w 366"/>
                <a:gd name="T79" fmla="*/ 2147483647 h 276"/>
                <a:gd name="T80" fmla="*/ 2147483647 w 366"/>
                <a:gd name="T81" fmla="*/ 2147483647 h 276"/>
                <a:gd name="T82" fmla="*/ 2147483647 w 366"/>
                <a:gd name="T83" fmla="*/ 2147483647 h 276"/>
                <a:gd name="T84" fmla="*/ 2147483647 w 366"/>
                <a:gd name="T85" fmla="*/ 2147483647 h 276"/>
                <a:gd name="T86" fmla="*/ 2147483647 w 366"/>
                <a:gd name="T87" fmla="*/ 2147483647 h 276"/>
                <a:gd name="T88" fmla="*/ 2147483647 w 366"/>
                <a:gd name="T89" fmla="*/ 2147483647 h 276"/>
                <a:gd name="T90" fmla="*/ 2147483647 w 366"/>
                <a:gd name="T91" fmla="*/ 2147483647 h 27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66"/>
                <a:gd name="T139" fmla="*/ 0 h 276"/>
                <a:gd name="T140" fmla="*/ 366 w 366"/>
                <a:gd name="T141" fmla="*/ 276 h 27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66" h="276">
                  <a:moveTo>
                    <a:pt x="342" y="126"/>
                  </a:moveTo>
                  <a:lnTo>
                    <a:pt x="342" y="114"/>
                  </a:lnTo>
                  <a:lnTo>
                    <a:pt x="348" y="114"/>
                  </a:lnTo>
                  <a:lnTo>
                    <a:pt x="354" y="108"/>
                  </a:lnTo>
                  <a:lnTo>
                    <a:pt x="360" y="108"/>
                  </a:lnTo>
                  <a:lnTo>
                    <a:pt x="366" y="102"/>
                  </a:lnTo>
                  <a:lnTo>
                    <a:pt x="360" y="102"/>
                  </a:lnTo>
                  <a:lnTo>
                    <a:pt x="348" y="96"/>
                  </a:lnTo>
                  <a:lnTo>
                    <a:pt x="336" y="96"/>
                  </a:lnTo>
                  <a:lnTo>
                    <a:pt x="342" y="78"/>
                  </a:lnTo>
                  <a:lnTo>
                    <a:pt x="336" y="78"/>
                  </a:lnTo>
                  <a:lnTo>
                    <a:pt x="330" y="48"/>
                  </a:lnTo>
                  <a:lnTo>
                    <a:pt x="324" y="48"/>
                  </a:lnTo>
                  <a:lnTo>
                    <a:pt x="312" y="54"/>
                  </a:lnTo>
                  <a:lnTo>
                    <a:pt x="270" y="60"/>
                  </a:lnTo>
                  <a:lnTo>
                    <a:pt x="264" y="48"/>
                  </a:lnTo>
                  <a:lnTo>
                    <a:pt x="246" y="48"/>
                  </a:lnTo>
                  <a:lnTo>
                    <a:pt x="234" y="42"/>
                  </a:lnTo>
                  <a:lnTo>
                    <a:pt x="228" y="36"/>
                  </a:lnTo>
                  <a:lnTo>
                    <a:pt x="216" y="30"/>
                  </a:lnTo>
                  <a:lnTo>
                    <a:pt x="204" y="18"/>
                  </a:lnTo>
                  <a:lnTo>
                    <a:pt x="204" y="12"/>
                  </a:lnTo>
                  <a:lnTo>
                    <a:pt x="198" y="6"/>
                  </a:lnTo>
                  <a:lnTo>
                    <a:pt x="186" y="0"/>
                  </a:lnTo>
                  <a:lnTo>
                    <a:pt x="162" y="0"/>
                  </a:lnTo>
                  <a:lnTo>
                    <a:pt x="162" y="12"/>
                  </a:lnTo>
                  <a:lnTo>
                    <a:pt x="150" y="18"/>
                  </a:lnTo>
                  <a:lnTo>
                    <a:pt x="120" y="18"/>
                  </a:lnTo>
                  <a:lnTo>
                    <a:pt x="120" y="30"/>
                  </a:lnTo>
                  <a:lnTo>
                    <a:pt x="126" y="36"/>
                  </a:lnTo>
                  <a:lnTo>
                    <a:pt x="126" y="42"/>
                  </a:lnTo>
                  <a:lnTo>
                    <a:pt x="114" y="54"/>
                  </a:lnTo>
                  <a:lnTo>
                    <a:pt x="102" y="60"/>
                  </a:lnTo>
                  <a:lnTo>
                    <a:pt x="102" y="78"/>
                  </a:lnTo>
                  <a:lnTo>
                    <a:pt x="60" y="78"/>
                  </a:lnTo>
                  <a:lnTo>
                    <a:pt x="54" y="72"/>
                  </a:lnTo>
                  <a:lnTo>
                    <a:pt x="54" y="66"/>
                  </a:lnTo>
                  <a:lnTo>
                    <a:pt x="48" y="78"/>
                  </a:lnTo>
                  <a:lnTo>
                    <a:pt x="30" y="78"/>
                  </a:lnTo>
                  <a:lnTo>
                    <a:pt x="18" y="72"/>
                  </a:lnTo>
                  <a:lnTo>
                    <a:pt x="18" y="84"/>
                  </a:lnTo>
                  <a:lnTo>
                    <a:pt x="0" y="84"/>
                  </a:lnTo>
                  <a:lnTo>
                    <a:pt x="0" y="132"/>
                  </a:lnTo>
                  <a:lnTo>
                    <a:pt x="6" y="132"/>
                  </a:lnTo>
                  <a:lnTo>
                    <a:pt x="12" y="120"/>
                  </a:lnTo>
                  <a:lnTo>
                    <a:pt x="24" y="114"/>
                  </a:lnTo>
                  <a:lnTo>
                    <a:pt x="30" y="102"/>
                  </a:lnTo>
                  <a:lnTo>
                    <a:pt x="42" y="102"/>
                  </a:lnTo>
                  <a:lnTo>
                    <a:pt x="48" y="114"/>
                  </a:lnTo>
                  <a:lnTo>
                    <a:pt x="48" y="132"/>
                  </a:lnTo>
                  <a:lnTo>
                    <a:pt x="78" y="126"/>
                  </a:lnTo>
                  <a:lnTo>
                    <a:pt x="78" y="132"/>
                  </a:lnTo>
                  <a:lnTo>
                    <a:pt x="72" y="144"/>
                  </a:lnTo>
                  <a:lnTo>
                    <a:pt x="72" y="150"/>
                  </a:lnTo>
                  <a:lnTo>
                    <a:pt x="84" y="162"/>
                  </a:lnTo>
                  <a:lnTo>
                    <a:pt x="96" y="168"/>
                  </a:lnTo>
                  <a:lnTo>
                    <a:pt x="96" y="180"/>
                  </a:lnTo>
                  <a:lnTo>
                    <a:pt x="144" y="216"/>
                  </a:lnTo>
                  <a:lnTo>
                    <a:pt x="144" y="240"/>
                  </a:lnTo>
                  <a:lnTo>
                    <a:pt x="198" y="240"/>
                  </a:lnTo>
                  <a:lnTo>
                    <a:pt x="210" y="246"/>
                  </a:lnTo>
                  <a:lnTo>
                    <a:pt x="216" y="252"/>
                  </a:lnTo>
                  <a:lnTo>
                    <a:pt x="216" y="276"/>
                  </a:lnTo>
                  <a:lnTo>
                    <a:pt x="246" y="276"/>
                  </a:lnTo>
                  <a:lnTo>
                    <a:pt x="252" y="270"/>
                  </a:lnTo>
                  <a:lnTo>
                    <a:pt x="252" y="264"/>
                  </a:lnTo>
                  <a:lnTo>
                    <a:pt x="246" y="252"/>
                  </a:lnTo>
                  <a:lnTo>
                    <a:pt x="234" y="246"/>
                  </a:lnTo>
                  <a:lnTo>
                    <a:pt x="216" y="234"/>
                  </a:lnTo>
                  <a:lnTo>
                    <a:pt x="204" y="228"/>
                  </a:lnTo>
                  <a:lnTo>
                    <a:pt x="192" y="216"/>
                  </a:lnTo>
                  <a:lnTo>
                    <a:pt x="180" y="186"/>
                  </a:lnTo>
                  <a:lnTo>
                    <a:pt x="162" y="180"/>
                  </a:lnTo>
                  <a:lnTo>
                    <a:pt x="162" y="162"/>
                  </a:lnTo>
                  <a:lnTo>
                    <a:pt x="156" y="156"/>
                  </a:lnTo>
                  <a:lnTo>
                    <a:pt x="150" y="156"/>
                  </a:lnTo>
                  <a:lnTo>
                    <a:pt x="150" y="144"/>
                  </a:lnTo>
                  <a:lnTo>
                    <a:pt x="132" y="138"/>
                  </a:lnTo>
                  <a:lnTo>
                    <a:pt x="120" y="126"/>
                  </a:lnTo>
                  <a:lnTo>
                    <a:pt x="138" y="120"/>
                  </a:lnTo>
                  <a:lnTo>
                    <a:pt x="138" y="96"/>
                  </a:lnTo>
                  <a:lnTo>
                    <a:pt x="144" y="96"/>
                  </a:lnTo>
                  <a:lnTo>
                    <a:pt x="150" y="102"/>
                  </a:lnTo>
                  <a:lnTo>
                    <a:pt x="162" y="108"/>
                  </a:lnTo>
                  <a:lnTo>
                    <a:pt x="186" y="102"/>
                  </a:lnTo>
                  <a:lnTo>
                    <a:pt x="210" y="102"/>
                  </a:lnTo>
                  <a:lnTo>
                    <a:pt x="228" y="108"/>
                  </a:lnTo>
                  <a:lnTo>
                    <a:pt x="240" y="102"/>
                  </a:lnTo>
                  <a:lnTo>
                    <a:pt x="252" y="102"/>
                  </a:lnTo>
                  <a:lnTo>
                    <a:pt x="258" y="108"/>
                  </a:lnTo>
                  <a:lnTo>
                    <a:pt x="312" y="108"/>
                  </a:lnTo>
                  <a:lnTo>
                    <a:pt x="324" y="126"/>
                  </a:lnTo>
                  <a:lnTo>
                    <a:pt x="342" y="126"/>
                  </a:lnTo>
                  <a:close/>
                </a:path>
              </a:pathLst>
            </a:custGeom>
            <a:solidFill>
              <a:srgbClr val="00508C"/>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78" name="Côte d'Ivoire" descr="© INSCALE GmbH, 05.05.2010&#10;http://www.presentationload.com/"/>
            <p:cNvSpPr>
              <a:spLocks/>
            </p:cNvSpPr>
            <p:nvPr/>
          </p:nvSpPr>
          <p:spPr bwMode="gray">
            <a:xfrm>
              <a:off x="3965578" y="3730625"/>
              <a:ext cx="176212" cy="207963"/>
            </a:xfrm>
            <a:custGeom>
              <a:avLst/>
              <a:gdLst>
                <a:gd name="T0" fmla="*/ 2147483647 w 438"/>
                <a:gd name="T1" fmla="*/ 2147483647 h 516"/>
                <a:gd name="T2" fmla="*/ 2147483647 w 438"/>
                <a:gd name="T3" fmla="*/ 2147483647 h 516"/>
                <a:gd name="T4" fmla="*/ 2147483647 w 438"/>
                <a:gd name="T5" fmla="*/ 2147483647 h 516"/>
                <a:gd name="T6" fmla="*/ 2147483647 w 438"/>
                <a:gd name="T7" fmla="*/ 2147483647 h 516"/>
                <a:gd name="T8" fmla="*/ 2147483647 w 438"/>
                <a:gd name="T9" fmla="*/ 2147483647 h 516"/>
                <a:gd name="T10" fmla="*/ 2147483647 w 438"/>
                <a:gd name="T11" fmla="*/ 2147483647 h 516"/>
                <a:gd name="T12" fmla="*/ 2147483647 w 438"/>
                <a:gd name="T13" fmla="*/ 2147483647 h 516"/>
                <a:gd name="T14" fmla="*/ 2147483647 w 438"/>
                <a:gd name="T15" fmla="*/ 2147483647 h 516"/>
                <a:gd name="T16" fmla="*/ 2147483647 w 438"/>
                <a:gd name="T17" fmla="*/ 2147483647 h 516"/>
                <a:gd name="T18" fmla="*/ 2147483647 w 438"/>
                <a:gd name="T19" fmla="*/ 2147483647 h 516"/>
                <a:gd name="T20" fmla="*/ 2147483647 w 438"/>
                <a:gd name="T21" fmla="*/ 2147483647 h 516"/>
                <a:gd name="T22" fmla="*/ 2147483647 w 438"/>
                <a:gd name="T23" fmla="*/ 2147483647 h 516"/>
                <a:gd name="T24" fmla="*/ 2147483647 w 438"/>
                <a:gd name="T25" fmla="*/ 2147483647 h 516"/>
                <a:gd name="T26" fmla="*/ 2147483647 w 438"/>
                <a:gd name="T27" fmla="*/ 2147483647 h 516"/>
                <a:gd name="T28" fmla="*/ 2147483647 w 438"/>
                <a:gd name="T29" fmla="*/ 2147483647 h 516"/>
                <a:gd name="T30" fmla="*/ 2147483647 w 438"/>
                <a:gd name="T31" fmla="*/ 2147483647 h 516"/>
                <a:gd name="T32" fmla="*/ 2147483647 w 438"/>
                <a:gd name="T33" fmla="*/ 0 h 516"/>
                <a:gd name="T34" fmla="*/ 2147483647 w 438"/>
                <a:gd name="T35" fmla="*/ 2147483647 h 516"/>
                <a:gd name="T36" fmla="*/ 2147483647 w 438"/>
                <a:gd name="T37" fmla="*/ 2147483647 h 516"/>
                <a:gd name="T38" fmla="*/ 2147483647 w 438"/>
                <a:gd name="T39" fmla="*/ 2147483647 h 516"/>
                <a:gd name="T40" fmla="*/ 2147483647 w 438"/>
                <a:gd name="T41" fmla="*/ 2147483647 h 516"/>
                <a:gd name="T42" fmla="*/ 2147483647 w 438"/>
                <a:gd name="T43" fmla="*/ 2147483647 h 516"/>
                <a:gd name="T44" fmla="*/ 2147483647 w 438"/>
                <a:gd name="T45" fmla="*/ 2147483647 h 516"/>
                <a:gd name="T46" fmla="*/ 2147483647 w 438"/>
                <a:gd name="T47" fmla="*/ 2147483647 h 516"/>
                <a:gd name="T48" fmla="*/ 2147483647 w 438"/>
                <a:gd name="T49" fmla="*/ 2147483647 h 516"/>
                <a:gd name="T50" fmla="*/ 2147483647 w 438"/>
                <a:gd name="T51" fmla="*/ 2147483647 h 516"/>
                <a:gd name="T52" fmla="*/ 2147483647 w 438"/>
                <a:gd name="T53" fmla="*/ 2147483647 h 516"/>
                <a:gd name="T54" fmla="*/ 2147483647 w 438"/>
                <a:gd name="T55" fmla="*/ 2147483647 h 516"/>
                <a:gd name="T56" fmla="*/ 2147483647 w 438"/>
                <a:gd name="T57" fmla="*/ 2147483647 h 516"/>
                <a:gd name="T58" fmla="*/ 2147483647 w 438"/>
                <a:gd name="T59" fmla="*/ 2147483647 h 516"/>
                <a:gd name="T60" fmla="*/ 2147483647 w 438"/>
                <a:gd name="T61" fmla="*/ 2147483647 h 516"/>
                <a:gd name="T62" fmla="*/ 2147483647 w 438"/>
                <a:gd name="T63" fmla="*/ 2147483647 h 516"/>
                <a:gd name="T64" fmla="*/ 2147483647 w 438"/>
                <a:gd name="T65" fmla="*/ 2147483647 h 516"/>
                <a:gd name="T66" fmla="*/ 2147483647 w 438"/>
                <a:gd name="T67" fmla="*/ 2147483647 h 516"/>
                <a:gd name="T68" fmla="*/ 2147483647 w 438"/>
                <a:gd name="T69" fmla="*/ 2147483647 h 516"/>
                <a:gd name="T70" fmla="*/ 2147483647 w 438"/>
                <a:gd name="T71" fmla="*/ 2147483647 h 516"/>
                <a:gd name="T72" fmla="*/ 2147483647 w 438"/>
                <a:gd name="T73" fmla="*/ 2147483647 h 516"/>
                <a:gd name="T74" fmla="*/ 2147483647 w 438"/>
                <a:gd name="T75" fmla="*/ 2147483647 h 516"/>
                <a:gd name="T76" fmla="*/ 2147483647 w 438"/>
                <a:gd name="T77" fmla="*/ 2147483647 h 516"/>
                <a:gd name="T78" fmla="*/ 2147483647 w 438"/>
                <a:gd name="T79" fmla="*/ 2147483647 h 516"/>
                <a:gd name="T80" fmla="*/ 2147483647 w 438"/>
                <a:gd name="T81" fmla="*/ 2147483647 h 516"/>
                <a:gd name="T82" fmla="*/ 2147483647 w 438"/>
                <a:gd name="T83" fmla="*/ 2147483647 h 516"/>
                <a:gd name="T84" fmla="*/ 2147483647 w 438"/>
                <a:gd name="T85" fmla="*/ 2147483647 h 516"/>
                <a:gd name="T86" fmla="*/ 2147483647 w 438"/>
                <a:gd name="T87" fmla="*/ 2147483647 h 516"/>
                <a:gd name="T88" fmla="*/ 2147483647 w 438"/>
                <a:gd name="T89" fmla="*/ 2147483647 h 51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38"/>
                <a:gd name="T136" fmla="*/ 0 h 516"/>
                <a:gd name="T137" fmla="*/ 438 w 438"/>
                <a:gd name="T138" fmla="*/ 516 h 51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38" h="516">
                  <a:moveTo>
                    <a:pt x="402" y="408"/>
                  </a:moveTo>
                  <a:lnTo>
                    <a:pt x="402" y="402"/>
                  </a:lnTo>
                  <a:lnTo>
                    <a:pt x="396" y="396"/>
                  </a:lnTo>
                  <a:lnTo>
                    <a:pt x="390" y="384"/>
                  </a:lnTo>
                  <a:lnTo>
                    <a:pt x="390" y="372"/>
                  </a:lnTo>
                  <a:lnTo>
                    <a:pt x="384" y="354"/>
                  </a:lnTo>
                  <a:lnTo>
                    <a:pt x="378" y="342"/>
                  </a:lnTo>
                  <a:lnTo>
                    <a:pt x="378" y="318"/>
                  </a:lnTo>
                  <a:lnTo>
                    <a:pt x="384" y="312"/>
                  </a:lnTo>
                  <a:lnTo>
                    <a:pt x="390" y="300"/>
                  </a:lnTo>
                  <a:lnTo>
                    <a:pt x="408" y="282"/>
                  </a:lnTo>
                  <a:lnTo>
                    <a:pt x="408" y="270"/>
                  </a:lnTo>
                  <a:lnTo>
                    <a:pt x="414" y="258"/>
                  </a:lnTo>
                  <a:lnTo>
                    <a:pt x="414" y="240"/>
                  </a:lnTo>
                  <a:lnTo>
                    <a:pt x="420" y="228"/>
                  </a:lnTo>
                  <a:lnTo>
                    <a:pt x="426" y="222"/>
                  </a:lnTo>
                  <a:lnTo>
                    <a:pt x="438" y="198"/>
                  </a:lnTo>
                  <a:lnTo>
                    <a:pt x="438" y="186"/>
                  </a:lnTo>
                  <a:lnTo>
                    <a:pt x="432" y="174"/>
                  </a:lnTo>
                  <a:lnTo>
                    <a:pt x="432" y="162"/>
                  </a:lnTo>
                  <a:lnTo>
                    <a:pt x="426" y="150"/>
                  </a:lnTo>
                  <a:lnTo>
                    <a:pt x="426" y="138"/>
                  </a:lnTo>
                  <a:lnTo>
                    <a:pt x="420" y="132"/>
                  </a:lnTo>
                  <a:lnTo>
                    <a:pt x="420" y="126"/>
                  </a:lnTo>
                  <a:lnTo>
                    <a:pt x="432" y="126"/>
                  </a:lnTo>
                  <a:lnTo>
                    <a:pt x="426" y="96"/>
                  </a:lnTo>
                  <a:lnTo>
                    <a:pt x="408" y="102"/>
                  </a:lnTo>
                  <a:lnTo>
                    <a:pt x="408" y="90"/>
                  </a:lnTo>
                  <a:lnTo>
                    <a:pt x="390" y="72"/>
                  </a:lnTo>
                  <a:lnTo>
                    <a:pt x="372" y="66"/>
                  </a:lnTo>
                  <a:lnTo>
                    <a:pt x="342" y="66"/>
                  </a:lnTo>
                  <a:lnTo>
                    <a:pt x="318" y="78"/>
                  </a:lnTo>
                  <a:lnTo>
                    <a:pt x="318" y="84"/>
                  </a:lnTo>
                  <a:lnTo>
                    <a:pt x="312" y="90"/>
                  </a:lnTo>
                  <a:lnTo>
                    <a:pt x="300" y="90"/>
                  </a:lnTo>
                  <a:lnTo>
                    <a:pt x="294" y="84"/>
                  </a:lnTo>
                  <a:lnTo>
                    <a:pt x="282" y="84"/>
                  </a:lnTo>
                  <a:lnTo>
                    <a:pt x="276" y="78"/>
                  </a:lnTo>
                  <a:lnTo>
                    <a:pt x="264" y="72"/>
                  </a:lnTo>
                  <a:lnTo>
                    <a:pt x="258" y="60"/>
                  </a:lnTo>
                  <a:lnTo>
                    <a:pt x="258" y="48"/>
                  </a:lnTo>
                  <a:lnTo>
                    <a:pt x="252" y="42"/>
                  </a:lnTo>
                  <a:lnTo>
                    <a:pt x="252" y="36"/>
                  </a:lnTo>
                  <a:lnTo>
                    <a:pt x="228" y="42"/>
                  </a:lnTo>
                  <a:lnTo>
                    <a:pt x="228" y="18"/>
                  </a:lnTo>
                  <a:lnTo>
                    <a:pt x="216" y="18"/>
                  </a:lnTo>
                  <a:lnTo>
                    <a:pt x="210" y="24"/>
                  </a:lnTo>
                  <a:lnTo>
                    <a:pt x="204" y="36"/>
                  </a:lnTo>
                  <a:lnTo>
                    <a:pt x="198" y="42"/>
                  </a:lnTo>
                  <a:lnTo>
                    <a:pt x="174" y="36"/>
                  </a:lnTo>
                  <a:lnTo>
                    <a:pt x="174" y="0"/>
                  </a:lnTo>
                  <a:lnTo>
                    <a:pt x="162" y="24"/>
                  </a:lnTo>
                  <a:lnTo>
                    <a:pt x="150" y="6"/>
                  </a:lnTo>
                  <a:lnTo>
                    <a:pt x="144" y="30"/>
                  </a:lnTo>
                  <a:lnTo>
                    <a:pt x="126" y="30"/>
                  </a:lnTo>
                  <a:lnTo>
                    <a:pt x="120" y="48"/>
                  </a:lnTo>
                  <a:lnTo>
                    <a:pt x="102" y="30"/>
                  </a:lnTo>
                  <a:lnTo>
                    <a:pt x="84" y="24"/>
                  </a:lnTo>
                  <a:lnTo>
                    <a:pt x="72" y="24"/>
                  </a:lnTo>
                  <a:lnTo>
                    <a:pt x="66" y="30"/>
                  </a:lnTo>
                  <a:lnTo>
                    <a:pt x="66" y="48"/>
                  </a:lnTo>
                  <a:lnTo>
                    <a:pt x="54" y="42"/>
                  </a:lnTo>
                  <a:lnTo>
                    <a:pt x="36" y="66"/>
                  </a:lnTo>
                  <a:lnTo>
                    <a:pt x="42" y="102"/>
                  </a:lnTo>
                  <a:lnTo>
                    <a:pt x="60" y="108"/>
                  </a:lnTo>
                  <a:lnTo>
                    <a:pt x="48" y="126"/>
                  </a:lnTo>
                  <a:lnTo>
                    <a:pt x="66" y="132"/>
                  </a:lnTo>
                  <a:lnTo>
                    <a:pt x="60" y="138"/>
                  </a:lnTo>
                  <a:lnTo>
                    <a:pt x="54" y="150"/>
                  </a:lnTo>
                  <a:lnTo>
                    <a:pt x="54" y="162"/>
                  </a:lnTo>
                  <a:lnTo>
                    <a:pt x="60" y="162"/>
                  </a:lnTo>
                  <a:lnTo>
                    <a:pt x="72" y="168"/>
                  </a:lnTo>
                  <a:lnTo>
                    <a:pt x="78" y="168"/>
                  </a:lnTo>
                  <a:lnTo>
                    <a:pt x="78" y="180"/>
                  </a:lnTo>
                  <a:lnTo>
                    <a:pt x="72" y="186"/>
                  </a:lnTo>
                  <a:lnTo>
                    <a:pt x="72" y="192"/>
                  </a:lnTo>
                  <a:lnTo>
                    <a:pt x="66" y="186"/>
                  </a:lnTo>
                  <a:lnTo>
                    <a:pt x="54" y="186"/>
                  </a:lnTo>
                  <a:lnTo>
                    <a:pt x="48" y="180"/>
                  </a:lnTo>
                  <a:lnTo>
                    <a:pt x="30" y="180"/>
                  </a:lnTo>
                  <a:lnTo>
                    <a:pt x="30" y="192"/>
                  </a:lnTo>
                  <a:lnTo>
                    <a:pt x="36" y="204"/>
                  </a:lnTo>
                  <a:lnTo>
                    <a:pt x="48" y="210"/>
                  </a:lnTo>
                  <a:lnTo>
                    <a:pt x="54" y="222"/>
                  </a:lnTo>
                  <a:lnTo>
                    <a:pt x="36" y="222"/>
                  </a:lnTo>
                  <a:lnTo>
                    <a:pt x="36" y="228"/>
                  </a:lnTo>
                  <a:lnTo>
                    <a:pt x="42" y="234"/>
                  </a:lnTo>
                  <a:lnTo>
                    <a:pt x="42" y="252"/>
                  </a:lnTo>
                  <a:lnTo>
                    <a:pt x="36" y="258"/>
                  </a:lnTo>
                  <a:lnTo>
                    <a:pt x="30" y="258"/>
                  </a:lnTo>
                  <a:lnTo>
                    <a:pt x="18" y="252"/>
                  </a:lnTo>
                  <a:lnTo>
                    <a:pt x="12" y="246"/>
                  </a:lnTo>
                  <a:lnTo>
                    <a:pt x="6" y="246"/>
                  </a:lnTo>
                  <a:lnTo>
                    <a:pt x="24" y="282"/>
                  </a:lnTo>
                  <a:lnTo>
                    <a:pt x="24" y="306"/>
                  </a:lnTo>
                  <a:lnTo>
                    <a:pt x="18" y="324"/>
                  </a:lnTo>
                  <a:lnTo>
                    <a:pt x="6" y="330"/>
                  </a:lnTo>
                  <a:lnTo>
                    <a:pt x="0" y="342"/>
                  </a:lnTo>
                  <a:lnTo>
                    <a:pt x="6" y="348"/>
                  </a:lnTo>
                  <a:lnTo>
                    <a:pt x="24" y="348"/>
                  </a:lnTo>
                  <a:lnTo>
                    <a:pt x="24" y="360"/>
                  </a:lnTo>
                  <a:lnTo>
                    <a:pt x="60" y="354"/>
                  </a:lnTo>
                  <a:lnTo>
                    <a:pt x="60" y="384"/>
                  </a:lnTo>
                  <a:lnTo>
                    <a:pt x="90" y="414"/>
                  </a:lnTo>
                  <a:lnTo>
                    <a:pt x="90" y="438"/>
                  </a:lnTo>
                  <a:lnTo>
                    <a:pt x="84" y="450"/>
                  </a:lnTo>
                  <a:lnTo>
                    <a:pt x="84" y="462"/>
                  </a:lnTo>
                  <a:lnTo>
                    <a:pt x="78" y="468"/>
                  </a:lnTo>
                  <a:lnTo>
                    <a:pt x="78" y="516"/>
                  </a:lnTo>
                  <a:lnTo>
                    <a:pt x="90" y="516"/>
                  </a:lnTo>
                  <a:lnTo>
                    <a:pt x="96" y="510"/>
                  </a:lnTo>
                  <a:lnTo>
                    <a:pt x="102" y="498"/>
                  </a:lnTo>
                  <a:lnTo>
                    <a:pt x="114" y="498"/>
                  </a:lnTo>
                  <a:lnTo>
                    <a:pt x="126" y="486"/>
                  </a:lnTo>
                  <a:lnTo>
                    <a:pt x="138" y="480"/>
                  </a:lnTo>
                  <a:lnTo>
                    <a:pt x="198" y="456"/>
                  </a:lnTo>
                  <a:lnTo>
                    <a:pt x="228" y="450"/>
                  </a:lnTo>
                  <a:lnTo>
                    <a:pt x="264" y="450"/>
                  </a:lnTo>
                  <a:lnTo>
                    <a:pt x="270" y="444"/>
                  </a:lnTo>
                  <a:lnTo>
                    <a:pt x="282" y="444"/>
                  </a:lnTo>
                  <a:lnTo>
                    <a:pt x="294" y="438"/>
                  </a:lnTo>
                  <a:lnTo>
                    <a:pt x="330" y="438"/>
                  </a:lnTo>
                  <a:lnTo>
                    <a:pt x="336" y="444"/>
                  </a:lnTo>
                  <a:lnTo>
                    <a:pt x="342" y="444"/>
                  </a:lnTo>
                  <a:lnTo>
                    <a:pt x="348" y="450"/>
                  </a:lnTo>
                  <a:lnTo>
                    <a:pt x="366" y="450"/>
                  </a:lnTo>
                  <a:lnTo>
                    <a:pt x="378" y="438"/>
                  </a:lnTo>
                  <a:lnTo>
                    <a:pt x="384" y="438"/>
                  </a:lnTo>
                  <a:lnTo>
                    <a:pt x="384" y="444"/>
                  </a:lnTo>
                  <a:lnTo>
                    <a:pt x="396" y="456"/>
                  </a:lnTo>
                  <a:lnTo>
                    <a:pt x="408" y="462"/>
                  </a:lnTo>
                  <a:lnTo>
                    <a:pt x="420" y="462"/>
                  </a:lnTo>
                  <a:lnTo>
                    <a:pt x="426" y="468"/>
                  </a:lnTo>
                  <a:lnTo>
                    <a:pt x="426" y="414"/>
                  </a:lnTo>
                  <a:lnTo>
                    <a:pt x="402" y="408"/>
                  </a:lnTo>
                  <a:close/>
                </a:path>
              </a:pathLst>
            </a:custGeom>
            <a:solidFill>
              <a:srgbClr val="692864"/>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79" name="Costa Rica" descr="© INSCALE GmbH, 05.05.2010&#10;http://www.presentationload.com/"/>
            <p:cNvSpPr>
              <a:spLocks/>
            </p:cNvSpPr>
            <p:nvPr/>
          </p:nvSpPr>
          <p:spPr bwMode="gray">
            <a:xfrm>
              <a:off x="1762126" y="3714750"/>
              <a:ext cx="96837" cy="92075"/>
            </a:xfrm>
            <a:custGeom>
              <a:avLst/>
              <a:gdLst>
                <a:gd name="T0" fmla="*/ 2147483647 w 240"/>
                <a:gd name="T1" fmla="*/ 2147483647 h 228"/>
                <a:gd name="T2" fmla="*/ 2147483647 w 240"/>
                <a:gd name="T3" fmla="*/ 2147483647 h 228"/>
                <a:gd name="T4" fmla="*/ 2147483647 w 240"/>
                <a:gd name="T5" fmla="*/ 2147483647 h 228"/>
                <a:gd name="T6" fmla="*/ 2147483647 w 240"/>
                <a:gd name="T7" fmla="*/ 2147483647 h 228"/>
                <a:gd name="T8" fmla="*/ 2147483647 w 240"/>
                <a:gd name="T9" fmla="*/ 2147483647 h 228"/>
                <a:gd name="T10" fmla="*/ 2147483647 w 240"/>
                <a:gd name="T11" fmla="*/ 2147483647 h 228"/>
                <a:gd name="T12" fmla="*/ 2147483647 w 240"/>
                <a:gd name="T13" fmla="*/ 2147483647 h 228"/>
                <a:gd name="T14" fmla="*/ 2147483647 w 240"/>
                <a:gd name="T15" fmla="*/ 2147483647 h 228"/>
                <a:gd name="T16" fmla="*/ 2147483647 w 240"/>
                <a:gd name="T17" fmla="*/ 2147483647 h 228"/>
                <a:gd name="T18" fmla="*/ 2147483647 w 240"/>
                <a:gd name="T19" fmla="*/ 2147483647 h 228"/>
                <a:gd name="T20" fmla="*/ 2147483647 w 240"/>
                <a:gd name="T21" fmla="*/ 2147483647 h 228"/>
                <a:gd name="T22" fmla="*/ 2147483647 w 240"/>
                <a:gd name="T23" fmla="*/ 2147483647 h 228"/>
                <a:gd name="T24" fmla="*/ 2147483647 w 240"/>
                <a:gd name="T25" fmla="*/ 2147483647 h 228"/>
                <a:gd name="T26" fmla="*/ 2147483647 w 240"/>
                <a:gd name="T27" fmla="*/ 2147483647 h 228"/>
                <a:gd name="T28" fmla="*/ 2147483647 w 240"/>
                <a:gd name="T29" fmla="*/ 2147483647 h 228"/>
                <a:gd name="T30" fmla="*/ 2147483647 w 240"/>
                <a:gd name="T31" fmla="*/ 0 h 228"/>
                <a:gd name="T32" fmla="*/ 2147483647 w 240"/>
                <a:gd name="T33" fmla="*/ 2147483647 h 228"/>
                <a:gd name="T34" fmla="*/ 2147483647 w 240"/>
                <a:gd name="T35" fmla="*/ 2147483647 h 228"/>
                <a:gd name="T36" fmla="*/ 0 w 240"/>
                <a:gd name="T37" fmla="*/ 2147483647 h 228"/>
                <a:gd name="T38" fmla="*/ 2147483647 w 240"/>
                <a:gd name="T39" fmla="*/ 2147483647 h 228"/>
                <a:gd name="T40" fmla="*/ 2147483647 w 240"/>
                <a:gd name="T41" fmla="*/ 2147483647 h 228"/>
                <a:gd name="T42" fmla="*/ 2147483647 w 240"/>
                <a:gd name="T43" fmla="*/ 2147483647 h 228"/>
                <a:gd name="T44" fmla="*/ 2147483647 w 240"/>
                <a:gd name="T45" fmla="*/ 2147483647 h 228"/>
                <a:gd name="T46" fmla="*/ 2147483647 w 240"/>
                <a:gd name="T47" fmla="*/ 2147483647 h 228"/>
                <a:gd name="T48" fmla="*/ 2147483647 w 240"/>
                <a:gd name="T49" fmla="*/ 2147483647 h 228"/>
                <a:gd name="T50" fmla="*/ 2147483647 w 240"/>
                <a:gd name="T51" fmla="*/ 2147483647 h 228"/>
                <a:gd name="T52" fmla="*/ 2147483647 w 240"/>
                <a:gd name="T53" fmla="*/ 2147483647 h 228"/>
                <a:gd name="T54" fmla="*/ 2147483647 w 240"/>
                <a:gd name="T55" fmla="*/ 2147483647 h 228"/>
                <a:gd name="T56" fmla="*/ 2147483647 w 240"/>
                <a:gd name="T57" fmla="*/ 2147483647 h 228"/>
                <a:gd name="T58" fmla="*/ 2147483647 w 240"/>
                <a:gd name="T59" fmla="*/ 2147483647 h 228"/>
                <a:gd name="T60" fmla="*/ 2147483647 w 240"/>
                <a:gd name="T61" fmla="*/ 2147483647 h 228"/>
                <a:gd name="T62" fmla="*/ 2147483647 w 240"/>
                <a:gd name="T63" fmla="*/ 2147483647 h 228"/>
                <a:gd name="T64" fmla="*/ 2147483647 w 240"/>
                <a:gd name="T65" fmla="*/ 2147483647 h 228"/>
                <a:gd name="T66" fmla="*/ 2147483647 w 240"/>
                <a:gd name="T67" fmla="*/ 2147483647 h 22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40"/>
                <a:gd name="T103" fmla="*/ 0 h 228"/>
                <a:gd name="T104" fmla="*/ 240 w 240"/>
                <a:gd name="T105" fmla="*/ 228 h 22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40" h="228">
                  <a:moveTo>
                    <a:pt x="210" y="198"/>
                  </a:moveTo>
                  <a:lnTo>
                    <a:pt x="216" y="198"/>
                  </a:lnTo>
                  <a:lnTo>
                    <a:pt x="234" y="180"/>
                  </a:lnTo>
                  <a:lnTo>
                    <a:pt x="228" y="174"/>
                  </a:lnTo>
                  <a:lnTo>
                    <a:pt x="210" y="174"/>
                  </a:lnTo>
                  <a:lnTo>
                    <a:pt x="210" y="168"/>
                  </a:lnTo>
                  <a:lnTo>
                    <a:pt x="204" y="162"/>
                  </a:lnTo>
                  <a:lnTo>
                    <a:pt x="204" y="144"/>
                  </a:lnTo>
                  <a:lnTo>
                    <a:pt x="210" y="138"/>
                  </a:lnTo>
                  <a:lnTo>
                    <a:pt x="222" y="138"/>
                  </a:lnTo>
                  <a:lnTo>
                    <a:pt x="228" y="132"/>
                  </a:lnTo>
                  <a:lnTo>
                    <a:pt x="240" y="132"/>
                  </a:lnTo>
                  <a:lnTo>
                    <a:pt x="228" y="126"/>
                  </a:lnTo>
                  <a:lnTo>
                    <a:pt x="210" y="108"/>
                  </a:lnTo>
                  <a:lnTo>
                    <a:pt x="198" y="84"/>
                  </a:lnTo>
                  <a:lnTo>
                    <a:pt x="192" y="78"/>
                  </a:lnTo>
                  <a:lnTo>
                    <a:pt x="186" y="66"/>
                  </a:lnTo>
                  <a:lnTo>
                    <a:pt x="180" y="60"/>
                  </a:lnTo>
                  <a:lnTo>
                    <a:pt x="174" y="36"/>
                  </a:lnTo>
                  <a:lnTo>
                    <a:pt x="138" y="36"/>
                  </a:lnTo>
                  <a:lnTo>
                    <a:pt x="126" y="24"/>
                  </a:lnTo>
                  <a:lnTo>
                    <a:pt x="126" y="18"/>
                  </a:lnTo>
                  <a:lnTo>
                    <a:pt x="120" y="18"/>
                  </a:lnTo>
                  <a:lnTo>
                    <a:pt x="114" y="12"/>
                  </a:lnTo>
                  <a:lnTo>
                    <a:pt x="84" y="12"/>
                  </a:lnTo>
                  <a:lnTo>
                    <a:pt x="84" y="18"/>
                  </a:lnTo>
                  <a:lnTo>
                    <a:pt x="78" y="18"/>
                  </a:lnTo>
                  <a:lnTo>
                    <a:pt x="72" y="12"/>
                  </a:lnTo>
                  <a:lnTo>
                    <a:pt x="60" y="6"/>
                  </a:lnTo>
                  <a:lnTo>
                    <a:pt x="48" y="6"/>
                  </a:lnTo>
                  <a:lnTo>
                    <a:pt x="42" y="0"/>
                  </a:lnTo>
                  <a:lnTo>
                    <a:pt x="24" y="0"/>
                  </a:lnTo>
                  <a:lnTo>
                    <a:pt x="6" y="30"/>
                  </a:lnTo>
                  <a:lnTo>
                    <a:pt x="18" y="42"/>
                  </a:lnTo>
                  <a:lnTo>
                    <a:pt x="24" y="42"/>
                  </a:lnTo>
                  <a:lnTo>
                    <a:pt x="24" y="48"/>
                  </a:lnTo>
                  <a:lnTo>
                    <a:pt x="6" y="66"/>
                  </a:lnTo>
                  <a:lnTo>
                    <a:pt x="0" y="78"/>
                  </a:lnTo>
                  <a:lnTo>
                    <a:pt x="6" y="90"/>
                  </a:lnTo>
                  <a:lnTo>
                    <a:pt x="18" y="102"/>
                  </a:lnTo>
                  <a:lnTo>
                    <a:pt x="30" y="108"/>
                  </a:lnTo>
                  <a:lnTo>
                    <a:pt x="42" y="108"/>
                  </a:lnTo>
                  <a:lnTo>
                    <a:pt x="60" y="126"/>
                  </a:lnTo>
                  <a:lnTo>
                    <a:pt x="72" y="126"/>
                  </a:lnTo>
                  <a:lnTo>
                    <a:pt x="72" y="102"/>
                  </a:lnTo>
                  <a:lnTo>
                    <a:pt x="66" y="96"/>
                  </a:lnTo>
                  <a:lnTo>
                    <a:pt x="54" y="90"/>
                  </a:lnTo>
                  <a:lnTo>
                    <a:pt x="42" y="78"/>
                  </a:lnTo>
                  <a:lnTo>
                    <a:pt x="42" y="72"/>
                  </a:lnTo>
                  <a:lnTo>
                    <a:pt x="48" y="72"/>
                  </a:lnTo>
                  <a:lnTo>
                    <a:pt x="60" y="78"/>
                  </a:lnTo>
                  <a:lnTo>
                    <a:pt x="66" y="84"/>
                  </a:lnTo>
                  <a:lnTo>
                    <a:pt x="90" y="96"/>
                  </a:lnTo>
                  <a:lnTo>
                    <a:pt x="96" y="102"/>
                  </a:lnTo>
                  <a:lnTo>
                    <a:pt x="96" y="132"/>
                  </a:lnTo>
                  <a:lnTo>
                    <a:pt x="114" y="132"/>
                  </a:lnTo>
                  <a:lnTo>
                    <a:pt x="126" y="138"/>
                  </a:lnTo>
                  <a:lnTo>
                    <a:pt x="138" y="138"/>
                  </a:lnTo>
                  <a:lnTo>
                    <a:pt x="156" y="180"/>
                  </a:lnTo>
                  <a:lnTo>
                    <a:pt x="150" y="186"/>
                  </a:lnTo>
                  <a:lnTo>
                    <a:pt x="150" y="198"/>
                  </a:lnTo>
                  <a:lnTo>
                    <a:pt x="168" y="216"/>
                  </a:lnTo>
                  <a:lnTo>
                    <a:pt x="180" y="222"/>
                  </a:lnTo>
                  <a:lnTo>
                    <a:pt x="192" y="222"/>
                  </a:lnTo>
                  <a:lnTo>
                    <a:pt x="174" y="198"/>
                  </a:lnTo>
                  <a:lnTo>
                    <a:pt x="204" y="228"/>
                  </a:lnTo>
                  <a:lnTo>
                    <a:pt x="210" y="222"/>
                  </a:lnTo>
                  <a:lnTo>
                    <a:pt x="210" y="198"/>
                  </a:lnTo>
                  <a:close/>
                </a:path>
              </a:pathLst>
            </a:custGeom>
            <a:solidFill>
              <a:srgbClr val="658B26"/>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80" name="Congo" descr="© INSCALE GmbH, 05.05.2010&#10;http://www.presentationload.com/"/>
            <p:cNvSpPr>
              <a:spLocks/>
            </p:cNvSpPr>
            <p:nvPr/>
          </p:nvSpPr>
          <p:spPr bwMode="gray">
            <a:xfrm>
              <a:off x="4565653" y="3903661"/>
              <a:ext cx="542925" cy="611188"/>
            </a:xfrm>
            <a:custGeom>
              <a:avLst/>
              <a:gdLst>
                <a:gd name="T0" fmla="*/ 2147483647 w 1350"/>
                <a:gd name="T1" fmla="*/ 2147483647 h 1518"/>
                <a:gd name="T2" fmla="*/ 2147483647 w 1350"/>
                <a:gd name="T3" fmla="*/ 2147483647 h 1518"/>
                <a:gd name="T4" fmla="*/ 2147483647 w 1350"/>
                <a:gd name="T5" fmla="*/ 2147483647 h 1518"/>
                <a:gd name="T6" fmla="*/ 2147483647 w 1350"/>
                <a:gd name="T7" fmla="*/ 2147483647 h 1518"/>
                <a:gd name="T8" fmla="*/ 2147483647 w 1350"/>
                <a:gd name="T9" fmla="*/ 2147483647 h 1518"/>
                <a:gd name="T10" fmla="*/ 2147483647 w 1350"/>
                <a:gd name="T11" fmla="*/ 2147483647 h 1518"/>
                <a:gd name="T12" fmla="*/ 2147483647 w 1350"/>
                <a:gd name="T13" fmla="*/ 2147483647 h 1518"/>
                <a:gd name="T14" fmla="*/ 2147483647 w 1350"/>
                <a:gd name="T15" fmla="*/ 2147483647 h 1518"/>
                <a:gd name="T16" fmla="*/ 2147483647 w 1350"/>
                <a:gd name="T17" fmla="*/ 2147483647 h 1518"/>
                <a:gd name="T18" fmla="*/ 2147483647 w 1350"/>
                <a:gd name="T19" fmla="*/ 2147483647 h 1518"/>
                <a:gd name="T20" fmla="*/ 2147483647 w 1350"/>
                <a:gd name="T21" fmla="*/ 2147483647 h 1518"/>
                <a:gd name="T22" fmla="*/ 2147483647 w 1350"/>
                <a:gd name="T23" fmla="*/ 2147483647 h 1518"/>
                <a:gd name="T24" fmla="*/ 2147483647 w 1350"/>
                <a:gd name="T25" fmla="*/ 2147483647 h 1518"/>
                <a:gd name="T26" fmla="*/ 2147483647 w 1350"/>
                <a:gd name="T27" fmla="*/ 2147483647 h 1518"/>
                <a:gd name="T28" fmla="*/ 2147483647 w 1350"/>
                <a:gd name="T29" fmla="*/ 2147483647 h 1518"/>
                <a:gd name="T30" fmla="*/ 2147483647 w 1350"/>
                <a:gd name="T31" fmla="*/ 2147483647 h 1518"/>
                <a:gd name="T32" fmla="*/ 2147483647 w 1350"/>
                <a:gd name="T33" fmla="*/ 2147483647 h 1518"/>
                <a:gd name="T34" fmla="*/ 2147483647 w 1350"/>
                <a:gd name="T35" fmla="*/ 2147483647 h 1518"/>
                <a:gd name="T36" fmla="*/ 2147483647 w 1350"/>
                <a:gd name="T37" fmla="*/ 2147483647 h 1518"/>
                <a:gd name="T38" fmla="*/ 2147483647 w 1350"/>
                <a:gd name="T39" fmla="*/ 2147483647 h 1518"/>
                <a:gd name="T40" fmla="*/ 2147483647 w 1350"/>
                <a:gd name="T41" fmla="*/ 2147483647 h 1518"/>
                <a:gd name="T42" fmla="*/ 2147483647 w 1350"/>
                <a:gd name="T43" fmla="*/ 2147483647 h 1518"/>
                <a:gd name="T44" fmla="*/ 2147483647 w 1350"/>
                <a:gd name="T45" fmla="*/ 2147483647 h 1518"/>
                <a:gd name="T46" fmla="*/ 2147483647 w 1350"/>
                <a:gd name="T47" fmla="*/ 2147483647 h 1518"/>
                <a:gd name="T48" fmla="*/ 2147483647 w 1350"/>
                <a:gd name="T49" fmla="*/ 2147483647 h 1518"/>
                <a:gd name="T50" fmla="*/ 2147483647 w 1350"/>
                <a:gd name="T51" fmla="*/ 2147483647 h 1518"/>
                <a:gd name="T52" fmla="*/ 2147483647 w 1350"/>
                <a:gd name="T53" fmla="*/ 2147483647 h 1518"/>
                <a:gd name="T54" fmla="*/ 2147483647 w 1350"/>
                <a:gd name="T55" fmla="*/ 2147483647 h 1518"/>
                <a:gd name="T56" fmla="*/ 2147483647 w 1350"/>
                <a:gd name="T57" fmla="*/ 2147483647 h 1518"/>
                <a:gd name="T58" fmla="*/ 2147483647 w 1350"/>
                <a:gd name="T59" fmla="*/ 2147483647 h 1518"/>
                <a:gd name="T60" fmla="*/ 2147483647 w 1350"/>
                <a:gd name="T61" fmla="*/ 2147483647 h 1518"/>
                <a:gd name="T62" fmla="*/ 2147483647 w 1350"/>
                <a:gd name="T63" fmla="*/ 2147483647 h 1518"/>
                <a:gd name="T64" fmla="*/ 2147483647 w 1350"/>
                <a:gd name="T65" fmla="*/ 2147483647 h 1518"/>
                <a:gd name="T66" fmla="*/ 2147483647 w 1350"/>
                <a:gd name="T67" fmla="*/ 2147483647 h 1518"/>
                <a:gd name="T68" fmla="*/ 2147483647 w 1350"/>
                <a:gd name="T69" fmla="*/ 2147483647 h 1518"/>
                <a:gd name="T70" fmla="*/ 2147483647 w 1350"/>
                <a:gd name="T71" fmla="*/ 2147483647 h 1518"/>
                <a:gd name="T72" fmla="*/ 2147483647 w 1350"/>
                <a:gd name="T73" fmla="*/ 2147483647 h 1518"/>
                <a:gd name="T74" fmla="*/ 2147483647 w 1350"/>
                <a:gd name="T75" fmla="*/ 2147483647 h 1518"/>
                <a:gd name="T76" fmla="*/ 2147483647 w 1350"/>
                <a:gd name="T77" fmla="*/ 2147483647 h 1518"/>
                <a:gd name="T78" fmla="*/ 2147483647 w 1350"/>
                <a:gd name="T79" fmla="*/ 2147483647 h 1518"/>
                <a:gd name="T80" fmla="*/ 2147483647 w 1350"/>
                <a:gd name="T81" fmla="*/ 2147483647 h 1518"/>
                <a:gd name="T82" fmla="*/ 2147483647 w 1350"/>
                <a:gd name="T83" fmla="*/ 2147483647 h 1518"/>
                <a:gd name="T84" fmla="*/ 2147483647 w 1350"/>
                <a:gd name="T85" fmla="*/ 2147483647 h 1518"/>
                <a:gd name="T86" fmla="*/ 2147483647 w 1350"/>
                <a:gd name="T87" fmla="*/ 2147483647 h 1518"/>
                <a:gd name="T88" fmla="*/ 2147483647 w 1350"/>
                <a:gd name="T89" fmla="*/ 2147483647 h 1518"/>
                <a:gd name="T90" fmla="*/ 2147483647 w 1350"/>
                <a:gd name="T91" fmla="*/ 2147483647 h 1518"/>
                <a:gd name="T92" fmla="*/ 2147483647 w 1350"/>
                <a:gd name="T93" fmla="*/ 2147483647 h 1518"/>
                <a:gd name="T94" fmla="*/ 2147483647 w 1350"/>
                <a:gd name="T95" fmla="*/ 2147483647 h 1518"/>
                <a:gd name="T96" fmla="*/ 2147483647 w 1350"/>
                <a:gd name="T97" fmla="*/ 2147483647 h 1518"/>
                <a:gd name="T98" fmla="*/ 2147483647 w 1350"/>
                <a:gd name="T99" fmla="*/ 2147483647 h 1518"/>
                <a:gd name="T100" fmla="*/ 2147483647 w 1350"/>
                <a:gd name="T101" fmla="*/ 2147483647 h 1518"/>
                <a:gd name="T102" fmla="*/ 2147483647 w 1350"/>
                <a:gd name="T103" fmla="*/ 2147483647 h 1518"/>
                <a:gd name="T104" fmla="*/ 2147483647 w 1350"/>
                <a:gd name="T105" fmla="*/ 2147483647 h 1518"/>
                <a:gd name="T106" fmla="*/ 2147483647 w 1350"/>
                <a:gd name="T107" fmla="*/ 2147483647 h 1518"/>
                <a:gd name="T108" fmla="*/ 2147483647 w 1350"/>
                <a:gd name="T109" fmla="*/ 2147483647 h 1518"/>
                <a:gd name="T110" fmla="*/ 2147483647 w 1350"/>
                <a:gd name="T111" fmla="*/ 2147483647 h 1518"/>
                <a:gd name="T112" fmla="*/ 2147483647 w 1350"/>
                <a:gd name="T113" fmla="*/ 2147483647 h 1518"/>
                <a:gd name="T114" fmla="*/ 2147483647 w 1350"/>
                <a:gd name="T115" fmla="*/ 2147483647 h 1518"/>
                <a:gd name="T116" fmla="*/ 2147483647 w 1350"/>
                <a:gd name="T117" fmla="*/ 2147483647 h 1518"/>
                <a:gd name="T118" fmla="*/ 2147483647 w 1350"/>
                <a:gd name="T119" fmla="*/ 2147483647 h 1518"/>
                <a:gd name="T120" fmla="*/ 2147483647 w 1350"/>
                <a:gd name="T121" fmla="*/ 2147483647 h 1518"/>
                <a:gd name="T122" fmla="*/ 2147483647 w 1350"/>
                <a:gd name="T123" fmla="*/ 2147483647 h 1518"/>
                <a:gd name="T124" fmla="*/ 2147483647 w 1350"/>
                <a:gd name="T125" fmla="*/ 2147483647 h 151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50"/>
                <a:gd name="T190" fmla="*/ 0 h 1518"/>
                <a:gd name="T191" fmla="*/ 1350 w 1350"/>
                <a:gd name="T192" fmla="*/ 1518 h 151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50" h="1518">
                  <a:moveTo>
                    <a:pt x="1242" y="468"/>
                  </a:moveTo>
                  <a:lnTo>
                    <a:pt x="1242" y="438"/>
                  </a:lnTo>
                  <a:lnTo>
                    <a:pt x="1260" y="366"/>
                  </a:lnTo>
                  <a:lnTo>
                    <a:pt x="1278" y="354"/>
                  </a:lnTo>
                  <a:lnTo>
                    <a:pt x="1278" y="342"/>
                  </a:lnTo>
                  <a:lnTo>
                    <a:pt x="1302" y="330"/>
                  </a:lnTo>
                  <a:lnTo>
                    <a:pt x="1308" y="318"/>
                  </a:lnTo>
                  <a:lnTo>
                    <a:pt x="1320" y="312"/>
                  </a:lnTo>
                  <a:lnTo>
                    <a:pt x="1332" y="288"/>
                  </a:lnTo>
                  <a:lnTo>
                    <a:pt x="1344" y="276"/>
                  </a:lnTo>
                  <a:lnTo>
                    <a:pt x="1350" y="264"/>
                  </a:lnTo>
                  <a:lnTo>
                    <a:pt x="1350" y="252"/>
                  </a:lnTo>
                  <a:lnTo>
                    <a:pt x="1344" y="246"/>
                  </a:lnTo>
                  <a:lnTo>
                    <a:pt x="1332" y="240"/>
                  </a:lnTo>
                  <a:lnTo>
                    <a:pt x="1320" y="240"/>
                  </a:lnTo>
                  <a:lnTo>
                    <a:pt x="1314" y="234"/>
                  </a:lnTo>
                  <a:lnTo>
                    <a:pt x="1314" y="222"/>
                  </a:lnTo>
                  <a:lnTo>
                    <a:pt x="1320" y="210"/>
                  </a:lnTo>
                  <a:lnTo>
                    <a:pt x="1326" y="204"/>
                  </a:lnTo>
                  <a:lnTo>
                    <a:pt x="1326" y="198"/>
                  </a:lnTo>
                  <a:lnTo>
                    <a:pt x="1320" y="192"/>
                  </a:lnTo>
                  <a:lnTo>
                    <a:pt x="1308" y="186"/>
                  </a:lnTo>
                  <a:lnTo>
                    <a:pt x="1326" y="168"/>
                  </a:lnTo>
                  <a:lnTo>
                    <a:pt x="1320" y="144"/>
                  </a:lnTo>
                  <a:lnTo>
                    <a:pt x="1302" y="144"/>
                  </a:lnTo>
                  <a:lnTo>
                    <a:pt x="1296" y="120"/>
                  </a:lnTo>
                  <a:lnTo>
                    <a:pt x="1290" y="120"/>
                  </a:lnTo>
                  <a:lnTo>
                    <a:pt x="1284" y="114"/>
                  </a:lnTo>
                  <a:lnTo>
                    <a:pt x="1272" y="108"/>
                  </a:lnTo>
                  <a:lnTo>
                    <a:pt x="1260" y="96"/>
                  </a:lnTo>
                  <a:lnTo>
                    <a:pt x="1254" y="84"/>
                  </a:lnTo>
                  <a:lnTo>
                    <a:pt x="1248" y="66"/>
                  </a:lnTo>
                  <a:lnTo>
                    <a:pt x="1236" y="60"/>
                  </a:lnTo>
                  <a:lnTo>
                    <a:pt x="1230" y="54"/>
                  </a:lnTo>
                  <a:lnTo>
                    <a:pt x="1218" y="66"/>
                  </a:lnTo>
                  <a:lnTo>
                    <a:pt x="1218" y="72"/>
                  </a:lnTo>
                  <a:lnTo>
                    <a:pt x="1206" y="84"/>
                  </a:lnTo>
                  <a:lnTo>
                    <a:pt x="1200" y="84"/>
                  </a:lnTo>
                  <a:lnTo>
                    <a:pt x="1188" y="78"/>
                  </a:lnTo>
                  <a:lnTo>
                    <a:pt x="1188" y="72"/>
                  </a:lnTo>
                  <a:lnTo>
                    <a:pt x="1176" y="66"/>
                  </a:lnTo>
                  <a:lnTo>
                    <a:pt x="1164" y="66"/>
                  </a:lnTo>
                  <a:lnTo>
                    <a:pt x="1158" y="72"/>
                  </a:lnTo>
                  <a:lnTo>
                    <a:pt x="1152" y="84"/>
                  </a:lnTo>
                  <a:lnTo>
                    <a:pt x="1146" y="90"/>
                  </a:lnTo>
                  <a:lnTo>
                    <a:pt x="1098" y="66"/>
                  </a:lnTo>
                  <a:lnTo>
                    <a:pt x="1098" y="42"/>
                  </a:lnTo>
                  <a:lnTo>
                    <a:pt x="1068" y="18"/>
                  </a:lnTo>
                  <a:lnTo>
                    <a:pt x="1062" y="6"/>
                  </a:lnTo>
                  <a:lnTo>
                    <a:pt x="1044" y="24"/>
                  </a:lnTo>
                  <a:lnTo>
                    <a:pt x="1026" y="30"/>
                  </a:lnTo>
                  <a:lnTo>
                    <a:pt x="1002" y="30"/>
                  </a:lnTo>
                  <a:lnTo>
                    <a:pt x="990" y="18"/>
                  </a:lnTo>
                  <a:lnTo>
                    <a:pt x="990" y="12"/>
                  </a:lnTo>
                  <a:lnTo>
                    <a:pt x="954" y="18"/>
                  </a:lnTo>
                  <a:lnTo>
                    <a:pt x="942" y="6"/>
                  </a:lnTo>
                  <a:lnTo>
                    <a:pt x="942" y="0"/>
                  </a:lnTo>
                  <a:lnTo>
                    <a:pt x="936" y="0"/>
                  </a:lnTo>
                  <a:lnTo>
                    <a:pt x="918" y="18"/>
                  </a:lnTo>
                  <a:lnTo>
                    <a:pt x="918" y="30"/>
                  </a:lnTo>
                  <a:lnTo>
                    <a:pt x="906" y="30"/>
                  </a:lnTo>
                  <a:lnTo>
                    <a:pt x="900" y="36"/>
                  </a:lnTo>
                  <a:lnTo>
                    <a:pt x="876" y="36"/>
                  </a:lnTo>
                  <a:lnTo>
                    <a:pt x="864" y="24"/>
                  </a:lnTo>
                  <a:lnTo>
                    <a:pt x="840" y="42"/>
                  </a:lnTo>
                  <a:lnTo>
                    <a:pt x="822" y="42"/>
                  </a:lnTo>
                  <a:lnTo>
                    <a:pt x="810" y="54"/>
                  </a:lnTo>
                  <a:lnTo>
                    <a:pt x="798" y="60"/>
                  </a:lnTo>
                  <a:lnTo>
                    <a:pt x="792" y="66"/>
                  </a:lnTo>
                  <a:lnTo>
                    <a:pt x="786" y="66"/>
                  </a:lnTo>
                  <a:lnTo>
                    <a:pt x="762" y="42"/>
                  </a:lnTo>
                  <a:lnTo>
                    <a:pt x="756" y="54"/>
                  </a:lnTo>
                  <a:lnTo>
                    <a:pt x="738" y="72"/>
                  </a:lnTo>
                  <a:lnTo>
                    <a:pt x="738" y="84"/>
                  </a:lnTo>
                  <a:lnTo>
                    <a:pt x="732" y="90"/>
                  </a:lnTo>
                  <a:lnTo>
                    <a:pt x="726" y="102"/>
                  </a:lnTo>
                  <a:lnTo>
                    <a:pt x="720" y="108"/>
                  </a:lnTo>
                  <a:lnTo>
                    <a:pt x="708" y="102"/>
                  </a:lnTo>
                  <a:lnTo>
                    <a:pt x="702" y="96"/>
                  </a:lnTo>
                  <a:lnTo>
                    <a:pt x="690" y="90"/>
                  </a:lnTo>
                  <a:lnTo>
                    <a:pt x="642" y="90"/>
                  </a:lnTo>
                  <a:lnTo>
                    <a:pt x="630" y="84"/>
                  </a:lnTo>
                  <a:lnTo>
                    <a:pt x="624" y="78"/>
                  </a:lnTo>
                  <a:lnTo>
                    <a:pt x="582" y="78"/>
                  </a:lnTo>
                  <a:lnTo>
                    <a:pt x="582" y="48"/>
                  </a:lnTo>
                  <a:lnTo>
                    <a:pt x="576" y="42"/>
                  </a:lnTo>
                  <a:lnTo>
                    <a:pt x="558" y="42"/>
                  </a:lnTo>
                  <a:lnTo>
                    <a:pt x="558" y="30"/>
                  </a:lnTo>
                  <a:lnTo>
                    <a:pt x="546" y="24"/>
                  </a:lnTo>
                  <a:lnTo>
                    <a:pt x="534" y="24"/>
                  </a:lnTo>
                  <a:lnTo>
                    <a:pt x="516" y="18"/>
                  </a:lnTo>
                  <a:lnTo>
                    <a:pt x="504" y="18"/>
                  </a:lnTo>
                  <a:lnTo>
                    <a:pt x="492" y="24"/>
                  </a:lnTo>
                  <a:lnTo>
                    <a:pt x="486" y="30"/>
                  </a:lnTo>
                  <a:lnTo>
                    <a:pt x="486" y="36"/>
                  </a:lnTo>
                  <a:lnTo>
                    <a:pt x="480" y="48"/>
                  </a:lnTo>
                  <a:lnTo>
                    <a:pt x="480" y="54"/>
                  </a:lnTo>
                  <a:lnTo>
                    <a:pt x="474" y="66"/>
                  </a:lnTo>
                  <a:lnTo>
                    <a:pt x="462" y="78"/>
                  </a:lnTo>
                  <a:lnTo>
                    <a:pt x="456" y="78"/>
                  </a:lnTo>
                  <a:lnTo>
                    <a:pt x="444" y="90"/>
                  </a:lnTo>
                  <a:lnTo>
                    <a:pt x="444" y="102"/>
                  </a:lnTo>
                  <a:lnTo>
                    <a:pt x="450" y="102"/>
                  </a:lnTo>
                  <a:lnTo>
                    <a:pt x="450" y="120"/>
                  </a:lnTo>
                  <a:lnTo>
                    <a:pt x="438" y="138"/>
                  </a:lnTo>
                  <a:lnTo>
                    <a:pt x="450" y="150"/>
                  </a:lnTo>
                  <a:lnTo>
                    <a:pt x="450" y="186"/>
                  </a:lnTo>
                  <a:lnTo>
                    <a:pt x="444" y="198"/>
                  </a:lnTo>
                  <a:lnTo>
                    <a:pt x="438" y="216"/>
                  </a:lnTo>
                  <a:lnTo>
                    <a:pt x="426" y="228"/>
                  </a:lnTo>
                  <a:lnTo>
                    <a:pt x="414" y="252"/>
                  </a:lnTo>
                  <a:lnTo>
                    <a:pt x="408" y="258"/>
                  </a:lnTo>
                  <a:lnTo>
                    <a:pt x="408" y="288"/>
                  </a:lnTo>
                  <a:lnTo>
                    <a:pt x="414" y="300"/>
                  </a:lnTo>
                  <a:lnTo>
                    <a:pt x="414" y="324"/>
                  </a:lnTo>
                  <a:lnTo>
                    <a:pt x="396" y="360"/>
                  </a:lnTo>
                  <a:lnTo>
                    <a:pt x="396" y="372"/>
                  </a:lnTo>
                  <a:lnTo>
                    <a:pt x="402" y="378"/>
                  </a:lnTo>
                  <a:lnTo>
                    <a:pt x="408" y="390"/>
                  </a:lnTo>
                  <a:lnTo>
                    <a:pt x="408" y="414"/>
                  </a:lnTo>
                  <a:lnTo>
                    <a:pt x="402" y="426"/>
                  </a:lnTo>
                  <a:lnTo>
                    <a:pt x="390" y="432"/>
                  </a:lnTo>
                  <a:lnTo>
                    <a:pt x="390" y="486"/>
                  </a:lnTo>
                  <a:lnTo>
                    <a:pt x="384" y="492"/>
                  </a:lnTo>
                  <a:lnTo>
                    <a:pt x="372" y="498"/>
                  </a:lnTo>
                  <a:lnTo>
                    <a:pt x="366" y="510"/>
                  </a:lnTo>
                  <a:lnTo>
                    <a:pt x="318" y="534"/>
                  </a:lnTo>
                  <a:lnTo>
                    <a:pt x="312" y="540"/>
                  </a:lnTo>
                  <a:lnTo>
                    <a:pt x="306" y="552"/>
                  </a:lnTo>
                  <a:lnTo>
                    <a:pt x="306" y="588"/>
                  </a:lnTo>
                  <a:lnTo>
                    <a:pt x="282" y="612"/>
                  </a:lnTo>
                  <a:lnTo>
                    <a:pt x="276" y="612"/>
                  </a:lnTo>
                  <a:lnTo>
                    <a:pt x="282" y="714"/>
                  </a:lnTo>
                  <a:lnTo>
                    <a:pt x="252" y="756"/>
                  </a:lnTo>
                  <a:lnTo>
                    <a:pt x="246" y="762"/>
                  </a:lnTo>
                  <a:lnTo>
                    <a:pt x="228" y="762"/>
                  </a:lnTo>
                  <a:lnTo>
                    <a:pt x="216" y="774"/>
                  </a:lnTo>
                  <a:lnTo>
                    <a:pt x="210" y="786"/>
                  </a:lnTo>
                  <a:lnTo>
                    <a:pt x="192" y="804"/>
                  </a:lnTo>
                  <a:lnTo>
                    <a:pt x="186" y="816"/>
                  </a:lnTo>
                  <a:lnTo>
                    <a:pt x="180" y="822"/>
                  </a:lnTo>
                  <a:lnTo>
                    <a:pt x="168" y="828"/>
                  </a:lnTo>
                  <a:lnTo>
                    <a:pt x="150" y="828"/>
                  </a:lnTo>
                  <a:lnTo>
                    <a:pt x="144" y="822"/>
                  </a:lnTo>
                  <a:lnTo>
                    <a:pt x="150" y="810"/>
                  </a:lnTo>
                  <a:lnTo>
                    <a:pt x="150" y="780"/>
                  </a:lnTo>
                  <a:lnTo>
                    <a:pt x="144" y="780"/>
                  </a:lnTo>
                  <a:lnTo>
                    <a:pt x="126" y="798"/>
                  </a:lnTo>
                  <a:lnTo>
                    <a:pt x="102" y="792"/>
                  </a:lnTo>
                  <a:lnTo>
                    <a:pt x="102" y="810"/>
                  </a:lnTo>
                  <a:lnTo>
                    <a:pt x="96" y="822"/>
                  </a:lnTo>
                  <a:lnTo>
                    <a:pt x="90" y="828"/>
                  </a:lnTo>
                  <a:lnTo>
                    <a:pt x="78" y="828"/>
                  </a:lnTo>
                  <a:lnTo>
                    <a:pt x="72" y="822"/>
                  </a:lnTo>
                  <a:lnTo>
                    <a:pt x="72" y="816"/>
                  </a:lnTo>
                  <a:lnTo>
                    <a:pt x="66" y="810"/>
                  </a:lnTo>
                  <a:lnTo>
                    <a:pt x="66" y="804"/>
                  </a:lnTo>
                  <a:lnTo>
                    <a:pt x="54" y="804"/>
                  </a:lnTo>
                  <a:lnTo>
                    <a:pt x="48" y="816"/>
                  </a:lnTo>
                  <a:lnTo>
                    <a:pt x="12" y="846"/>
                  </a:lnTo>
                  <a:lnTo>
                    <a:pt x="18" y="858"/>
                  </a:lnTo>
                  <a:lnTo>
                    <a:pt x="18" y="864"/>
                  </a:lnTo>
                  <a:lnTo>
                    <a:pt x="24" y="876"/>
                  </a:lnTo>
                  <a:lnTo>
                    <a:pt x="24" y="882"/>
                  </a:lnTo>
                  <a:lnTo>
                    <a:pt x="18" y="888"/>
                  </a:lnTo>
                  <a:lnTo>
                    <a:pt x="6" y="894"/>
                  </a:lnTo>
                  <a:lnTo>
                    <a:pt x="0" y="900"/>
                  </a:lnTo>
                  <a:lnTo>
                    <a:pt x="6" y="906"/>
                  </a:lnTo>
                  <a:lnTo>
                    <a:pt x="6" y="912"/>
                  </a:lnTo>
                  <a:lnTo>
                    <a:pt x="18" y="918"/>
                  </a:lnTo>
                  <a:lnTo>
                    <a:pt x="18" y="924"/>
                  </a:lnTo>
                  <a:lnTo>
                    <a:pt x="54" y="906"/>
                  </a:lnTo>
                  <a:lnTo>
                    <a:pt x="78" y="912"/>
                  </a:lnTo>
                  <a:lnTo>
                    <a:pt x="84" y="906"/>
                  </a:lnTo>
                  <a:lnTo>
                    <a:pt x="96" y="912"/>
                  </a:lnTo>
                  <a:lnTo>
                    <a:pt x="120" y="906"/>
                  </a:lnTo>
                  <a:lnTo>
                    <a:pt x="132" y="912"/>
                  </a:lnTo>
                  <a:lnTo>
                    <a:pt x="162" y="912"/>
                  </a:lnTo>
                  <a:lnTo>
                    <a:pt x="174" y="906"/>
                  </a:lnTo>
                  <a:lnTo>
                    <a:pt x="186" y="906"/>
                  </a:lnTo>
                  <a:lnTo>
                    <a:pt x="198" y="912"/>
                  </a:lnTo>
                  <a:lnTo>
                    <a:pt x="228" y="912"/>
                  </a:lnTo>
                  <a:lnTo>
                    <a:pt x="246" y="906"/>
                  </a:lnTo>
                  <a:lnTo>
                    <a:pt x="270" y="906"/>
                  </a:lnTo>
                  <a:lnTo>
                    <a:pt x="276" y="900"/>
                  </a:lnTo>
                  <a:lnTo>
                    <a:pt x="294" y="900"/>
                  </a:lnTo>
                  <a:lnTo>
                    <a:pt x="300" y="906"/>
                  </a:lnTo>
                  <a:lnTo>
                    <a:pt x="306" y="918"/>
                  </a:lnTo>
                  <a:lnTo>
                    <a:pt x="318" y="930"/>
                  </a:lnTo>
                  <a:lnTo>
                    <a:pt x="318" y="972"/>
                  </a:lnTo>
                  <a:lnTo>
                    <a:pt x="336" y="990"/>
                  </a:lnTo>
                  <a:lnTo>
                    <a:pt x="336" y="1014"/>
                  </a:lnTo>
                  <a:lnTo>
                    <a:pt x="330" y="1020"/>
                  </a:lnTo>
                  <a:lnTo>
                    <a:pt x="330" y="1026"/>
                  </a:lnTo>
                  <a:lnTo>
                    <a:pt x="336" y="1032"/>
                  </a:lnTo>
                  <a:lnTo>
                    <a:pt x="342" y="1032"/>
                  </a:lnTo>
                  <a:lnTo>
                    <a:pt x="354" y="1044"/>
                  </a:lnTo>
                  <a:lnTo>
                    <a:pt x="354" y="1056"/>
                  </a:lnTo>
                  <a:lnTo>
                    <a:pt x="360" y="1062"/>
                  </a:lnTo>
                  <a:lnTo>
                    <a:pt x="372" y="1086"/>
                  </a:lnTo>
                  <a:lnTo>
                    <a:pt x="402" y="1086"/>
                  </a:lnTo>
                  <a:lnTo>
                    <a:pt x="414" y="1092"/>
                  </a:lnTo>
                  <a:lnTo>
                    <a:pt x="420" y="1080"/>
                  </a:lnTo>
                  <a:lnTo>
                    <a:pt x="444" y="1080"/>
                  </a:lnTo>
                  <a:lnTo>
                    <a:pt x="456" y="1074"/>
                  </a:lnTo>
                  <a:lnTo>
                    <a:pt x="462" y="1080"/>
                  </a:lnTo>
                  <a:lnTo>
                    <a:pt x="504" y="1074"/>
                  </a:lnTo>
                  <a:lnTo>
                    <a:pt x="504" y="1056"/>
                  </a:lnTo>
                  <a:lnTo>
                    <a:pt x="510" y="1050"/>
                  </a:lnTo>
                  <a:lnTo>
                    <a:pt x="510" y="1044"/>
                  </a:lnTo>
                  <a:lnTo>
                    <a:pt x="522" y="1044"/>
                  </a:lnTo>
                  <a:lnTo>
                    <a:pt x="522" y="1032"/>
                  </a:lnTo>
                  <a:lnTo>
                    <a:pt x="516" y="1020"/>
                  </a:lnTo>
                  <a:lnTo>
                    <a:pt x="510" y="1014"/>
                  </a:lnTo>
                  <a:lnTo>
                    <a:pt x="510" y="1008"/>
                  </a:lnTo>
                  <a:lnTo>
                    <a:pt x="516" y="1002"/>
                  </a:lnTo>
                  <a:lnTo>
                    <a:pt x="564" y="1002"/>
                  </a:lnTo>
                  <a:lnTo>
                    <a:pt x="564" y="996"/>
                  </a:lnTo>
                  <a:lnTo>
                    <a:pt x="576" y="996"/>
                  </a:lnTo>
                  <a:lnTo>
                    <a:pt x="588" y="1002"/>
                  </a:lnTo>
                  <a:lnTo>
                    <a:pt x="588" y="1026"/>
                  </a:lnTo>
                  <a:lnTo>
                    <a:pt x="678" y="1026"/>
                  </a:lnTo>
                  <a:lnTo>
                    <a:pt x="678" y="1050"/>
                  </a:lnTo>
                  <a:lnTo>
                    <a:pt x="666" y="1068"/>
                  </a:lnTo>
                  <a:lnTo>
                    <a:pt x="672" y="1086"/>
                  </a:lnTo>
                  <a:lnTo>
                    <a:pt x="684" y="1098"/>
                  </a:lnTo>
                  <a:lnTo>
                    <a:pt x="690" y="1110"/>
                  </a:lnTo>
                  <a:lnTo>
                    <a:pt x="690" y="1122"/>
                  </a:lnTo>
                  <a:lnTo>
                    <a:pt x="684" y="1134"/>
                  </a:lnTo>
                  <a:lnTo>
                    <a:pt x="678" y="1140"/>
                  </a:lnTo>
                  <a:lnTo>
                    <a:pt x="684" y="1164"/>
                  </a:lnTo>
                  <a:lnTo>
                    <a:pt x="684" y="1176"/>
                  </a:lnTo>
                  <a:lnTo>
                    <a:pt x="678" y="1182"/>
                  </a:lnTo>
                  <a:lnTo>
                    <a:pt x="678" y="1194"/>
                  </a:lnTo>
                  <a:lnTo>
                    <a:pt x="684" y="1212"/>
                  </a:lnTo>
                  <a:lnTo>
                    <a:pt x="696" y="1230"/>
                  </a:lnTo>
                  <a:lnTo>
                    <a:pt x="708" y="1254"/>
                  </a:lnTo>
                  <a:lnTo>
                    <a:pt x="714" y="1260"/>
                  </a:lnTo>
                  <a:lnTo>
                    <a:pt x="714" y="1278"/>
                  </a:lnTo>
                  <a:lnTo>
                    <a:pt x="708" y="1290"/>
                  </a:lnTo>
                  <a:lnTo>
                    <a:pt x="708" y="1302"/>
                  </a:lnTo>
                  <a:lnTo>
                    <a:pt x="702" y="1308"/>
                  </a:lnTo>
                  <a:lnTo>
                    <a:pt x="702" y="1332"/>
                  </a:lnTo>
                  <a:lnTo>
                    <a:pt x="708" y="1338"/>
                  </a:lnTo>
                  <a:lnTo>
                    <a:pt x="714" y="1338"/>
                  </a:lnTo>
                  <a:lnTo>
                    <a:pt x="720" y="1344"/>
                  </a:lnTo>
                  <a:lnTo>
                    <a:pt x="726" y="1326"/>
                  </a:lnTo>
                  <a:lnTo>
                    <a:pt x="756" y="1332"/>
                  </a:lnTo>
                  <a:lnTo>
                    <a:pt x="780" y="1326"/>
                  </a:lnTo>
                  <a:lnTo>
                    <a:pt x="780" y="1314"/>
                  </a:lnTo>
                  <a:lnTo>
                    <a:pt x="792" y="1314"/>
                  </a:lnTo>
                  <a:lnTo>
                    <a:pt x="804" y="1326"/>
                  </a:lnTo>
                  <a:lnTo>
                    <a:pt x="828" y="1326"/>
                  </a:lnTo>
                  <a:lnTo>
                    <a:pt x="834" y="1308"/>
                  </a:lnTo>
                  <a:lnTo>
                    <a:pt x="840" y="1320"/>
                  </a:lnTo>
                  <a:lnTo>
                    <a:pt x="858" y="1320"/>
                  </a:lnTo>
                  <a:lnTo>
                    <a:pt x="858" y="1350"/>
                  </a:lnTo>
                  <a:lnTo>
                    <a:pt x="864" y="1356"/>
                  </a:lnTo>
                  <a:lnTo>
                    <a:pt x="882" y="1356"/>
                  </a:lnTo>
                  <a:lnTo>
                    <a:pt x="882" y="1350"/>
                  </a:lnTo>
                  <a:lnTo>
                    <a:pt x="876" y="1344"/>
                  </a:lnTo>
                  <a:lnTo>
                    <a:pt x="918" y="1338"/>
                  </a:lnTo>
                  <a:lnTo>
                    <a:pt x="918" y="1356"/>
                  </a:lnTo>
                  <a:lnTo>
                    <a:pt x="924" y="1368"/>
                  </a:lnTo>
                  <a:lnTo>
                    <a:pt x="930" y="1374"/>
                  </a:lnTo>
                  <a:lnTo>
                    <a:pt x="948" y="1386"/>
                  </a:lnTo>
                  <a:lnTo>
                    <a:pt x="984" y="1392"/>
                  </a:lnTo>
                  <a:lnTo>
                    <a:pt x="1014" y="1398"/>
                  </a:lnTo>
                  <a:lnTo>
                    <a:pt x="1032" y="1398"/>
                  </a:lnTo>
                  <a:lnTo>
                    <a:pt x="1032" y="1392"/>
                  </a:lnTo>
                  <a:lnTo>
                    <a:pt x="1038" y="1386"/>
                  </a:lnTo>
                  <a:lnTo>
                    <a:pt x="1038" y="1368"/>
                  </a:lnTo>
                  <a:lnTo>
                    <a:pt x="1044" y="1362"/>
                  </a:lnTo>
                  <a:lnTo>
                    <a:pt x="1050" y="1362"/>
                  </a:lnTo>
                  <a:lnTo>
                    <a:pt x="1062" y="1374"/>
                  </a:lnTo>
                  <a:lnTo>
                    <a:pt x="1062" y="1386"/>
                  </a:lnTo>
                  <a:lnTo>
                    <a:pt x="1068" y="1392"/>
                  </a:lnTo>
                  <a:lnTo>
                    <a:pt x="1080" y="1392"/>
                  </a:lnTo>
                  <a:lnTo>
                    <a:pt x="1080" y="1404"/>
                  </a:lnTo>
                  <a:lnTo>
                    <a:pt x="1074" y="1404"/>
                  </a:lnTo>
                  <a:lnTo>
                    <a:pt x="1074" y="1416"/>
                  </a:lnTo>
                  <a:lnTo>
                    <a:pt x="1104" y="1416"/>
                  </a:lnTo>
                  <a:lnTo>
                    <a:pt x="1110" y="1422"/>
                  </a:lnTo>
                  <a:lnTo>
                    <a:pt x="1110" y="1434"/>
                  </a:lnTo>
                  <a:lnTo>
                    <a:pt x="1122" y="1434"/>
                  </a:lnTo>
                  <a:lnTo>
                    <a:pt x="1128" y="1428"/>
                  </a:lnTo>
                  <a:lnTo>
                    <a:pt x="1134" y="1428"/>
                  </a:lnTo>
                  <a:lnTo>
                    <a:pt x="1140" y="1434"/>
                  </a:lnTo>
                  <a:lnTo>
                    <a:pt x="1146" y="1446"/>
                  </a:lnTo>
                  <a:lnTo>
                    <a:pt x="1146" y="1452"/>
                  </a:lnTo>
                  <a:lnTo>
                    <a:pt x="1152" y="1464"/>
                  </a:lnTo>
                  <a:lnTo>
                    <a:pt x="1164" y="1464"/>
                  </a:lnTo>
                  <a:lnTo>
                    <a:pt x="1176" y="1476"/>
                  </a:lnTo>
                  <a:lnTo>
                    <a:pt x="1176" y="1488"/>
                  </a:lnTo>
                  <a:lnTo>
                    <a:pt x="1182" y="1500"/>
                  </a:lnTo>
                  <a:lnTo>
                    <a:pt x="1182" y="1512"/>
                  </a:lnTo>
                  <a:lnTo>
                    <a:pt x="1200" y="1512"/>
                  </a:lnTo>
                  <a:lnTo>
                    <a:pt x="1218" y="1500"/>
                  </a:lnTo>
                  <a:lnTo>
                    <a:pt x="1224" y="1512"/>
                  </a:lnTo>
                  <a:lnTo>
                    <a:pt x="1224" y="1518"/>
                  </a:lnTo>
                  <a:lnTo>
                    <a:pt x="1230" y="1518"/>
                  </a:lnTo>
                  <a:lnTo>
                    <a:pt x="1236" y="1500"/>
                  </a:lnTo>
                  <a:lnTo>
                    <a:pt x="1242" y="1464"/>
                  </a:lnTo>
                  <a:lnTo>
                    <a:pt x="1242" y="1416"/>
                  </a:lnTo>
                  <a:lnTo>
                    <a:pt x="1218" y="1416"/>
                  </a:lnTo>
                  <a:lnTo>
                    <a:pt x="1218" y="1434"/>
                  </a:lnTo>
                  <a:lnTo>
                    <a:pt x="1212" y="1440"/>
                  </a:lnTo>
                  <a:lnTo>
                    <a:pt x="1206" y="1440"/>
                  </a:lnTo>
                  <a:lnTo>
                    <a:pt x="1194" y="1434"/>
                  </a:lnTo>
                  <a:lnTo>
                    <a:pt x="1164" y="1404"/>
                  </a:lnTo>
                  <a:lnTo>
                    <a:pt x="1158" y="1404"/>
                  </a:lnTo>
                  <a:lnTo>
                    <a:pt x="1158" y="1398"/>
                  </a:lnTo>
                  <a:lnTo>
                    <a:pt x="1152" y="1398"/>
                  </a:lnTo>
                  <a:lnTo>
                    <a:pt x="1140" y="1386"/>
                  </a:lnTo>
                  <a:lnTo>
                    <a:pt x="1140" y="1362"/>
                  </a:lnTo>
                  <a:lnTo>
                    <a:pt x="1146" y="1350"/>
                  </a:lnTo>
                  <a:lnTo>
                    <a:pt x="1152" y="1332"/>
                  </a:lnTo>
                  <a:lnTo>
                    <a:pt x="1158" y="1320"/>
                  </a:lnTo>
                  <a:lnTo>
                    <a:pt x="1170" y="1308"/>
                  </a:lnTo>
                  <a:lnTo>
                    <a:pt x="1170" y="1254"/>
                  </a:lnTo>
                  <a:lnTo>
                    <a:pt x="1164" y="1236"/>
                  </a:lnTo>
                  <a:lnTo>
                    <a:pt x="1164" y="1212"/>
                  </a:lnTo>
                  <a:lnTo>
                    <a:pt x="1158" y="1206"/>
                  </a:lnTo>
                  <a:lnTo>
                    <a:pt x="1158" y="1200"/>
                  </a:lnTo>
                  <a:lnTo>
                    <a:pt x="1152" y="1194"/>
                  </a:lnTo>
                  <a:lnTo>
                    <a:pt x="1152" y="1188"/>
                  </a:lnTo>
                  <a:lnTo>
                    <a:pt x="1140" y="1176"/>
                  </a:lnTo>
                  <a:lnTo>
                    <a:pt x="1146" y="1176"/>
                  </a:lnTo>
                  <a:lnTo>
                    <a:pt x="1152" y="1170"/>
                  </a:lnTo>
                  <a:lnTo>
                    <a:pt x="1164" y="1164"/>
                  </a:lnTo>
                  <a:lnTo>
                    <a:pt x="1182" y="1146"/>
                  </a:lnTo>
                  <a:lnTo>
                    <a:pt x="1182" y="1116"/>
                  </a:lnTo>
                  <a:lnTo>
                    <a:pt x="1194" y="1116"/>
                  </a:lnTo>
                  <a:lnTo>
                    <a:pt x="1212" y="1110"/>
                  </a:lnTo>
                  <a:lnTo>
                    <a:pt x="1230" y="1110"/>
                  </a:lnTo>
                  <a:lnTo>
                    <a:pt x="1242" y="1104"/>
                  </a:lnTo>
                  <a:lnTo>
                    <a:pt x="1260" y="1104"/>
                  </a:lnTo>
                  <a:lnTo>
                    <a:pt x="1284" y="1092"/>
                  </a:lnTo>
                  <a:lnTo>
                    <a:pt x="1290" y="1092"/>
                  </a:lnTo>
                  <a:lnTo>
                    <a:pt x="1290" y="1086"/>
                  </a:lnTo>
                  <a:lnTo>
                    <a:pt x="1284" y="1074"/>
                  </a:lnTo>
                  <a:lnTo>
                    <a:pt x="1272" y="1062"/>
                  </a:lnTo>
                  <a:lnTo>
                    <a:pt x="1272" y="1014"/>
                  </a:lnTo>
                  <a:lnTo>
                    <a:pt x="1248" y="1014"/>
                  </a:lnTo>
                  <a:lnTo>
                    <a:pt x="1248" y="1008"/>
                  </a:lnTo>
                  <a:lnTo>
                    <a:pt x="1242" y="996"/>
                  </a:lnTo>
                  <a:lnTo>
                    <a:pt x="1242" y="978"/>
                  </a:lnTo>
                  <a:lnTo>
                    <a:pt x="1236" y="972"/>
                  </a:lnTo>
                  <a:lnTo>
                    <a:pt x="1224" y="966"/>
                  </a:lnTo>
                  <a:lnTo>
                    <a:pt x="1218" y="960"/>
                  </a:lnTo>
                  <a:lnTo>
                    <a:pt x="1206" y="936"/>
                  </a:lnTo>
                  <a:lnTo>
                    <a:pt x="1206" y="906"/>
                  </a:lnTo>
                  <a:lnTo>
                    <a:pt x="1212" y="900"/>
                  </a:lnTo>
                  <a:lnTo>
                    <a:pt x="1212" y="876"/>
                  </a:lnTo>
                  <a:lnTo>
                    <a:pt x="1200" y="864"/>
                  </a:lnTo>
                  <a:lnTo>
                    <a:pt x="1194" y="852"/>
                  </a:lnTo>
                  <a:lnTo>
                    <a:pt x="1194" y="804"/>
                  </a:lnTo>
                  <a:lnTo>
                    <a:pt x="1200" y="780"/>
                  </a:lnTo>
                  <a:lnTo>
                    <a:pt x="1200" y="750"/>
                  </a:lnTo>
                  <a:lnTo>
                    <a:pt x="1212" y="738"/>
                  </a:lnTo>
                  <a:lnTo>
                    <a:pt x="1218" y="744"/>
                  </a:lnTo>
                  <a:lnTo>
                    <a:pt x="1218" y="732"/>
                  </a:lnTo>
                  <a:lnTo>
                    <a:pt x="1224" y="726"/>
                  </a:lnTo>
                  <a:lnTo>
                    <a:pt x="1224" y="696"/>
                  </a:lnTo>
                  <a:lnTo>
                    <a:pt x="1218" y="690"/>
                  </a:lnTo>
                  <a:lnTo>
                    <a:pt x="1206" y="684"/>
                  </a:lnTo>
                  <a:lnTo>
                    <a:pt x="1200" y="678"/>
                  </a:lnTo>
                  <a:lnTo>
                    <a:pt x="1188" y="648"/>
                  </a:lnTo>
                  <a:lnTo>
                    <a:pt x="1182" y="642"/>
                  </a:lnTo>
                  <a:lnTo>
                    <a:pt x="1176" y="642"/>
                  </a:lnTo>
                  <a:lnTo>
                    <a:pt x="1176" y="636"/>
                  </a:lnTo>
                  <a:lnTo>
                    <a:pt x="1182" y="624"/>
                  </a:lnTo>
                  <a:lnTo>
                    <a:pt x="1194" y="618"/>
                  </a:lnTo>
                  <a:lnTo>
                    <a:pt x="1206" y="606"/>
                  </a:lnTo>
                  <a:lnTo>
                    <a:pt x="1206" y="594"/>
                  </a:lnTo>
                  <a:lnTo>
                    <a:pt x="1200" y="588"/>
                  </a:lnTo>
                  <a:lnTo>
                    <a:pt x="1194" y="576"/>
                  </a:lnTo>
                  <a:lnTo>
                    <a:pt x="1194" y="570"/>
                  </a:lnTo>
                  <a:lnTo>
                    <a:pt x="1200" y="564"/>
                  </a:lnTo>
                  <a:lnTo>
                    <a:pt x="1224" y="552"/>
                  </a:lnTo>
                  <a:lnTo>
                    <a:pt x="1230" y="546"/>
                  </a:lnTo>
                  <a:lnTo>
                    <a:pt x="1236" y="546"/>
                  </a:lnTo>
                  <a:lnTo>
                    <a:pt x="1242" y="468"/>
                  </a:lnTo>
                  <a:close/>
                </a:path>
              </a:pathLst>
            </a:custGeom>
            <a:solidFill>
              <a:srgbClr val="692864"/>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81" name="Congo (Brazzaville)" descr="© INSCALE GmbH, 05.05.2010&#10;http://www.presentationload.com/"/>
            <p:cNvSpPr>
              <a:spLocks/>
            </p:cNvSpPr>
            <p:nvPr/>
          </p:nvSpPr>
          <p:spPr bwMode="gray">
            <a:xfrm>
              <a:off x="4530728" y="3957637"/>
              <a:ext cx="215900" cy="280988"/>
            </a:xfrm>
            <a:custGeom>
              <a:avLst/>
              <a:gdLst>
                <a:gd name="T0" fmla="*/ 2147483647 w 534"/>
                <a:gd name="T1" fmla="*/ 2147483647 h 702"/>
                <a:gd name="T2" fmla="*/ 2147483647 w 534"/>
                <a:gd name="T3" fmla="*/ 2147483647 h 702"/>
                <a:gd name="T4" fmla="*/ 2147483647 w 534"/>
                <a:gd name="T5" fmla="*/ 2147483647 h 702"/>
                <a:gd name="T6" fmla="*/ 2147483647 w 534"/>
                <a:gd name="T7" fmla="*/ 2147483647 h 702"/>
                <a:gd name="T8" fmla="*/ 2147483647 w 534"/>
                <a:gd name="T9" fmla="*/ 2147483647 h 702"/>
                <a:gd name="T10" fmla="*/ 2147483647 w 534"/>
                <a:gd name="T11" fmla="*/ 2147483647 h 702"/>
                <a:gd name="T12" fmla="*/ 2147483647 w 534"/>
                <a:gd name="T13" fmla="*/ 2147483647 h 702"/>
                <a:gd name="T14" fmla="*/ 2147483647 w 534"/>
                <a:gd name="T15" fmla="*/ 2147483647 h 702"/>
                <a:gd name="T16" fmla="*/ 2147483647 w 534"/>
                <a:gd name="T17" fmla="*/ 2147483647 h 702"/>
                <a:gd name="T18" fmla="*/ 2147483647 w 534"/>
                <a:gd name="T19" fmla="*/ 2147483647 h 702"/>
                <a:gd name="T20" fmla="*/ 2147483647 w 534"/>
                <a:gd name="T21" fmla="*/ 2147483647 h 702"/>
                <a:gd name="T22" fmla="*/ 2147483647 w 534"/>
                <a:gd name="T23" fmla="*/ 2147483647 h 702"/>
                <a:gd name="T24" fmla="*/ 2147483647 w 534"/>
                <a:gd name="T25" fmla="*/ 2147483647 h 702"/>
                <a:gd name="T26" fmla="*/ 2147483647 w 534"/>
                <a:gd name="T27" fmla="*/ 2147483647 h 702"/>
                <a:gd name="T28" fmla="*/ 2147483647 w 534"/>
                <a:gd name="T29" fmla="*/ 2147483647 h 702"/>
                <a:gd name="T30" fmla="*/ 2147483647 w 534"/>
                <a:gd name="T31" fmla="*/ 2147483647 h 702"/>
                <a:gd name="T32" fmla="*/ 2147483647 w 534"/>
                <a:gd name="T33" fmla="*/ 2147483647 h 702"/>
                <a:gd name="T34" fmla="*/ 2147483647 w 534"/>
                <a:gd name="T35" fmla="*/ 2147483647 h 702"/>
                <a:gd name="T36" fmla="*/ 2147483647 w 534"/>
                <a:gd name="T37" fmla="*/ 2147483647 h 702"/>
                <a:gd name="T38" fmla="*/ 2147483647 w 534"/>
                <a:gd name="T39" fmla="*/ 2147483647 h 702"/>
                <a:gd name="T40" fmla="*/ 2147483647 w 534"/>
                <a:gd name="T41" fmla="*/ 2147483647 h 702"/>
                <a:gd name="T42" fmla="*/ 2147483647 w 534"/>
                <a:gd name="T43" fmla="*/ 2147483647 h 702"/>
                <a:gd name="T44" fmla="*/ 2147483647 w 534"/>
                <a:gd name="T45" fmla="*/ 2147483647 h 702"/>
                <a:gd name="T46" fmla="*/ 2147483647 w 534"/>
                <a:gd name="T47" fmla="*/ 2147483647 h 702"/>
                <a:gd name="T48" fmla="*/ 2147483647 w 534"/>
                <a:gd name="T49" fmla="*/ 2147483647 h 702"/>
                <a:gd name="T50" fmla="*/ 0 w 534"/>
                <a:gd name="T51" fmla="*/ 2147483647 h 702"/>
                <a:gd name="T52" fmla="*/ 2147483647 w 534"/>
                <a:gd name="T53" fmla="*/ 2147483647 h 702"/>
                <a:gd name="T54" fmla="*/ 2147483647 w 534"/>
                <a:gd name="T55" fmla="*/ 2147483647 h 702"/>
                <a:gd name="T56" fmla="*/ 2147483647 w 534"/>
                <a:gd name="T57" fmla="*/ 2147483647 h 702"/>
                <a:gd name="T58" fmla="*/ 2147483647 w 534"/>
                <a:gd name="T59" fmla="*/ 2147483647 h 702"/>
                <a:gd name="T60" fmla="*/ 2147483647 w 534"/>
                <a:gd name="T61" fmla="*/ 2147483647 h 702"/>
                <a:gd name="T62" fmla="*/ 2147483647 w 534"/>
                <a:gd name="T63" fmla="*/ 2147483647 h 702"/>
                <a:gd name="T64" fmla="*/ 2147483647 w 534"/>
                <a:gd name="T65" fmla="*/ 2147483647 h 702"/>
                <a:gd name="T66" fmla="*/ 2147483647 w 534"/>
                <a:gd name="T67" fmla="*/ 2147483647 h 702"/>
                <a:gd name="T68" fmla="*/ 2147483647 w 534"/>
                <a:gd name="T69" fmla="*/ 2147483647 h 702"/>
                <a:gd name="T70" fmla="*/ 2147483647 w 534"/>
                <a:gd name="T71" fmla="*/ 2147483647 h 702"/>
                <a:gd name="T72" fmla="*/ 2147483647 w 534"/>
                <a:gd name="T73" fmla="*/ 2147483647 h 702"/>
                <a:gd name="T74" fmla="*/ 2147483647 w 534"/>
                <a:gd name="T75" fmla="*/ 2147483647 h 702"/>
                <a:gd name="T76" fmla="*/ 2147483647 w 534"/>
                <a:gd name="T77" fmla="*/ 2147483647 h 702"/>
                <a:gd name="T78" fmla="*/ 2147483647 w 534"/>
                <a:gd name="T79" fmla="*/ 2147483647 h 702"/>
                <a:gd name="T80" fmla="*/ 2147483647 w 534"/>
                <a:gd name="T81" fmla="*/ 2147483647 h 702"/>
                <a:gd name="T82" fmla="*/ 2147483647 w 534"/>
                <a:gd name="T83" fmla="*/ 2147483647 h 702"/>
                <a:gd name="T84" fmla="*/ 2147483647 w 534"/>
                <a:gd name="T85" fmla="*/ 2147483647 h 702"/>
                <a:gd name="T86" fmla="*/ 2147483647 w 534"/>
                <a:gd name="T87" fmla="*/ 2147483647 h 702"/>
                <a:gd name="T88" fmla="*/ 2147483647 w 534"/>
                <a:gd name="T89" fmla="*/ 2147483647 h 702"/>
                <a:gd name="T90" fmla="*/ 2147483647 w 534"/>
                <a:gd name="T91" fmla="*/ 2147483647 h 702"/>
                <a:gd name="T92" fmla="*/ 2147483647 w 534"/>
                <a:gd name="T93" fmla="*/ 2147483647 h 702"/>
                <a:gd name="T94" fmla="*/ 2147483647 w 534"/>
                <a:gd name="T95" fmla="*/ 2147483647 h 702"/>
                <a:gd name="T96" fmla="*/ 2147483647 w 534"/>
                <a:gd name="T97" fmla="*/ 2147483647 h 702"/>
                <a:gd name="T98" fmla="*/ 2147483647 w 534"/>
                <a:gd name="T99" fmla="*/ 2147483647 h 702"/>
                <a:gd name="T100" fmla="*/ 2147483647 w 534"/>
                <a:gd name="T101" fmla="*/ 2147483647 h 702"/>
                <a:gd name="T102" fmla="*/ 2147483647 w 534"/>
                <a:gd name="T103" fmla="*/ 2147483647 h 70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34"/>
                <a:gd name="T157" fmla="*/ 0 h 702"/>
                <a:gd name="T158" fmla="*/ 534 w 534"/>
                <a:gd name="T159" fmla="*/ 702 h 70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34" h="702">
                  <a:moveTo>
                    <a:pt x="366" y="120"/>
                  </a:moveTo>
                  <a:lnTo>
                    <a:pt x="360" y="126"/>
                  </a:lnTo>
                  <a:lnTo>
                    <a:pt x="354" y="168"/>
                  </a:lnTo>
                  <a:lnTo>
                    <a:pt x="330" y="144"/>
                  </a:lnTo>
                  <a:lnTo>
                    <a:pt x="294" y="144"/>
                  </a:lnTo>
                  <a:lnTo>
                    <a:pt x="288" y="138"/>
                  </a:lnTo>
                  <a:lnTo>
                    <a:pt x="276" y="138"/>
                  </a:lnTo>
                  <a:lnTo>
                    <a:pt x="270" y="132"/>
                  </a:lnTo>
                  <a:lnTo>
                    <a:pt x="258" y="126"/>
                  </a:lnTo>
                  <a:lnTo>
                    <a:pt x="210" y="126"/>
                  </a:lnTo>
                  <a:lnTo>
                    <a:pt x="192" y="132"/>
                  </a:lnTo>
                  <a:lnTo>
                    <a:pt x="162" y="132"/>
                  </a:lnTo>
                  <a:lnTo>
                    <a:pt x="144" y="162"/>
                  </a:lnTo>
                  <a:lnTo>
                    <a:pt x="150" y="198"/>
                  </a:lnTo>
                  <a:lnTo>
                    <a:pt x="156" y="204"/>
                  </a:lnTo>
                  <a:lnTo>
                    <a:pt x="180" y="204"/>
                  </a:lnTo>
                  <a:lnTo>
                    <a:pt x="186" y="198"/>
                  </a:lnTo>
                  <a:lnTo>
                    <a:pt x="186" y="180"/>
                  </a:lnTo>
                  <a:lnTo>
                    <a:pt x="204" y="180"/>
                  </a:lnTo>
                  <a:lnTo>
                    <a:pt x="210" y="186"/>
                  </a:lnTo>
                  <a:lnTo>
                    <a:pt x="222" y="186"/>
                  </a:lnTo>
                  <a:lnTo>
                    <a:pt x="222" y="192"/>
                  </a:lnTo>
                  <a:lnTo>
                    <a:pt x="228" y="198"/>
                  </a:lnTo>
                  <a:lnTo>
                    <a:pt x="228" y="216"/>
                  </a:lnTo>
                  <a:lnTo>
                    <a:pt x="240" y="222"/>
                  </a:lnTo>
                  <a:lnTo>
                    <a:pt x="240" y="234"/>
                  </a:lnTo>
                  <a:lnTo>
                    <a:pt x="234" y="240"/>
                  </a:lnTo>
                  <a:lnTo>
                    <a:pt x="228" y="252"/>
                  </a:lnTo>
                  <a:lnTo>
                    <a:pt x="222" y="258"/>
                  </a:lnTo>
                  <a:lnTo>
                    <a:pt x="210" y="258"/>
                  </a:lnTo>
                  <a:lnTo>
                    <a:pt x="198" y="282"/>
                  </a:lnTo>
                  <a:lnTo>
                    <a:pt x="198" y="318"/>
                  </a:lnTo>
                  <a:lnTo>
                    <a:pt x="216" y="324"/>
                  </a:lnTo>
                  <a:lnTo>
                    <a:pt x="222" y="342"/>
                  </a:lnTo>
                  <a:lnTo>
                    <a:pt x="240" y="342"/>
                  </a:lnTo>
                  <a:lnTo>
                    <a:pt x="246" y="348"/>
                  </a:lnTo>
                  <a:lnTo>
                    <a:pt x="246" y="360"/>
                  </a:lnTo>
                  <a:lnTo>
                    <a:pt x="240" y="366"/>
                  </a:lnTo>
                  <a:lnTo>
                    <a:pt x="240" y="414"/>
                  </a:lnTo>
                  <a:lnTo>
                    <a:pt x="234" y="426"/>
                  </a:lnTo>
                  <a:lnTo>
                    <a:pt x="240" y="450"/>
                  </a:lnTo>
                  <a:lnTo>
                    <a:pt x="234" y="456"/>
                  </a:lnTo>
                  <a:lnTo>
                    <a:pt x="222" y="462"/>
                  </a:lnTo>
                  <a:lnTo>
                    <a:pt x="222" y="486"/>
                  </a:lnTo>
                  <a:lnTo>
                    <a:pt x="216" y="498"/>
                  </a:lnTo>
                  <a:lnTo>
                    <a:pt x="210" y="504"/>
                  </a:lnTo>
                  <a:lnTo>
                    <a:pt x="198" y="504"/>
                  </a:lnTo>
                  <a:lnTo>
                    <a:pt x="192" y="498"/>
                  </a:lnTo>
                  <a:lnTo>
                    <a:pt x="192" y="468"/>
                  </a:lnTo>
                  <a:lnTo>
                    <a:pt x="186" y="468"/>
                  </a:lnTo>
                  <a:lnTo>
                    <a:pt x="180" y="474"/>
                  </a:lnTo>
                  <a:lnTo>
                    <a:pt x="174" y="486"/>
                  </a:lnTo>
                  <a:lnTo>
                    <a:pt x="168" y="492"/>
                  </a:lnTo>
                  <a:lnTo>
                    <a:pt x="138" y="492"/>
                  </a:lnTo>
                  <a:lnTo>
                    <a:pt x="120" y="450"/>
                  </a:lnTo>
                  <a:lnTo>
                    <a:pt x="90" y="450"/>
                  </a:lnTo>
                  <a:lnTo>
                    <a:pt x="90" y="456"/>
                  </a:lnTo>
                  <a:lnTo>
                    <a:pt x="108" y="474"/>
                  </a:lnTo>
                  <a:lnTo>
                    <a:pt x="96" y="480"/>
                  </a:lnTo>
                  <a:lnTo>
                    <a:pt x="90" y="492"/>
                  </a:lnTo>
                  <a:lnTo>
                    <a:pt x="84" y="498"/>
                  </a:lnTo>
                  <a:lnTo>
                    <a:pt x="66" y="498"/>
                  </a:lnTo>
                  <a:lnTo>
                    <a:pt x="54" y="492"/>
                  </a:lnTo>
                  <a:lnTo>
                    <a:pt x="42" y="492"/>
                  </a:lnTo>
                  <a:lnTo>
                    <a:pt x="36" y="486"/>
                  </a:lnTo>
                  <a:lnTo>
                    <a:pt x="30" y="486"/>
                  </a:lnTo>
                  <a:lnTo>
                    <a:pt x="30" y="504"/>
                  </a:lnTo>
                  <a:lnTo>
                    <a:pt x="36" y="510"/>
                  </a:lnTo>
                  <a:lnTo>
                    <a:pt x="36" y="522"/>
                  </a:lnTo>
                  <a:lnTo>
                    <a:pt x="24" y="522"/>
                  </a:lnTo>
                  <a:lnTo>
                    <a:pt x="54" y="540"/>
                  </a:lnTo>
                  <a:lnTo>
                    <a:pt x="36" y="552"/>
                  </a:lnTo>
                  <a:lnTo>
                    <a:pt x="54" y="564"/>
                  </a:lnTo>
                  <a:lnTo>
                    <a:pt x="54" y="600"/>
                  </a:lnTo>
                  <a:lnTo>
                    <a:pt x="48" y="606"/>
                  </a:lnTo>
                  <a:lnTo>
                    <a:pt x="30" y="588"/>
                  </a:lnTo>
                  <a:lnTo>
                    <a:pt x="6" y="600"/>
                  </a:lnTo>
                  <a:lnTo>
                    <a:pt x="0" y="618"/>
                  </a:lnTo>
                  <a:lnTo>
                    <a:pt x="54" y="666"/>
                  </a:lnTo>
                  <a:lnTo>
                    <a:pt x="54" y="684"/>
                  </a:lnTo>
                  <a:lnTo>
                    <a:pt x="72" y="702"/>
                  </a:lnTo>
                  <a:lnTo>
                    <a:pt x="72" y="690"/>
                  </a:lnTo>
                  <a:lnTo>
                    <a:pt x="90" y="690"/>
                  </a:lnTo>
                  <a:lnTo>
                    <a:pt x="90" y="672"/>
                  </a:lnTo>
                  <a:lnTo>
                    <a:pt x="102" y="666"/>
                  </a:lnTo>
                  <a:lnTo>
                    <a:pt x="108" y="660"/>
                  </a:lnTo>
                  <a:lnTo>
                    <a:pt x="120" y="654"/>
                  </a:lnTo>
                  <a:lnTo>
                    <a:pt x="126" y="648"/>
                  </a:lnTo>
                  <a:lnTo>
                    <a:pt x="132" y="654"/>
                  </a:lnTo>
                  <a:lnTo>
                    <a:pt x="132" y="660"/>
                  </a:lnTo>
                  <a:lnTo>
                    <a:pt x="138" y="666"/>
                  </a:lnTo>
                  <a:lnTo>
                    <a:pt x="138" y="672"/>
                  </a:lnTo>
                  <a:lnTo>
                    <a:pt x="150" y="672"/>
                  </a:lnTo>
                  <a:lnTo>
                    <a:pt x="150" y="678"/>
                  </a:lnTo>
                  <a:lnTo>
                    <a:pt x="156" y="684"/>
                  </a:lnTo>
                  <a:lnTo>
                    <a:pt x="156" y="690"/>
                  </a:lnTo>
                  <a:lnTo>
                    <a:pt x="162" y="696"/>
                  </a:lnTo>
                  <a:lnTo>
                    <a:pt x="174" y="696"/>
                  </a:lnTo>
                  <a:lnTo>
                    <a:pt x="180" y="690"/>
                  </a:lnTo>
                  <a:lnTo>
                    <a:pt x="186" y="678"/>
                  </a:lnTo>
                  <a:lnTo>
                    <a:pt x="186" y="660"/>
                  </a:lnTo>
                  <a:lnTo>
                    <a:pt x="210" y="666"/>
                  </a:lnTo>
                  <a:lnTo>
                    <a:pt x="228" y="648"/>
                  </a:lnTo>
                  <a:lnTo>
                    <a:pt x="234" y="648"/>
                  </a:lnTo>
                  <a:lnTo>
                    <a:pt x="234" y="678"/>
                  </a:lnTo>
                  <a:lnTo>
                    <a:pt x="228" y="690"/>
                  </a:lnTo>
                  <a:lnTo>
                    <a:pt x="234" y="696"/>
                  </a:lnTo>
                  <a:lnTo>
                    <a:pt x="252" y="696"/>
                  </a:lnTo>
                  <a:lnTo>
                    <a:pt x="264" y="690"/>
                  </a:lnTo>
                  <a:lnTo>
                    <a:pt x="270" y="684"/>
                  </a:lnTo>
                  <a:lnTo>
                    <a:pt x="276" y="672"/>
                  </a:lnTo>
                  <a:lnTo>
                    <a:pt x="294" y="654"/>
                  </a:lnTo>
                  <a:lnTo>
                    <a:pt x="300" y="642"/>
                  </a:lnTo>
                  <a:lnTo>
                    <a:pt x="312" y="630"/>
                  </a:lnTo>
                  <a:lnTo>
                    <a:pt x="330" y="630"/>
                  </a:lnTo>
                  <a:lnTo>
                    <a:pt x="336" y="624"/>
                  </a:lnTo>
                  <a:lnTo>
                    <a:pt x="366" y="582"/>
                  </a:lnTo>
                  <a:lnTo>
                    <a:pt x="360" y="480"/>
                  </a:lnTo>
                  <a:lnTo>
                    <a:pt x="366" y="480"/>
                  </a:lnTo>
                  <a:lnTo>
                    <a:pt x="390" y="456"/>
                  </a:lnTo>
                  <a:lnTo>
                    <a:pt x="390" y="420"/>
                  </a:lnTo>
                  <a:lnTo>
                    <a:pt x="396" y="408"/>
                  </a:lnTo>
                  <a:lnTo>
                    <a:pt x="402" y="402"/>
                  </a:lnTo>
                  <a:lnTo>
                    <a:pt x="450" y="378"/>
                  </a:lnTo>
                  <a:lnTo>
                    <a:pt x="456" y="366"/>
                  </a:lnTo>
                  <a:lnTo>
                    <a:pt x="468" y="360"/>
                  </a:lnTo>
                  <a:lnTo>
                    <a:pt x="474" y="354"/>
                  </a:lnTo>
                  <a:lnTo>
                    <a:pt x="474" y="300"/>
                  </a:lnTo>
                  <a:lnTo>
                    <a:pt x="486" y="294"/>
                  </a:lnTo>
                  <a:lnTo>
                    <a:pt x="492" y="282"/>
                  </a:lnTo>
                  <a:lnTo>
                    <a:pt x="492" y="258"/>
                  </a:lnTo>
                  <a:lnTo>
                    <a:pt x="486" y="246"/>
                  </a:lnTo>
                  <a:lnTo>
                    <a:pt x="480" y="240"/>
                  </a:lnTo>
                  <a:lnTo>
                    <a:pt x="480" y="228"/>
                  </a:lnTo>
                  <a:lnTo>
                    <a:pt x="498" y="192"/>
                  </a:lnTo>
                  <a:lnTo>
                    <a:pt x="498" y="168"/>
                  </a:lnTo>
                  <a:lnTo>
                    <a:pt x="492" y="156"/>
                  </a:lnTo>
                  <a:lnTo>
                    <a:pt x="492" y="126"/>
                  </a:lnTo>
                  <a:lnTo>
                    <a:pt x="498" y="120"/>
                  </a:lnTo>
                  <a:lnTo>
                    <a:pt x="510" y="96"/>
                  </a:lnTo>
                  <a:lnTo>
                    <a:pt x="522" y="84"/>
                  </a:lnTo>
                  <a:lnTo>
                    <a:pt x="528" y="66"/>
                  </a:lnTo>
                  <a:lnTo>
                    <a:pt x="534" y="54"/>
                  </a:lnTo>
                  <a:lnTo>
                    <a:pt x="534" y="18"/>
                  </a:lnTo>
                  <a:lnTo>
                    <a:pt x="522" y="6"/>
                  </a:lnTo>
                  <a:lnTo>
                    <a:pt x="510" y="18"/>
                  </a:lnTo>
                  <a:lnTo>
                    <a:pt x="498" y="18"/>
                  </a:lnTo>
                  <a:lnTo>
                    <a:pt x="462" y="0"/>
                  </a:lnTo>
                  <a:lnTo>
                    <a:pt x="444" y="0"/>
                  </a:lnTo>
                  <a:lnTo>
                    <a:pt x="426" y="18"/>
                  </a:lnTo>
                  <a:lnTo>
                    <a:pt x="396" y="18"/>
                  </a:lnTo>
                  <a:lnTo>
                    <a:pt x="378" y="48"/>
                  </a:lnTo>
                  <a:lnTo>
                    <a:pt x="390" y="60"/>
                  </a:lnTo>
                  <a:lnTo>
                    <a:pt x="390" y="84"/>
                  </a:lnTo>
                  <a:lnTo>
                    <a:pt x="384" y="96"/>
                  </a:lnTo>
                  <a:lnTo>
                    <a:pt x="378" y="102"/>
                  </a:lnTo>
                  <a:lnTo>
                    <a:pt x="372" y="114"/>
                  </a:lnTo>
                  <a:lnTo>
                    <a:pt x="366" y="120"/>
                  </a:lnTo>
                  <a:close/>
                </a:path>
              </a:pathLst>
            </a:custGeom>
            <a:solidFill>
              <a:srgbClr val="692864"/>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82" name="Colombia" descr="© INSCALE GmbH, 05.05.2010&#10;http://www.presentationload.com/"/>
            <p:cNvSpPr>
              <a:spLocks/>
            </p:cNvSpPr>
            <p:nvPr/>
          </p:nvSpPr>
          <p:spPr bwMode="gray">
            <a:xfrm>
              <a:off x="1947864" y="3673475"/>
              <a:ext cx="349250" cy="541337"/>
            </a:xfrm>
            <a:custGeom>
              <a:avLst/>
              <a:gdLst>
                <a:gd name="T0" fmla="*/ 2147483647 w 870"/>
                <a:gd name="T1" fmla="*/ 2147483647 h 1344"/>
                <a:gd name="T2" fmla="*/ 2147483647 w 870"/>
                <a:gd name="T3" fmla="*/ 2147483647 h 1344"/>
                <a:gd name="T4" fmla="*/ 2147483647 w 870"/>
                <a:gd name="T5" fmla="*/ 2147483647 h 1344"/>
                <a:gd name="T6" fmla="*/ 2147483647 w 870"/>
                <a:gd name="T7" fmla="*/ 2147483647 h 1344"/>
                <a:gd name="T8" fmla="*/ 2147483647 w 870"/>
                <a:gd name="T9" fmla="*/ 2147483647 h 1344"/>
                <a:gd name="T10" fmla="*/ 2147483647 w 870"/>
                <a:gd name="T11" fmla="*/ 2147483647 h 1344"/>
                <a:gd name="T12" fmla="*/ 2147483647 w 870"/>
                <a:gd name="T13" fmla="*/ 2147483647 h 1344"/>
                <a:gd name="T14" fmla="*/ 2147483647 w 870"/>
                <a:gd name="T15" fmla="*/ 2147483647 h 1344"/>
                <a:gd name="T16" fmla="*/ 2147483647 w 870"/>
                <a:gd name="T17" fmla="*/ 2147483647 h 1344"/>
                <a:gd name="T18" fmla="*/ 2147483647 w 870"/>
                <a:gd name="T19" fmla="*/ 2147483647 h 1344"/>
                <a:gd name="T20" fmla="*/ 2147483647 w 870"/>
                <a:gd name="T21" fmla="*/ 2147483647 h 1344"/>
                <a:gd name="T22" fmla="*/ 2147483647 w 870"/>
                <a:gd name="T23" fmla="*/ 2147483647 h 1344"/>
                <a:gd name="T24" fmla="*/ 2147483647 w 870"/>
                <a:gd name="T25" fmla="*/ 2147483647 h 1344"/>
                <a:gd name="T26" fmla="*/ 2147483647 w 870"/>
                <a:gd name="T27" fmla="*/ 2147483647 h 1344"/>
                <a:gd name="T28" fmla="*/ 2147483647 w 870"/>
                <a:gd name="T29" fmla="*/ 2147483647 h 1344"/>
                <a:gd name="T30" fmla="*/ 2147483647 w 870"/>
                <a:gd name="T31" fmla="*/ 2147483647 h 1344"/>
                <a:gd name="T32" fmla="*/ 2147483647 w 870"/>
                <a:gd name="T33" fmla="*/ 2147483647 h 1344"/>
                <a:gd name="T34" fmla="*/ 2147483647 w 870"/>
                <a:gd name="T35" fmla="*/ 2147483647 h 1344"/>
                <a:gd name="T36" fmla="*/ 2147483647 w 870"/>
                <a:gd name="T37" fmla="*/ 2147483647 h 1344"/>
                <a:gd name="T38" fmla="*/ 2147483647 w 870"/>
                <a:gd name="T39" fmla="*/ 2147483647 h 1344"/>
                <a:gd name="T40" fmla="*/ 2147483647 w 870"/>
                <a:gd name="T41" fmla="*/ 2147483647 h 1344"/>
                <a:gd name="T42" fmla="*/ 2147483647 w 870"/>
                <a:gd name="T43" fmla="*/ 2147483647 h 1344"/>
                <a:gd name="T44" fmla="*/ 2147483647 w 870"/>
                <a:gd name="T45" fmla="*/ 2147483647 h 1344"/>
                <a:gd name="T46" fmla="*/ 2147483647 w 870"/>
                <a:gd name="T47" fmla="*/ 2147483647 h 1344"/>
                <a:gd name="T48" fmla="*/ 2147483647 w 870"/>
                <a:gd name="T49" fmla="*/ 2147483647 h 1344"/>
                <a:gd name="T50" fmla="*/ 2147483647 w 870"/>
                <a:gd name="T51" fmla="*/ 2147483647 h 1344"/>
                <a:gd name="T52" fmla="*/ 2147483647 w 870"/>
                <a:gd name="T53" fmla="*/ 2147483647 h 1344"/>
                <a:gd name="T54" fmla="*/ 2147483647 w 870"/>
                <a:gd name="T55" fmla="*/ 2147483647 h 1344"/>
                <a:gd name="T56" fmla="*/ 2147483647 w 870"/>
                <a:gd name="T57" fmla="*/ 2147483647 h 1344"/>
                <a:gd name="T58" fmla="*/ 2147483647 w 870"/>
                <a:gd name="T59" fmla="*/ 2147483647 h 1344"/>
                <a:gd name="T60" fmla="*/ 2147483647 w 870"/>
                <a:gd name="T61" fmla="*/ 2147483647 h 1344"/>
                <a:gd name="T62" fmla="*/ 2147483647 w 870"/>
                <a:gd name="T63" fmla="*/ 2147483647 h 1344"/>
                <a:gd name="T64" fmla="*/ 2147483647 w 870"/>
                <a:gd name="T65" fmla="*/ 2147483647 h 1344"/>
                <a:gd name="T66" fmla="*/ 2147483647 w 870"/>
                <a:gd name="T67" fmla="*/ 2147483647 h 1344"/>
                <a:gd name="T68" fmla="*/ 2147483647 w 870"/>
                <a:gd name="T69" fmla="*/ 2147483647 h 1344"/>
                <a:gd name="T70" fmla="*/ 2147483647 w 870"/>
                <a:gd name="T71" fmla="*/ 2147483647 h 1344"/>
                <a:gd name="T72" fmla="*/ 2147483647 w 870"/>
                <a:gd name="T73" fmla="*/ 0 h 1344"/>
                <a:gd name="T74" fmla="*/ 2147483647 w 870"/>
                <a:gd name="T75" fmla="*/ 2147483647 h 1344"/>
                <a:gd name="T76" fmla="*/ 2147483647 w 870"/>
                <a:gd name="T77" fmla="*/ 2147483647 h 1344"/>
                <a:gd name="T78" fmla="*/ 2147483647 w 870"/>
                <a:gd name="T79" fmla="*/ 2147483647 h 1344"/>
                <a:gd name="T80" fmla="*/ 2147483647 w 870"/>
                <a:gd name="T81" fmla="*/ 2147483647 h 1344"/>
                <a:gd name="T82" fmla="*/ 2147483647 w 870"/>
                <a:gd name="T83" fmla="*/ 2147483647 h 1344"/>
                <a:gd name="T84" fmla="*/ 2147483647 w 870"/>
                <a:gd name="T85" fmla="*/ 2147483647 h 1344"/>
                <a:gd name="T86" fmla="*/ 2147483647 w 870"/>
                <a:gd name="T87" fmla="*/ 2147483647 h 1344"/>
                <a:gd name="T88" fmla="*/ 2147483647 w 870"/>
                <a:gd name="T89" fmla="*/ 2147483647 h 1344"/>
                <a:gd name="T90" fmla="*/ 2147483647 w 870"/>
                <a:gd name="T91" fmla="*/ 2147483647 h 1344"/>
                <a:gd name="T92" fmla="*/ 2147483647 w 870"/>
                <a:gd name="T93" fmla="*/ 2147483647 h 1344"/>
                <a:gd name="T94" fmla="*/ 2147483647 w 870"/>
                <a:gd name="T95" fmla="*/ 2147483647 h 1344"/>
                <a:gd name="T96" fmla="*/ 2147483647 w 870"/>
                <a:gd name="T97" fmla="*/ 2147483647 h 1344"/>
                <a:gd name="T98" fmla="*/ 2147483647 w 870"/>
                <a:gd name="T99" fmla="*/ 2147483647 h 1344"/>
                <a:gd name="T100" fmla="*/ 2147483647 w 870"/>
                <a:gd name="T101" fmla="*/ 2147483647 h 1344"/>
                <a:gd name="T102" fmla="*/ 2147483647 w 870"/>
                <a:gd name="T103" fmla="*/ 2147483647 h 1344"/>
                <a:gd name="T104" fmla="*/ 2147483647 w 870"/>
                <a:gd name="T105" fmla="*/ 2147483647 h 1344"/>
                <a:gd name="T106" fmla="*/ 2147483647 w 870"/>
                <a:gd name="T107" fmla="*/ 2147483647 h 134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70"/>
                <a:gd name="T163" fmla="*/ 0 h 1344"/>
                <a:gd name="T164" fmla="*/ 870 w 870"/>
                <a:gd name="T165" fmla="*/ 1344 h 134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70" h="1344">
                  <a:moveTo>
                    <a:pt x="36" y="912"/>
                  </a:moveTo>
                  <a:lnTo>
                    <a:pt x="60" y="924"/>
                  </a:lnTo>
                  <a:lnTo>
                    <a:pt x="66" y="936"/>
                  </a:lnTo>
                  <a:lnTo>
                    <a:pt x="84" y="936"/>
                  </a:lnTo>
                  <a:lnTo>
                    <a:pt x="96" y="942"/>
                  </a:lnTo>
                  <a:lnTo>
                    <a:pt x="102" y="948"/>
                  </a:lnTo>
                  <a:lnTo>
                    <a:pt x="108" y="960"/>
                  </a:lnTo>
                  <a:lnTo>
                    <a:pt x="108" y="966"/>
                  </a:lnTo>
                  <a:lnTo>
                    <a:pt x="114" y="972"/>
                  </a:lnTo>
                  <a:lnTo>
                    <a:pt x="126" y="978"/>
                  </a:lnTo>
                  <a:lnTo>
                    <a:pt x="138" y="978"/>
                  </a:lnTo>
                  <a:lnTo>
                    <a:pt x="144" y="972"/>
                  </a:lnTo>
                  <a:lnTo>
                    <a:pt x="156" y="978"/>
                  </a:lnTo>
                  <a:lnTo>
                    <a:pt x="162" y="984"/>
                  </a:lnTo>
                  <a:lnTo>
                    <a:pt x="186" y="984"/>
                  </a:lnTo>
                  <a:lnTo>
                    <a:pt x="186" y="972"/>
                  </a:lnTo>
                  <a:lnTo>
                    <a:pt x="192" y="966"/>
                  </a:lnTo>
                  <a:lnTo>
                    <a:pt x="198" y="966"/>
                  </a:lnTo>
                  <a:lnTo>
                    <a:pt x="210" y="972"/>
                  </a:lnTo>
                  <a:lnTo>
                    <a:pt x="210" y="978"/>
                  </a:lnTo>
                  <a:lnTo>
                    <a:pt x="216" y="984"/>
                  </a:lnTo>
                  <a:lnTo>
                    <a:pt x="216" y="990"/>
                  </a:lnTo>
                  <a:lnTo>
                    <a:pt x="228" y="1002"/>
                  </a:lnTo>
                  <a:lnTo>
                    <a:pt x="264" y="1002"/>
                  </a:lnTo>
                  <a:lnTo>
                    <a:pt x="276" y="1008"/>
                  </a:lnTo>
                  <a:lnTo>
                    <a:pt x="282" y="1014"/>
                  </a:lnTo>
                  <a:lnTo>
                    <a:pt x="294" y="1020"/>
                  </a:lnTo>
                  <a:lnTo>
                    <a:pt x="312" y="1038"/>
                  </a:lnTo>
                  <a:lnTo>
                    <a:pt x="324" y="1044"/>
                  </a:lnTo>
                  <a:lnTo>
                    <a:pt x="330" y="1050"/>
                  </a:lnTo>
                  <a:lnTo>
                    <a:pt x="342" y="1086"/>
                  </a:lnTo>
                  <a:lnTo>
                    <a:pt x="360" y="1086"/>
                  </a:lnTo>
                  <a:lnTo>
                    <a:pt x="372" y="1104"/>
                  </a:lnTo>
                  <a:lnTo>
                    <a:pt x="384" y="1104"/>
                  </a:lnTo>
                  <a:lnTo>
                    <a:pt x="390" y="1110"/>
                  </a:lnTo>
                  <a:lnTo>
                    <a:pt x="390" y="1134"/>
                  </a:lnTo>
                  <a:lnTo>
                    <a:pt x="396" y="1140"/>
                  </a:lnTo>
                  <a:lnTo>
                    <a:pt x="396" y="1146"/>
                  </a:lnTo>
                  <a:lnTo>
                    <a:pt x="408" y="1146"/>
                  </a:lnTo>
                  <a:lnTo>
                    <a:pt x="420" y="1152"/>
                  </a:lnTo>
                  <a:lnTo>
                    <a:pt x="426" y="1158"/>
                  </a:lnTo>
                  <a:lnTo>
                    <a:pt x="426" y="1164"/>
                  </a:lnTo>
                  <a:lnTo>
                    <a:pt x="420" y="1170"/>
                  </a:lnTo>
                  <a:lnTo>
                    <a:pt x="420" y="1194"/>
                  </a:lnTo>
                  <a:lnTo>
                    <a:pt x="432" y="1200"/>
                  </a:lnTo>
                  <a:lnTo>
                    <a:pt x="456" y="1206"/>
                  </a:lnTo>
                  <a:lnTo>
                    <a:pt x="492" y="1206"/>
                  </a:lnTo>
                  <a:lnTo>
                    <a:pt x="492" y="1194"/>
                  </a:lnTo>
                  <a:lnTo>
                    <a:pt x="504" y="1182"/>
                  </a:lnTo>
                  <a:lnTo>
                    <a:pt x="528" y="1182"/>
                  </a:lnTo>
                  <a:lnTo>
                    <a:pt x="534" y="1188"/>
                  </a:lnTo>
                  <a:lnTo>
                    <a:pt x="540" y="1188"/>
                  </a:lnTo>
                  <a:lnTo>
                    <a:pt x="546" y="1194"/>
                  </a:lnTo>
                  <a:lnTo>
                    <a:pt x="558" y="1194"/>
                  </a:lnTo>
                  <a:lnTo>
                    <a:pt x="570" y="1188"/>
                  </a:lnTo>
                  <a:lnTo>
                    <a:pt x="576" y="1182"/>
                  </a:lnTo>
                  <a:lnTo>
                    <a:pt x="588" y="1182"/>
                  </a:lnTo>
                  <a:lnTo>
                    <a:pt x="588" y="1188"/>
                  </a:lnTo>
                  <a:lnTo>
                    <a:pt x="594" y="1200"/>
                  </a:lnTo>
                  <a:lnTo>
                    <a:pt x="600" y="1206"/>
                  </a:lnTo>
                  <a:lnTo>
                    <a:pt x="624" y="1206"/>
                  </a:lnTo>
                  <a:lnTo>
                    <a:pt x="636" y="1212"/>
                  </a:lnTo>
                  <a:lnTo>
                    <a:pt x="642" y="1218"/>
                  </a:lnTo>
                  <a:lnTo>
                    <a:pt x="642" y="1236"/>
                  </a:lnTo>
                  <a:lnTo>
                    <a:pt x="636" y="1248"/>
                  </a:lnTo>
                  <a:lnTo>
                    <a:pt x="630" y="1254"/>
                  </a:lnTo>
                  <a:lnTo>
                    <a:pt x="624" y="1254"/>
                  </a:lnTo>
                  <a:lnTo>
                    <a:pt x="618" y="1260"/>
                  </a:lnTo>
                  <a:lnTo>
                    <a:pt x="618" y="1266"/>
                  </a:lnTo>
                  <a:lnTo>
                    <a:pt x="606" y="1290"/>
                  </a:lnTo>
                  <a:lnTo>
                    <a:pt x="606" y="1308"/>
                  </a:lnTo>
                  <a:lnTo>
                    <a:pt x="612" y="1314"/>
                  </a:lnTo>
                  <a:lnTo>
                    <a:pt x="630" y="1314"/>
                  </a:lnTo>
                  <a:lnTo>
                    <a:pt x="642" y="1332"/>
                  </a:lnTo>
                  <a:lnTo>
                    <a:pt x="660" y="1344"/>
                  </a:lnTo>
                  <a:lnTo>
                    <a:pt x="660" y="1308"/>
                  </a:lnTo>
                  <a:lnTo>
                    <a:pt x="666" y="1236"/>
                  </a:lnTo>
                  <a:lnTo>
                    <a:pt x="684" y="1188"/>
                  </a:lnTo>
                  <a:lnTo>
                    <a:pt x="678" y="1140"/>
                  </a:lnTo>
                  <a:lnTo>
                    <a:pt x="690" y="1128"/>
                  </a:lnTo>
                  <a:lnTo>
                    <a:pt x="696" y="1116"/>
                  </a:lnTo>
                  <a:lnTo>
                    <a:pt x="696" y="1104"/>
                  </a:lnTo>
                  <a:lnTo>
                    <a:pt x="690" y="1092"/>
                  </a:lnTo>
                  <a:lnTo>
                    <a:pt x="678" y="1080"/>
                  </a:lnTo>
                  <a:lnTo>
                    <a:pt x="678" y="1074"/>
                  </a:lnTo>
                  <a:lnTo>
                    <a:pt x="672" y="1068"/>
                  </a:lnTo>
                  <a:lnTo>
                    <a:pt x="672" y="1044"/>
                  </a:lnTo>
                  <a:lnTo>
                    <a:pt x="666" y="1038"/>
                  </a:lnTo>
                  <a:lnTo>
                    <a:pt x="654" y="1032"/>
                  </a:lnTo>
                  <a:lnTo>
                    <a:pt x="642" y="1020"/>
                  </a:lnTo>
                  <a:lnTo>
                    <a:pt x="636" y="1020"/>
                  </a:lnTo>
                  <a:lnTo>
                    <a:pt x="642" y="954"/>
                  </a:lnTo>
                  <a:lnTo>
                    <a:pt x="672" y="948"/>
                  </a:lnTo>
                  <a:lnTo>
                    <a:pt x="678" y="954"/>
                  </a:lnTo>
                  <a:lnTo>
                    <a:pt x="708" y="954"/>
                  </a:lnTo>
                  <a:lnTo>
                    <a:pt x="714" y="948"/>
                  </a:lnTo>
                  <a:lnTo>
                    <a:pt x="714" y="942"/>
                  </a:lnTo>
                  <a:lnTo>
                    <a:pt x="708" y="936"/>
                  </a:lnTo>
                  <a:lnTo>
                    <a:pt x="708" y="930"/>
                  </a:lnTo>
                  <a:lnTo>
                    <a:pt x="696" y="918"/>
                  </a:lnTo>
                  <a:lnTo>
                    <a:pt x="684" y="924"/>
                  </a:lnTo>
                  <a:lnTo>
                    <a:pt x="660" y="912"/>
                  </a:lnTo>
                  <a:lnTo>
                    <a:pt x="660" y="900"/>
                  </a:lnTo>
                  <a:lnTo>
                    <a:pt x="654" y="888"/>
                  </a:lnTo>
                  <a:lnTo>
                    <a:pt x="654" y="876"/>
                  </a:lnTo>
                  <a:lnTo>
                    <a:pt x="660" y="864"/>
                  </a:lnTo>
                  <a:lnTo>
                    <a:pt x="666" y="858"/>
                  </a:lnTo>
                  <a:lnTo>
                    <a:pt x="684" y="858"/>
                  </a:lnTo>
                  <a:lnTo>
                    <a:pt x="696" y="870"/>
                  </a:lnTo>
                  <a:lnTo>
                    <a:pt x="762" y="864"/>
                  </a:lnTo>
                  <a:lnTo>
                    <a:pt x="762" y="846"/>
                  </a:lnTo>
                  <a:lnTo>
                    <a:pt x="768" y="840"/>
                  </a:lnTo>
                  <a:lnTo>
                    <a:pt x="774" y="840"/>
                  </a:lnTo>
                  <a:lnTo>
                    <a:pt x="798" y="864"/>
                  </a:lnTo>
                  <a:lnTo>
                    <a:pt x="828" y="834"/>
                  </a:lnTo>
                  <a:lnTo>
                    <a:pt x="834" y="834"/>
                  </a:lnTo>
                  <a:lnTo>
                    <a:pt x="834" y="846"/>
                  </a:lnTo>
                  <a:lnTo>
                    <a:pt x="840" y="852"/>
                  </a:lnTo>
                  <a:lnTo>
                    <a:pt x="840" y="864"/>
                  </a:lnTo>
                  <a:lnTo>
                    <a:pt x="846" y="876"/>
                  </a:lnTo>
                  <a:lnTo>
                    <a:pt x="846" y="906"/>
                  </a:lnTo>
                  <a:lnTo>
                    <a:pt x="870" y="906"/>
                  </a:lnTo>
                  <a:lnTo>
                    <a:pt x="864" y="900"/>
                  </a:lnTo>
                  <a:lnTo>
                    <a:pt x="864" y="882"/>
                  </a:lnTo>
                  <a:lnTo>
                    <a:pt x="858" y="870"/>
                  </a:lnTo>
                  <a:lnTo>
                    <a:pt x="858" y="852"/>
                  </a:lnTo>
                  <a:lnTo>
                    <a:pt x="852" y="846"/>
                  </a:lnTo>
                  <a:lnTo>
                    <a:pt x="852" y="828"/>
                  </a:lnTo>
                  <a:lnTo>
                    <a:pt x="846" y="822"/>
                  </a:lnTo>
                  <a:lnTo>
                    <a:pt x="846" y="798"/>
                  </a:lnTo>
                  <a:lnTo>
                    <a:pt x="834" y="798"/>
                  </a:lnTo>
                  <a:lnTo>
                    <a:pt x="822" y="786"/>
                  </a:lnTo>
                  <a:lnTo>
                    <a:pt x="798" y="774"/>
                  </a:lnTo>
                  <a:lnTo>
                    <a:pt x="804" y="774"/>
                  </a:lnTo>
                  <a:lnTo>
                    <a:pt x="834" y="744"/>
                  </a:lnTo>
                  <a:lnTo>
                    <a:pt x="840" y="732"/>
                  </a:lnTo>
                  <a:lnTo>
                    <a:pt x="840" y="726"/>
                  </a:lnTo>
                  <a:lnTo>
                    <a:pt x="834" y="714"/>
                  </a:lnTo>
                  <a:lnTo>
                    <a:pt x="822" y="708"/>
                  </a:lnTo>
                  <a:lnTo>
                    <a:pt x="816" y="696"/>
                  </a:lnTo>
                  <a:lnTo>
                    <a:pt x="816" y="672"/>
                  </a:lnTo>
                  <a:lnTo>
                    <a:pt x="804" y="672"/>
                  </a:lnTo>
                  <a:lnTo>
                    <a:pt x="798" y="666"/>
                  </a:lnTo>
                  <a:lnTo>
                    <a:pt x="798" y="654"/>
                  </a:lnTo>
                  <a:lnTo>
                    <a:pt x="804" y="642"/>
                  </a:lnTo>
                  <a:lnTo>
                    <a:pt x="804" y="612"/>
                  </a:lnTo>
                  <a:lnTo>
                    <a:pt x="798" y="600"/>
                  </a:lnTo>
                  <a:lnTo>
                    <a:pt x="798" y="576"/>
                  </a:lnTo>
                  <a:lnTo>
                    <a:pt x="810" y="564"/>
                  </a:lnTo>
                  <a:lnTo>
                    <a:pt x="816" y="564"/>
                  </a:lnTo>
                  <a:lnTo>
                    <a:pt x="822" y="558"/>
                  </a:lnTo>
                  <a:lnTo>
                    <a:pt x="822" y="534"/>
                  </a:lnTo>
                  <a:lnTo>
                    <a:pt x="840" y="516"/>
                  </a:lnTo>
                  <a:lnTo>
                    <a:pt x="840" y="504"/>
                  </a:lnTo>
                  <a:lnTo>
                    <a:pt x="834" y="498"/>
                  </a:lnTo>
                  <a:lnTo>
                    <a:pt x="816" y="498"/>
                  </a:lnTo>
                  <a:lnTo>
                    <a:pt x="804" y="504"/>
                  </a:lnTo>
                  <a:lnTo>
                    <a:pt x="798" y="510"/>
                  </a:lnTo>
                  <a:lnTo>
                    <a:pt x="774" y="504"/>
                  </a:lnTo>
                  <a:lnTo>
                    <a:pt x="768" y="510"/>
                  </a:lnTo>
                  <a:lnTo>
                    <a:pt x="744" y="510"/>
                  </a:lnTo>
                  <a:lnTo>
                    <a:pt x="738" y="504"/>
                  </a:lnTo>
                  <a:lnTo>
                    <a:pt x="720" y="504"/>
                  </a:lnTo>
                  <a:lnTo>
                    <a:pt x="720" y="510"/>
                  </a:lnTo>
                  <a:lnTo>
                    <a:pt x="696" y="510"/>
                  </a:lnTo>
                  <a:lnTo>
                    <a:pt x="672" y="486"/>
                  </a:lnTo>
                  <a:lnTo>
                    <a:pt x="666" y="468"/>
                  </a:lnTo>
                  <a:lnTo>
                    <a:pt x="660" y="456"/>
                  </a:lnTo>
                  <a:lnTo>
                    <a:pt x="654" y="450"/>
                  </a:lnTo>
                  <a:lnTo>
                    <a:pt x="654" y="444"/>
                  </a:lnTo>
                  <a:lnTo>
                    <a:pt x="630" y="444"/>
                  </a:lnTo>
                  <a:lnTo>
                    <a:pt x="618" y="438"/>
                  </a:lnTo>
                  <a:lnTo>
                    <a:pt x="612" y="432"/>
                  </a:lnTo>
                  <a:lnTo>
                    <a:pt x="600" y="432"/>
                  </a:lnTo>
                  <a:lnTo>
                    <a:pt x="600" y="438"/>
                  </a:lnTo>
                  <a:lnTo>
                    <a:pt x="594" y="444"/>
                  </a:lnTo>
                  <a:lnTo>
                    <a:pt x="582" y="444"/>
                  </a:lnTo>
                  <a:lnTo>
                    <a:pt x="570" y="438"/>
                  </a:lnTo>
                  <a:lnTo>
                    <a:pt x="564" y="438"/>
                  </a:lnTo>
                  <a:lnTo>
                    <a:pt x="552" y="432"/>
                  </a:lnTo>
                  <a:lnTo>
                    <a:pt x="540" y="432"/>
                  </a:lnTo>
                  <a:lnTo>
                    <a:pt x="534" y="438"/>
                  </a:lnTo>
                  <a:lnTo>
                    <a:pt x="510" y="438"/>
                  </a:lnTo>
                  <a:lnTo>
                    <a:pt x="504" y="432"/>
                  </a:lnTo>
                  <a:lnTo>
                    <a:pt x="498" y="420"/>
                  </a:lnTo>
                  <a:lnTo>
                    <a:pt x="498" y="408"/>
                  </a:lnTo>
                  <a:lnTo>
                    <a:pt x="486" y="408"/>
                  </a:lnTo>
                  <a:lnTo>
                    <a:pt x="486" y="366"/>
                  </a:lnTo>
                  <a:lnTo>
                    <a:pt x="498" y="342"/>
                  </a:lnTo>
                  <a:lnTo>
                    <a:pt x="498" y="330"/>
                  </a:lnTo>
                  <a:lnTo>
                    <a:pt x="492" y="324"/>
                  </a:lnTo>
                  <a:lnTo>
                    <a:pt x="480" y="318"/>
                  </a:lnTo>
                  <a:lnTo>
                    <a:pt x="474" y="312"/>
                  </a:lnTo>
                  <a:lnTo>
                    <a:pt x="474" y="276"/>
                  </a:lnTo>
                  <a:lnTo>
                    <a:pt x="468" y="264"/>
                  </a:lnTo>
                  <a:lnTo>
                    <a:pt x="456" y="252"/>
                  </a:lnTo>
                  <a:lnTo>
                    <a:pt x="450" y="252"/>
                  </a:lnTo>
                  <a:lnTo>
                    <a:pt x="438" y="264"/>
                  </a:lnTo>
                  <a:lnTo>
                    <a:pt x="438" y="270"/>
                  </a:lnTo>
                  <a:lnTo>
                    <a:pt x="432" y="264"/>
                  </a:lnTo>
                  <a:lnTo>
                    <a:pt x="432" y="252"/>
                  </a:lnTo>
                  <a:lnTo>
                    <a:pt x="438" y="240"/>
                  </a:lnTo>
                  <a:lnTo>
                    <a:pt x="462" y="216"/>
                  </a:lnTo>
                  <a:lnTo>
                    <a:pt x="462" y="192"/>
                  </a:lnTo>
                  <a:lnTo>
                    <a:pt x="468" y="186"/>
                  </a:lnTo>
                  <a:lnTo>
                    <a:pt x="468" y="168"/>
                  </a:lnTo>
                  <a:lnTo>
                    <a:pt x="480" y="132"/>
                  </a:lnTo>
                  <a:lnTo>
                    <a:pt x="504" y="108"/>
                  </a:lnTo>
                  <a:lnTo>
                    <a:pt x="522" y="102"/>
                  </a:lnTo>
                  <a:lnTo>
                    <a:pt x="534" y="90"/>
                  </a:lnTo>
                  <a:lnTo>
                    <a:pt x="540" y="78"/>
                  </a:lnTo>
                  <a:lnTo>
                    <a:pt x="540" y="72"/>
                  </a:lnTo>
                  <a:lnTo>
                    <a:pt x="546" y="66"/>
                  </a:lnTo>
                  <a:lnTo>
                    <a:pt x="558" y="66"/>
                  </a:lnTo>
                  <a:lnTo>
                    <a:pt x="564" y="60"/>
                  </a:lnTo>
                  <a:lnTo>
                    <a:pt x="570" y="60"/>
                  </a:lnTo>
                  <a:lnTo>
                    <a:pt x="576" y="54"/>
                  </a:lnTo>
                  <a:lnTo>
                    <a:pt x="582" y="54"/>
                  </a:lnTo>
                  <a:lnTo>
                    <a:pt x="600" y="36"/>
                  </a:lnTo>
                  <a:lnTo>
                    <a:pt x="600" y="12"/>
                  </a:lnTo>
                  <a:lnTo>
                    <a:pt x="594" y="6"/>
                  </a:lnTo>
                  <a:lnTo>
                    <a:pt x="582" y="0"/>
                  </a:lnTo>
                  <a:lnTo>
                    <a:pt x="570" y="6"/>
                  </a:lnTo>
                  <a:lnTo>
                    <a:pt x="546" y="6"/>
                  </a:lnTo>
                  <a:lnTo>
                    <a:pt x="540" y="12"/>
                  </a:lnTo>
                  <a:lnTo>
                    <a:pt x="534" y="12"/>
                  </a:lnTo>
                  <a:lnTo>
                    <a:pt x="522" y="24"/>
                  </a:lnTo>
                  <a:lnTo>
                    <a:pt x="522" y="36"/>
                  </a:lnTo>
                  <a:lnTo>
                    <a:pt x="516" y="48"/>
                  </a:lnTo>
                  <a:lnTo>
                    <a:pt x="504" y="60"/>
                  </a:lnTo>
                  <a:lnTo>
                    <a:pt x="492" y="60"/>
                  </a:lnTo>
                  <a:lnTo>
                    <a:pt x="480" y="54"/>
                  </a:lnTo>
                  <a:lnTo>
                    <a:pt x="474" y="54"/>
                  </a:lnTo>
                  <a:lnTo>
                    <a:pt x="444" y="84"/>
                  </a:lnTo>
                  <a:lnTo>
                    <a:pt x="444" y="90"/>
                  </a:lnTo>
                  <a:lnTo>
                    <a:pt x="408" y="102"/>
                  </a:lnTo>
                  <a:lnTo>
                    <a:pt x="402" y="96"/>
                  </a:lnTo>
                  <a:lnTo>
                    <a:pt x="390" y="90"/>
                  </a:lnTo>
                  <a:lnTo>
                    <a:pt x="384" y="90"/>
                  </a:lnTo>
                  <a:lnTo>
                    <a:pt x="378" y="102"/>
                  </a:lnTo>
                  <a:lnTo>
                    <a:pt x="378" y="120"/>
                  </a:lnTo>
                  <a:lnTo>
                    <a:pt x="372" y="132"/>
                  </a:lnTo>
                  <a:lnTo>
                    <a:pt x="366" y="138"/>
                  </a:lnTo>
                  <a:lnTo>
                    <a:pt x="354" y="138"/>
                  </a:lnTo>
                  <a:lnTo>
                    <a:pt x="354" y="132"/>
                  </a:lnTo>
                  <a:lnTo>
                    <a:pt x="360" y="126"/>
                  </a:lnTo>
                  <a:lnTo>
                    <a:pt x="354" y="120"/>
                  </a:lnTo>
                  <a:lnTo>
                    <a:pt x="342" y="120"/>
                  </a:lnTo>
                  <a:lnTo>
                    <a:pt x="330" y="126"/>
                  </a:lnTo>
                  <a:lnTo>
                    <a:pt x="318" y="126"/>
                  </a:lnTo>
                  <a:lnTo>
                    <a:pt x="312" y="132"/>
                  </a:lnTo>
                  <a:lnTo>
                    <a:pt x="306" y="132"/>
                  </a:lnTo>
                  <a:lnTo>
                    <a:pt x="300" y="144"/>
                  </a:lnTo>
                  <a:lnTo>
                    <a:pt x="288" y="150"/>
                  </a:lnTo>
                  <a:lnTo>
                    <a:pt x="282" y="162"/>
                  </a:lnTo>
                  <a:lnTo>
                    <a:pt x="276" y="168"/>
                  </a:lnTo>
                  <a:lnTo>
                    <a:pt x="276" y="186"/>
                  </a:lnTo>
                  <a:lnTo>
                    <a:pt x="282" y="192"/>
                  </a:lnTo>
                  <a:lnTo>
                    <a:pt x="264" y="222"/>
                  </a:lnTo>
                  <a:lnTo>
                    <a:pt x="276" y="246"/>
                  </a:lnTo>
                  <a:lnTo>
                    <a:pt x="252" y="246"/>
                  </a:lnTo>
                  <a:lnTo>
                    <a:pt x="240" y="252"/>
                  </a:lnTo>
                  <a:lnTo>
                    <a:pt x="228" y="264"/>
                  </a:lnTo>
                  <a:lnTo>
                    <a:pt x="228" y="276"/>
                  </a:lnTo>
                  <a:lnTo>
                    <a:pt x="222" y="288"/>
                  </a:lnTo>
                  <a:lnTo>
                    <a:pt x="216" y="294"/>
                  </a:lnTo>
                  <a:lnTo>
                    <a:pt x="204" y="294"/>
                  </a:lnTo>
                  <a:lnTo>
                    <a:pt x="198" y="300"/>
                  </a:lnTo>
                  <a:lnTo>
                    <a:pt x="192" y="300"/>
                  </a:lnTo>
                  <a:lnTo>
                    <a:pt x="174" y="306"/>
                  </a:lnTo>
                  <a:lnTo>
                    <a:pt x="186" y="330"/>
                  </a:lnTo>
                  <a:lnTo>
                    <a:pt x="186" y="366"/>
                  </a:lnTo>
                  <a:lnTo>
                    <a:pt x="168" y="366"/>
                  </a:lnTo>
                  <a:lnTo>
                    <a:pt x="168" y="360"/>
                  </a:lnTo>
                  <a:lnTo>
                    <a:pt x="174" y="354"/>
                  </a:lnTo>
                  <a:lnTo>
                    <a:pt x="174" y="342"/>
                  </a:lnTo>
                  <a:lnTo>
                    <a:pt x="144" y="312"/>
                  </a:lnTo>
                  <a:lnTo>
                    <a:pt x="138" y="312"/>
                  </a:lnTo>
                  <a:lnTo>
                    <a:pt x="132" y="318"/>
                  </a:lnTo>
                  <a:lnTo>
                    <a:pt x="132" y="336"/>
                  </a:lnTo>
                  <a:lnTo>
                    <a:pt x="138" y="348"/>
                  </a:lnTo>
                  <a:lnTo>
                    <a:pt x="150" y="354"/>
                  </a:lnTo>
                  <a:lnTo>
                    <a:pt x="150" y="366"/>
                  </a:lnTo>
                  <a:lnTo>
                    <a:pt x="138" y="390"/>
                  </a:lnTo>
                  <a:lnTo>
                    <a:pt x="132" y="396"/>
                  </a:lnTo>
                  <a:lnTo>
                    <a:pt x="120" y="390"/>
                  </a:lnTo>
                  <a:lnTo>
                    <a:pt x="114" y="384"/>
                  </a:lnTo>
                  <a:lnTo>
                    <a:pt x="102" y="414"/>
                  </a:lnTo>
                  <a:lnTo>
                    <a:pt x="114" y="438"/>
                  </a:lnTo>
                  <a:lnTo>
                    <a:pt x="114" y="450"/>
                  </a:lnTo>
                  <a:lnTo>
                    <a:pt x="126" y="462"/>
                  </a:lnTo>
                  <a:lnTo>
                    <a:pt x="132" y="474"/>
                  </a:lnTo>
                  <a:lnTo>
                    <a:pt x="132" y="480"/>
                  </a:lnTo>
                  <a:lnTo>
                    <a:pt x="120" y="492"/>
                  </a:lnTo>
                  <a:lnTo>
                    <a:pt x="114" y="492"/>
                  </a:lnTo>
                  <a:lnTo>
                    <a:pt x="132" y="516"/>
                  </a:lnTo>
                  <a:lnTo>
                    <a:pt x="138" y="552"/>
                  </a:lnTo>
                  <a:lnTo>
                    <a:pt x="114" y="558"/>
                  </a:lnTo>
                  <a:lnTo>
                    <a:pt x="132" y="576"/>
                  </a:lnTo>
                  <a:lnTo>
                    <a:pt x="132" y="636"/>
                  </a:lnTo>
                  <a:lnTo>
                    <a:pt x="120" y="642"/>
                  </a:lnTo>
                  <a:lnTo>
                    <a:pt x="114" y="654"/>
                  </a:lnTo>
                  <a:lnTo>
                    <a:pt x="114" y="678"/>
                  </a:lnTo>
                  <a:lnTo>
                    <a:pt x="138" y="702"/>
                  </a:lnTo>
                  <a:lnTo>
                    <a:pt x="138" y="720"/>
                  </a:lnTo>
                  <a:lnTo>
                    <a:pt x="132" y="732"/>
                  </a:lnTo>
                  <a:lnTo>
                    <a:pt x="120" y="738"/>
                  </a:lnTo>
                  <a:lnTo>
                    <a:pt x="114" y="750"/>
                  </a:lnTo>
                  <a:lnTo>
                    <a:pt x="102" y="756"/>
                  </a:lnTo>
                  <a:lnTo>
                    <a:pt x="96" y="762"/>
                  </a:lnTo>
                  <a:lnTo>
                    <a:pt x="114" y="774"/>
                  </a:lnTo>
                  <a:lnTo>
                    <a:pt x="84" y="798"/>
                  </a:lnTo>
                  <a:lnTo>
                    <a:pt x="66" y="798"/>
                  </a:lnTo>
                  <a:lnTo>
                    <a:pt x="54" y="804"/>
                  </a:lnTo>
                  <a:lnTo>
                    <a:pt x="36" y="810"/>
                  </a:lnTo>
                  <a:lnTo>
                    <a:pt x="30" y="822"/>
                  </a:lnTo>
                  <a:lnTo>
                    <a:pt x="30" y="846"/>
                  </a:lnTo>
                  <a:lnTo>
                    <a:pt x="36" y="852"/>
                  </a:lnTo>
                  <a:lnTo>
                    <a:pt x="36" y="858"/>
                  </a:lnTo>
                  <a:lnTo>
                    <a:pt x="6" y="858"/>
                  </a:lnTo>
                  <a:lnTo>
                    <a:pt x="0" y="864"/>
                  </a:lnTo>
                  <a:lnTo>
                    <a:pt x="0" y="876"/>
                  </a:lnTo>
                  <a:lnTo>
                    <a:pt x="6" y="888"/>
                  </a:lnTo>
                  <a:lnTo>
                    <a:pt x="18" y="894"/>
                  </a:lnTo>
                  <a:lnTo>
                    <a:pt x="24" y="906"/>
                  </a:lnTo>
                  <a:lnTo>
                    <a:pt x="36" y="912"/>
                  </a:lnTo>
                  <a:close/>
                </a:path>
              </a:pathLst>
            </a:custGeom>
            <a:solidFill>
              <a:srgbClr val="658B26"/>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83" name="Chile" descr="© INSCALE GmbH, 05.05.2010&#10;http://www.presentationload.com/"/>
            <p:cNvSpPr>
              <a:spLocks noEditPoints="1"/>
            </p:cNvSpPr>
            <p:nvPr/>
          </p:nvSpPr>
          <p:spPr bwMode="gray">
            <a:xfrm>
              <a:off x="2230440" y="4649786"/>
              <a:ext cx="465136" cy="1219200"/>
            </a:xfrm>
            <a:custGeom>
              <a:avLst/>
              <a:gdLst>
                <a:gd name="T0" fmla="*/ 2147483647 w 1158"/>
                <a:gd name="T1" fmla="*/ 2147483647 h 3030"/>
                <a:gd name="T2" fmla="*/ 2147483647 w 1158"/>
                <a:gd name="T3" fmla="*/ 2147483647 h 3030"/>
                <a:gd name="T4" fmla="*/ 2147483647 w 1158"/>
                <a:gd name="T5" fmla="*/ 2147483647 h 3030"/>
                <a:gd name="T6" fmla="*/ 2147483647 w 1158"/>
                <a:gd name="T7" fmla="*/ 2147483647 h 3030"/>
                <a:gd name="T8" fmla="*/ 2147483647 w 1158"/>
                <a:gd name="T9" fmla="*/ 2147483647 h 3030"/>
                <a:gd name="T10" fmla="*/ 2147483647 w 1158"/>
                <a:gd name="T11" fmla="*/ 2147483647 h 3030"/>
                <a:gd name="T12" fmla="*/ 2147483647 w 1158"/>
                <a:gd name="T13" fmla="*/ 2147483647 h 3030"/>
                <a:gd name="T14" fmla="*/ 2147483647 w 1158"/>
                <a:gd name="T15" fmla="*/ 2147483647 h 3030"/>
                <a:gd name="T16" fmla="*/ 2147483647 w 1158"/>
                <a:gd name="T17" fmla="*/ 2147483647 h 3030"/>
                <a:gd name="T18" fmla="*/ 2147483647 w 1158"/>
                <a:gd name="T19" fmla="*/ 2147483647 h 3030"/>
                <a:gd name="T20" fmla="*/ 2147483647 w 1158"/>
                <a:gd name="T21" fmla="*/ 2147483647 h 3030"/>
                <a:gd name="T22" fmla="*/ 2147483647 w 1158"/>
                <a:gd name="T23" fmla="*/ 2147483647 h 3030"/>
                <a:gd name="T24" fmla="*/ 2147483647 w 1158"/>
                <a:gd name="T25" fmla="*/ 2147483647 h 3030"/>
                <a:gd name="T26" fmla="*/ 2147483647 w 1158"/>
                <a:gd name="T27" fmla="*/ 2147483647 h 3030"/>
                <a:gd name="T28" fmla="*/ 2147483647 w 1158"/>
                <a:gd name="T29" fmla="*/ 2147483647 h 3030"/>
                <a:gd name="T30" fmla="*/ 2147483647 w 1158"/>
                <a:gd name="T31" fmla="*/ 2147483647 h 3030"/>
                <a:gd name="T32" fmla="*/ 2147483647 w 1158"/>
                <a:gd name="T33" fmla="*/ 2147483647 h 3030"/>
                <a:gd name="T34" fmla="*/ 2147483647 w 1158"/>
                <a:gd name="T35" fmla="*/ 2147483647 h 3030"/>
                <a:gd name="T36" fmla="*/ 2147483647 w 1158"/>
                <a:gd name="T37" fmla="*/ 2147483647 h 3030"/>
                <a:gd name="T38" fmla="*/ 2147483647 w 1158"/>
                <a:gd name="T39" fmla="*/ 2147483647 h 3030"/>
                <a:gd name="T40" fmla="*/ 2147483647 w 1158"/>
                <a:gd name="T41" fmla="*/ 2147483647 h 3030"/>
                <a:gd name="T42" fmla="*/ 2147483647 w 1158"/>
                <a:gd name="T43" fmla="*/ 2147483647 h 3030"/>
                <a:gd name="T44" fmla="*/ 2147483647 w 1158"/>
                <a:gd name="T45" fmla="*/ 2147483647 h 3030"/>
                <a:gd name="T46" fmla="*/ 2147483647 w 1158"/>
                <a:gd name="T47" fmla="*/ 2147483647 h 3030"/>
                <a:gd name="T48" fmla="*/ 2147483647 w 1158"/>
                <a:gd name="T49" fmla="*/ 2147483647 h 3030"/>
                <a:gd name="T50" fmla="*/ 2147483647 w 1158"/>
                <a:gd name="T51" fmla="*/ 2147483647 h 3030"/>
                <a:gd name="T52" fmla="*/ 2147483647 w 1158"/>
                <a:gd name="T53" fmla="*/ 2147483647 h 3030"/>
                <a:gd name="T54" fmla="*/ 2147483647 w 1158"/>
                <a:gd name="T55" fmla="*/ 2147483647 h 3030"/>
                <a:gd name="T56" fmla="*/ 2147483647 w 1158"/>
                <a:gd name="T57" fmla="*/ 2147483647 h 3030"/>
                <a:gd name="T58" fmla="*/ 2147483647 w 1158"/>
                <a:gd name="T59" fmla="*/ 2147483647 h 3030"/>
                <a:gd name="T60" fmla="*/ 2147483647 w 1158"/>
                <a:gd name="T61" fmla="*/ 2147483647 h 3030"/>
                <a:gd name="T62" fmla="*/ 2147483647 w 1158"/>
                <a:gd name="T63" fmla="*/ 2147483647 h 3030"/>
                <a:gd name="T64" fmla="*/ 2147483647 w 1158"/>
                <a:gd name="T65" fmla="*/ 2147483647 h 3030"/>
                <a:gd name="T66" fmla="*/ 2147483647 w 1158"/>
                <a:gd name="T67" fmla="*/ 2147483647 h 3030"/>
                <a:gd name="T68" fmla="*/ 2147483647 w 1158"/>
                <a:gd name="T69" fmla="*/ 2147483647 h 3030"/>
                <a:gd name="T70" fmla="*/ 2147483647 w 1158"/>
                <a:gd name="T71" fmla="*/ 2147483647 h 3030"/>
                <a:gd name="T72" fmla="*/ 2147483647 w 1158"/>
                <a:gd name="T73" fmla="*/ 2147483647 h 3030"/>
                <a:gd name="T74" fmla="*/ 2147483647 w 1158"/>
                <a:gd name="T75" fmla="*/ 2147483647 h 3030"/>
                <a:gd name="T76" fmla="*/ 2147483647 w 1158"/>
                <a:gd name="T77" fmla="*/ 2147483647 h 3030"/>
                <a:gd name="T78" fmla="*/ 0 w 1158"/>
                <a:gd name="T79" fmla="*/ 2147483647 h 3030"/>
                <a:gd name="T80" fmla="*/ 2147483647 w 1158"/>
                <a:gd name="T81" fmla="*/ 2147483647 h 3030"/>
                <a:gd name="T82" fmla="*/ 2147483647 w 1158"/>
                <a:gd name="T83" fmla="*/ 2147483647 h 3030"/>
                <a:gd name="T84" fmla="*/ 2147483647 w 1158"/>
                <a:gd name="T85" fmla="*/ 2147483647 h 3030"/>
                <a:gd name="T86" fmla="*/ 2147483647 w 1158"/>
                <a:gd name="T87" fmla="*/ 2147483647 h 3030"/>
                <a:gd name="T88" fmla="*/ 2147483647 w 1158"/>
                <a:gd name="T89" fmla="*/ 2147483647 h 3030"/>
                <a:gd name="T90" fmla="*/ 2147483647 w 1158"/>
                <a:gd name="T91" fmla="*/ 2147483647 h 3030"/>
                <a:gd name="T92" fmla="*/ 2147483647 w 1158"/>
                <a:gd name="T93" fmla="*/ 2147483647 h 3030"/>
                <a:gd name="T94" fmla="*/ 2147483647 w 1158"/>
                <a:gd name="T95" fmla="*/ 2147483647 h 3030"/>
                <a:gd name="T96" fmla="*/ 2147483647 w 1158"/>
                <a:gd name="T97" fmla="*/ 2147483647 h 3030"/>
                <a:gd name="T98" fmla="*/ 2147483647 w 1158"/>
                <a:gd name="T99" fmla="*/ 2147483647 h 3030"/>
                <a:gd name="T100" fmla="*/ 2147483647 w 1158"/>
                <a:gd name="T101" fmla="*/ 2147483647 h 3030"/>
                <a:gd name="T102" fmla="*/ 2147483647 w 1158"/>
                <a:gd name="T103" fmla="*/ 2147483647 h 3030"/>
                <a:gd name="T104" fmla="*/ 2147483647 w 1158"/>
                <a:gd name="T105" fmla="*/ 2147483647 h 3030"/>
                <a:gd name="T106" fmla="*/ 2147483647 w 1158"/>
                <a:gd name="T107" fmla="*/ 2147483647 h 3030"/>
                <a:gd name="T108" fmla="*/ 2147483647 w 1158"/>
                <a:gd name="T109" fmla="*/ 2147483647 h 3030"/>
                <a:gd name="T110" fmla="*/ 2147483647 w 1158"/>
                <a:gd name="T111" fmla="*/ 2147483647 h 3030"/>
                <a:gd name="T112" fmla="*/ 2147483647 w 1158"/>
                <a:gd name="T113" fmla="*/ 2147483647 h 3030"/>
                <a:gd name="T114" fmla="*/ 2147483647 w 1158"/>
                <a:gd name="T115" fmla="*/ 2147483647 h 3030"/>
                <a:gd name="T116" fmla="*/ 2147483647 w 1158"/>
                <a:gd name="T117" fmla="*/ 2147483647 h 3030"/>
                <a:gd name="T118" fmla="*/ 2147483647 w 1158"/>
                <a:gd name="T119" fmla="*/ 2147483647 h 3030"/>
                <a:gd name="T120" fmla="*/ 2147483647 w 1158"/>
                <a:gd name="T121" fmla="*/ 2147483647 h 3030"/>
                <a:gd name="T122" fmla="*/ 2147483647 w 1158"/>
                <a:gd name="T123" fmla="*/ 2147483647 h 303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58"/>
                <a:gd name="T187" fmla="*/ 0 h 3030"/>
                <a:gd name="T188" fmla="*/ 1158 w 1158"/>
                <a:gd name="T189" fmla="*/ 3030 h 303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58" h="3030">
                  <a:moveTo>
                    <a:pt x="1014" y="2910"/>
                  </a:moveTo>
                  <a:lnTo>
                    <a:pt x="984" y="2898"/>
                  </a:lnTo>
                  <a:lnTo>
                    <a:pt x="966" y="2880"/>
                  </a:lnTo>
                  <a:lnTo>
                    <a:pt x="948" y="2874"/>
                  </a:lnTo>
                  <a:lnTo>
                    <a:pt x="942" y="2862"/>
                  </a:lnTo>
                  <a:lnTo>
                    <a:pt x="936" y="2856"/>
                  </a:lnTo>
                  <a:lnTo>
                    <a:pt x="936" y="2850"/>
                  </a:lnTo>
                  <a:lnTo>
                    <a:pt x="906" y="2850"/>
                  </a:lnTo>
                  <a:lnTo>
                    <a:pt x="912" y="2832"/>
                  </a:lnTo>
                  <a:lnTo>
                    <a:pt x="870" y="2796"/>
                  </a:lnTo>
                  <a:lnTo>
                    <a:pt x="840" y="2802"/>
                  </a:lnTo>
                  <a:lnTo>
                    <a:pt x="828" y="2796"/>
                  </a:lnTo>
                  <a:lnTo>
                    <a:pt x="816" y="2808"/>
                  </a:lnTo>
                  <a:lnTo>
                    <a:pt x="792" y="2814"/>
                  </a:lnTo>
                  <a:lnTo>
                    <a:pt x="798" y="2832"/>
                  </a:lnTo>
                  <a:lnTo>
                    <a:pt x="780" y="2832"/>
                  </a:lnTo>
                  <a:lnTo>
                    <a:pt x="780" y="2862"/>
                  </a:lnTo>
                  <a:lnTo>
                    <a:pt x="786" y="2868"/>
                  </a:lnTo>
                  <a:lnTo>
                    <a:pt x="798" y="2868"/>
                  </a:lnTo>
                  <a:lnTo>
                    <a:pt x="810" y="2862"/>
                  </a:lnTo>
                  <a:lnTo>
                    <a:pt x="816" y="2856"/>
                  </a:lnTo>
                  <a:lnTo>
                    <a:pt x="828" y="2850"/>
                  </a:lnTo>
                  <a:lnTo>
                    <a:pt x="834" y="2844"/>
                  </a:lnTo>
                  <a:lnTo>
                    <a:pt x="858" y="2856"/>
                  </a:lnTo>
                  <a:lnTo>
                    <a:pt x="858" y="2874"/>
                  </a:lnTo>
                  <a:lnTo>
                    <a:pt x="846" y="2880"/>
                  </a:lnTo>
                  <a:lnTo>
                    <a:pt x="828" y="2898"/>
                  </a:lnTo>
                  <a:lnTo>
                    <a:pt x="822" y="2898"/>
                  </a:lnTo>
                  <a:lnTo>
                    <a:pt x="828" y="2904"/>
                  </a:lnTo>
                  <a:lnTo>
                    <a:pt x="882" y="2922"/>
                  </a:lnTo>
                  <a:lnTo>
                    <a:pt x="912" y="2928"/>
                  </a:lnTo>
                  <a:lnTo>
                    <a:pt x="924" y="2934"/>
                  </a:lnTo>
                  <a:lnTo>
                    <a:pt x="906" y="2958"/>
                  </a:lnTo>
                  <a:lnTo>
                    <a:pt x="906" y="2952"/>
                  </a:lnTo>
                  <a:lnTo>
                    <a:pt x="894" y="2940"/>
                  </a:lnTo>
                  <a:lnTo>
                    <a:pt x="876" y="2940"/>
                  </a:lnTo>
                  <a:lnTo>
                    <a:pt x="870" y="2946"/>
                  </a:lnTo>
                  <a:lnTo>
                    <a:pt x="870" y="2952"/>
                  </a:lnTo>
                  <a:lnTo>
                    <a:pt x="852" y="2928"/>
                  </a:lnTo>
                  <a:lnTo>
                    <a:pt x="834" y="2934"/>
                  </a:lnTo>
                  <a:lnTo>
                    <a:pt x="846" y="2946"/>
                  </a:lnTo>
                  <a:lnTo>
                    <a:pt x="816" y="2940"/>
                  </a:lnTo>
                  <a:lnTo>
                    <a:pt x="822" y="2946"/>
                  </a:lnTo>
                  <a:lnTo>
                    <a:pt x="828" y="2958"/>
                  </a:lnTo>
                  <a:lnTo>
                    <a:pt x="834" y="2964"/>
                  </a:lnTo>
                  <a:lnTo>
                    <a:pt x="894" y="2964"/>
                  </a:lnTo>
                  <a:lnTo>
                    <a:pt x="906" y="2970"/>
                  </a:lnTo>
                  <a:lnTo>
                    <a:pt x="1050" y="2970"/>
                  </a:lnTo>
                  <a:lnTo>
                    <a:pt x="1074" y="2982"/>
                  </a:lnTo>
                  <a:lnTo>
                    <a:pt x="1080" y="2988"/>
                  </a:lnTo>
                  <a:lnTo>
                    <a:pt x="1086" y="2988"/>
                  </a:lnTo>
                  <a:lnTo>
                    <a:pt x="1122" y="2970"/>
                  </a:lnTo>
                  <a:lnTo>
                    <a:pt x="1140" y="2976"/>
                  </a:lnTo>
                  <a:lnTo>
                    <a:pt x="1152" y="2976"/>
                  </a:lnTo>
                  <a:lnTo>
                    <a:pt x="1158" y="2952"/>
                  </a:lnTo>
                  <a:lnTo>
                    <a:pt x="1140" y="2952"/>
                  </a:lnTo>
                  <a:lnTo>
                    <a:pt x="1086" y="2940"/>
                  </a:lnTo>
                  <a:lnTo>
                    <a:pt x="1014" y="2910"/>
                  </a:lnTo>
                  <a:close/>
                  <a:moveTo>
                    <a:pt x="990" y="2988"/>
                  </a:moveTo>
                  <a:lnTo>
                    <a:pt x="1014" y="3000"/>
                  </a:lnTo>
                  <a:lnTo>
                    <a:pt x="1068" y="3006"/>
                  </a:lnTo>
                  <a:lnTo>
                    <a:pt x="1038" y="2982"/>
                  </a:lnTo>
                  <a:lnTo>
                    <a:pt x="990" y="2988"/>
                  </a:lnTo>
                  <a:close/>
                  <a:moveTo>
                    <a:pt x="960" y="2994"/>
                  </a:moveTo>
                  <a:lnTo>
                    <a:pt x="966" y="2982"/>
                  </a:lnTo>
                  <a:lnTo>
                    <a:pt x="888" y="2982"/>
                  </a:lnTo>
                  <a:lnTo>
                    <a:pt x="906" y="3012"/>
                  </a:lnTo>
                  <a:lnTo>
                    <a:pt x="936" y="3018"/>
                  </a:lnTo>
                  <a:lnTo>
                    <a:pt x="930" y="3006"/>
                  </a:lnTo>
                  <a:lnTo>
                    <a:pt x="936" y="3000"/>
                  </a:lnTo>
                  <a:lnTo>
                    <a:pt x="948" y="3012"/>
                  </a:lnTo>
                  <a:lnTo>
                    <a:pt x="996" y="3012"/>
                  </a:lnTo>
                  <a:lnTo>
                    <a:pt x="1008" y="3030"/>
                  </a:lnTo>
                  <a:lnTo>
                    <a:pt x="1026" y="3030"/>
                  </a:lnTo>
                  <a:lnTo>
                    <a:pt x="996" y="3000"/>
                  </a:lnTo>
                  <a:lnTo>
                    <a:pt x="960" y="2994"/>
                  </a:lnTo>
                  <a:close/>
                  <a:moveTo>
                    <a:pt x="804" y="2946"/>
                  </a:moveTo>
                  <a:lnTo>
                    <a:pt x="744" y="2940"/>
                  </a:lnTo>
                  <a:lnTo>
                    <a:pt x="750" y="2958"/>
                  </a:lnTo>
                  <a:lnTo>
                    <a:pt x="792" y="2958"/>
                  </a:lnTo>
                  <a:lnTo>
                    <a:pt x="804" y="2976"/>
                  </a:lnTo>
                  <a:lnTo>
                    <a:pt x="864" y="3000"/>
                  </a:lnTo>
                  <a:lnTo>
                    <a:pt x="828" y="2970"/>
                  </a:lnTo>
                  <a:lnTo>
                    <a:pt x="804" y="2946"/>
                  </a:lnTo>
                  <a:close/>
                  <a:moveTo>
                    <a:pt x="804" y="2880"/>
                  </a:moveTo>
                  <a:lnTo>
                    <a:pt x="786" y="2898"/>
                  </a:lnTo>
                  <a:lnTo>
                    <a:pt x="792" y="2928"/>
                  </a:lnTo>
                  <a:lnTo>
                    <a:pt x="816" y="2922"/>
                  </a:lnTo>
                  <a:lnTo>
                    <a:pt x="804" y="2880"/>
                  </a:lnTo>
                  <a:close/>
                  <a:moveTo>
                    <a:pt x="774" y="2928"/>
                  </a:moveTo>
                  <a:lnTo>
                    <a:pt x="768" y="2910"/>
                  </a:lnTo>
                  <a:lnTo>
                    <a:pt x="720" y="2898"/>
                  </a:lnTo>
                  <a:lnTo>
                    <a:pt x="708" y="2916"/>
                  </a:lnTo>
                  <a:lnTo>
                    <a:pt x="708" y="2934"/>
                  </a:lnTo>
                  <a:lnTo>
                    <a:pt x="744" y="2922"/>
                  </a:lnTo>
                  <a:lnTo>
                    <a:pt x="774" y="2928"/>
                  </a:lnTo>
                  <a:close/>
                  <a:moveTo>
                    <a:pt x="612" y="2772"/>
                  </a:moveTo>
                  <a:lnTo>
                    <a:pt x="606" y="2766"/>
                  </a:lnTo>
                  <a:lnTo>
                    <a:pt x="594" y="2766"/>
                  </a:lnTo>
                  <a:lnTo>
                    <a:pt x="588" y="2760"/>
                  </a:lnTo>
                  <a:lnTo>
                    <a:pt x="570" y="2760"/>
                  </a:lnTo>
                  <a:lnTo>
                    <a:pt x="570" y="2766"/>
                  </a:lnTo>
                  <a:lnTo>
                    <a:pt x="564" y="2778"/>
                  </a:lnTo>
                  <a:lnTo>
                    <a:pt x="564" y="2808"/>
                  </a:lnTo>
                  <a:lnTo>
                    <a:pt x="570" y="2808"/>
                  </a:lnTo>
                  <a:lnTo>
                    <a:pt x="576" y="2802"/>
                  </a:lnTo>
                  <a:lnTo>
                    <a:pt x="588" y="2802"/>
                  </a:lnTo>
                  <a:lnTo>
                    <a:pt x="594" y="2796"/>
                  </a:lnTo>
                  <a:lnTo>
                    <a:pt x="600" y="2820"/>
                  </a:lnTo>
                  <a:lnTo>
                    <a:pt x="630" y="2808"/>
                  </a:lnTo>
                  <a:lnTo>
                    <a:pt x="612" y="2790"/>
                  </a:lnTo>
                  <a:lnTo>
                    <a:pt x="618" y="2772"/>
                  </a:lnTo>
                  <a:lnTo>
                    <a:pt x="612" y="2772"/>
                  </a:lnTo>
                  <a:close/>
                  <a:moveTo>
                    <a:pt x="552" y="2826"/>
                  </a:moveTo>
                  <a:lnTo>
                    <a:pt x="516" y="2808"/>
                  </a:lnTo>
                  <a:lnTo>
                    <a:pt x="546" y="2832"/>
                  </a:lnTo>
                  <a:lnTo>
                    <a:pt x="588" y="2844"/>
                  </a:lnTo>
                  <a:lnTo>
                    <a:pt x="606" y="2850"/>
                  </a:lnTo>
                  <a:lnTo>
                    <a:pt x="588" y="2832"/>
                  </a:lnTo>
                  <a:lnTo>
                    <a:pt x="552" y="2826"/>
                  </a:lnTo>
                  <a:close/>
                  <a:moveTo>
                    <a:pt x="552" y="2748"/>
                  </a:moveTo>
                  <a:lnTo>
                    <a:pt x="534" y="2730"/>
                  </a:lnTo>
                  <a:lnTo>
                    <a:pt x="528" y="2766"/>
                  </a:lnTo>
                  <a:lnTo>
                    <a:pt x="504" y="2772"/>
                  </a:lnTo>
                  <a:lnTo>
                    <a:pt x="546" y="2784"/>
                  </a:lnTo>
                  <a:lnTo>
                    <a:pt x="552" y="2748"/>
                  </a:lnTo>
                  <a:close/>
                  <a:moveTo>
                    <a:pt x="444" y="2736"/>
                  </a:moveTo>
                  <a:lnTo>
                    <a:pt x="480" y="2772"/>
                  </a:lnTo>
                  <a:lnTo>
                    <a:pt x="492" y="2760"/>
                  </a:lnTo>
                  <a:lnTo>
                    <a:pt x="462" y="2724"/>
                  </a:lnTo>
                  <a:lnTo>
                    <a:pt x="444" y="2736"/>
                  </a:lnTo>
                  <a:close/>
                  <a:moveTo>
                    <a:pt x="516" y="2724"/>
                  </a:moveTo>
                  <a:lnTo>
                    <a:pt x="504" y="2718"/>
                  </a:lnTo>
                  <a:lnTo>
                    <a:pt x="492" y="2730"/>
                  </a:lnTo>
                  <a:lnTo>
                    <a:pt x="504" y="2748"/>
                  </a:lnTo>
                  <a:lnTo>
                    <a:pt x="516" y="2724"/>
                  </a:lnTo>
                  <a:close/>
                  <a:moveTo>
                    <a:pt x="456" y="2706"/>
                  </a:moveTo>
                  <a:lnTo>
                    <a:pt x="462" y="2676"/>
                  </a:lnTo>
                  <a:lnTo>
                    <a:pt x="456" y="2640"/>
                  </a:lnTo>
                  <a:lnTo>
                    <a:pt x="438" y="2634"/>
                  </a:lnTo>
                  <a:lnTo>
                    <a:pt x="438" y="2652"/>
                  </a:lnTo>
                  <a:lnTo>
                    <a:pt x="408" y="2646"/>
                  </a:lnTo>
                  <a:lnTo>
                    <a:pt x="432" y="2682"/>
                  </a:lnTo>
                  <a:lnTo>
                    <a:pt x="426" y="2724"/>
                  </a:lnTo>
                  <a:lnTo>
                    <a:pt x="456" y="2706"/>
                  </a:lnTo>
                  <a:close/>
                  <a:moveTo>
                    <a:pt x="366" y="2622"/>
                  </a:moveTo>
                  <a:lnTo>
                    <a:pt x="384" y="2628"/>
                  </a:lnTo>
                  <a:lnTo>
                    <a:pt x="390" y="2658"/>
                  </a:lnTo>
                  <a:lnTo>
                    <a:pt x="396" y="2628"/>
                  </a:lnTo>
                  <a:lnTo>
                    <a:pt x="402" y="2604"/>
                  </a:lnTo>
                  <a:lnTo>
                    <a:pt x="372" y="2598"/>
                  </a:lnTo>
                  <a:lnTo>
                    <a:pt x="366" y="2622"/>
                  </a:lnTo>
                  <a:close/>
                  <a:moveTo>
                    <a:pt x="372" y="2586"/>
                  </a:moveTo>
                  <a:lnTo>
                    <a:pt x="378" y="2586"/>
                  </a:lnTo>
                  <a:lnTo>
                    <a:pt x="378" y="2580"/>
                  </a:lnTo>
                  <a:lnTo>
                    <a:pt x="384" y="2574"/>
                  </a:lnTo>
                  <a:lnTo>
                    <a:pt x="414" y="2598"/>
                  </a:lnTo>
                  <a:lnTo>
                    <a:pt x="414" y="2574"/>
                  </a:lnTo>
                  <a:lnTo>
                    <a:pt x="384" y="2544"/>
                  </a:lnTo>
                  <a:lnTo>
                    <a:pt x="378" y="2532"/>
                  </a:lnTo>
                  <a:lnTo>
                    <a:pt x="372" y="2526"/>
                  </a:lnTo>
                  <a:lnTo>
                    <a:pt x="360" y="2502"/>
                  </a:lnTo>
                  <a:lnTo>
                    <a:pt x="360" y="2490"/>
                  </a:lnTo>
                  <a:lnTo>
                    <a:pt x="342" y="2454"/>
                  </a:lnTo>
                  <a:lnTo>
                    <a:pt x="330" y="2448"/>
                  </a:lnTo>
                  <a:lnTo>
                    <a:pt x="324" y="2442"/>
                  </a:lnTo>
                  <a:lnTo>
                    <a:pt x="318" y="2442"/>
                  </a:lnTo>
                  <a:lnTo>
                    <a:pt x="312" y="2448"/>
                  </a:lnTo>
                  <a:lnTo>
                    <a:pt x="312" y="2454"/>
                  </a:lnTo>
                  <a:lnTo>
                    <a:pt x="294" y="2448"/>
                  </a:lnTo>
                  <a:lnTo>
                    <a:pt x="288" y="2454"/>
                  </a:lnTo>
                  <a:lnTo>
                    <a:pt x="288" y="2466"/>
                  </a:lnTo>
                  <a:lnTo>
                    <a:pt x="282" y="2472"/>
                  </a:lnTo>
                  <a:lnTo>
                    <a:pt x="282" y="2490"/>
                  </a:lnTo>
                  <a:lnTo>
                    <a:pt x="330" y="2490"/>
                  </a:lnTo>
                  <a:lnTo>
                    <a:pt x="312" y="2532"/>
                  </a:lnTo>
                  <a:lnTo>
                    <a:pt x="324" y="2532"/>
                  </a:lnTo>
                  <a:lnTo>
                    <a:pt x="348" y="2508"/>
                  </a:lnTo>
                  <a:lnTo>
                    <a:pt x="342" y="2532"/>
                  </a:lnTo>
                  <a:lnTo>
                    <a:pt x="342" y="2538"/>
                  </a:lnTo>
                  <a:lnTo>
                    <a:pt x="348" y="2544"/>
                  </a:lnTo>
                  <a:lnTo>
                    <a:pt x="366" y="2580"/>
                  </a:lnTo>
                  <a:lnTo>
                    <a:pt x="366" y="2586"/>
                  </a:lnTo>
                  <a:lnTo>
                    <a:pt x="372" y="2586"/>
                  </a:lnTo>
                  <a:close/>
                  <a:moveTo>
                    <a:pt x="246" y="2082"/>
                  </a:moveTo>
                  <a:lnTo>
                    <a:pt x="246" y="2034"/>
                  </a:lnTo>
                  <a:lnTo>
                    <a:pt x="216" y="2004"/>
                  </a:lnTo>
                  <a:lnTo>
                    <a:pt x="234" y="1992"/>
                  </a:lnTo>
                  <a:lnTo>
                    <a:pt x="210" y="1968"/>
                  </a:lnTo>
                  <a:lnTo>
                    <a:pt x="174" y="1956"/>
                  </a:lnTo>
                  <a:lnTo>
                    <a:pt x="174" y="1986"/>
                  </a:lnTo>
                  <a:lnTo>
                    <a:pt x="180" y="1998"/>
                  </a:lnTo>
                  <a:lnTo>
                    <a:pt x="180" y="2004"/>
                  </a:lnTo>
                  <a:lnTo>
                    <a:pt x="192" y="2016"/>
                  </a:lnTo>
                  <a:lnTo>
                    <a:pt x="198" y="2028"/>
                  </a:lnTo>
                  <a:lnTo>
                    <a:pt x="204" y="2034"/>
                  </a:lnTo>
                  <a:lnTo>
                    <a:pt x="204" y="2046"/>
                  </a:lnTo>
                  <a:lnTo>
                    <a:pt x="198" y="2064"/>
                  </a:lnTo>
                  <a:lnTo>
                    <a:pt x="246" y="2082"/>
                  </a:lnTo>
                  <a:close/>
                  <a:moveTo>
                    <a:pt x="246" y="2178"/>
                  </a:moveTo>
                  <a:lnTo>
                    <a:pt x="258" y="2190"/>
                  </a:lnTo>
                  <a:lnTo>
                    <a:pt x="282" y="2190"/>
                  </a:lnTo>
                  <a:lnTo>
                    <a:pt x="294" y="2172"/>
                  </a:lnTo>
                  <a:lnTo>
                    <a:pt x="264" y="2178"/>
                  </a:lnTo>
                  <a:lnTo>
                    <a:pt x="246" y="2178"/>
                  </a:lnTo>
                  <a:close/>
                  <a:moveTo>
                    <a:pt x="282" y="2220"/>
                  </a:moveTo>
                  <a:lnTo>
                    <a:pt x="282" y="2238"/>
                  </a:lnTo>
                  <a:lnTo>
                    <a:pt x="306" y="2256"/>
                  </a:lnTo>
                  <a:lnTo>
                    <a:pt x="306" y="2232"/>
                  </a:lnTo>
                  <a:lnTo>
                    <a:pt x="294" y="2208"/>
                  </a:lnTo>
                  <a:lnTo>
                    <a:pt x="258" y="2208"/>
                  </a:lnTo>
                  <a:lnTo>
                    <a:pt x="282" y="2220"/>
                  </a:lnTo>
                  <a:close/>
                  <a:moveTo>
                    <a:pt x="318" y="2190"/>
                  </a:moveTo>
                  <a:lnTo>
                    <a:pt x="324" y="2184"/>
                  </a:lnTo>
                  <a:lnTo>
                    <a:pt x="336" y="2178"/>
                  </a:lnTo>
                  <a:lnTo>
                    <a:pt x="348" y="2166"/>
                  </a:lnTo>
                  <a:lnTo>
                    <a:pt x="336" y="2154"/>
                  </a:lnTo>
                  <a:lnTo>
                    <a:pt x="324" y="2154"/>
                  </a:lnTo>
                  <a:lnTo>
                    <a:pt x="312" y="2160"/>
                  </a:lnTo>
                  <a:lnTo>
                    <a:pt x="306" y="2166"/>
                  </a:lnTo>
                  <a:lnTo>
                    <a:pt x="306" y="2184"/>
                  </a:lnTo>
                  <a:lnTo>
                    <a:pt x="312" y="2190"/>
                  </a:lnTo>
                  <a:lnTo>
                    <a:pt x="318" y="2190"/>
                  </a:lnTo>
                  <a:close/>
                  <a:moveTo>
                    <a:pt x="252" y="2112"/>
                  </a:moveTo>
                  <a:lnTo>
                    <a:pt x="240" y="2118"/>
                  </a:lnTo>
                  <a:lnTo>
                    <a:pt x="240" y="2136"/>
                  </a:lnTo>
                  <a:lnTo>
                    <a:pt x="252" y="2136"/>
                  </a:lnTo>
                  <a:lnTo>
                    <a:pt x="264" y="2124"/>
                  </a:lnTo>
                  <a:lnTo>
                    <a:pt x="264" y="2106"/>
                  </a:lnTo>
                  <a:lnTo>
                    <a:pt x="258" y="2106"/>
                  </a:lnTo>
                  <a:lnTo>
                    <a:pt x="252" y="2112"/>
                  </a:lnTo>
                  <a:close/>
                  <a:moveTo>
                    <a:pt x="234" y="2154"/>
                  </a:moveTo>
                  <a:lnTo>
                    <a:pt x="216" y="2154"/>
                  </a:lnTo>
                  <a:lnTo>
                    <a:pt x="228" y="2178"/>
                  </a:lnTo>
                  <a:lnTo>
                    <a:pt x="234" y="2154"/>
                  </a:lnTo>
                  <a:close/>
                  <a:moveTo>
                    <a:pt x="714" y="2874"/>
                  </a:moveTo>
                  <a:lnTo>
                    <a:pt x="726" y="2874"/>
                  </a:lnTo>
                  <a:lnTo>
                    <a:pt x="726" y="2886"/>
                  </a:lnTo>
                  <a:lnTo>
                    <a:pt x="768" y="2886"/>
                  </a:lnTo>
                  <a:lnTo>
                    <a:pt x="774" y="2880"/>
                  </a:lnTo>
                  <a:lnTo>
                    <a:pt x="774" y="2874"/>
                  </a:lnTo>
                  <a:lnTo>
                    <a:pt x="744" y="2844"/>
                  </a:lnTo>
                  <a:lnTo>
                    <a:pt x="744" y="2808"/>
                  </a:lnTo>
                  <a:lnTo>
                    <a:pt x="786" y="2802"/>
                  </a:lnTo>
                  <a:lnTo>
                    <a:pt x="780" y="2790"/>
                  </a:lnTo>
                  <a:lnTo>
                    <a:pt x="804" y="2790"/>
                  </a:lnTo>
                  <a:lnTo>
                    <a:pt x="816" y="2772"/>
                  </a:lnTo>
                  <a:lnTo>
                    <a:pt x="792" y="2754"/>
                  </a:lnTo>
                  <a:lnTo>
                    <a:pt x="696" y="2754"/>
                  </a:lnTo>
                  <a:lnTo>
                    <a:pt x="684" y="2760"/>
                  </a:lnTo>
                  <a:lnTo>
                    <a:pt x="672" y="2760"/>
                  </a:lnTo>
                  <a:lnTo>
                    <a:pt x="654" y="2742"/>
                  </a:lnTo>
                  <a:lnTo>
                    <a:pt x="618" y="2724"/>
                  </a:lnTo>
                  <a:lnTo>
                    <a:pt x="606" y="2706"/>
                  </a:lnTo>
                  <a:lnTo>
                    <a:pt x="588" y="2682"/>
                  </a:lnTo>
                  <a:lnTo>
                    <a:pt x="588" y="2658"/>
                  </a:lnTo>
                  <a:lnTo>
                    <a:pt x="576" y="2646"/>
                  </a:lnTo>
                  <a:lnTo>
                    <a:pt x="564" y="2640"/>
                  </a:lnTo>
                  <a:lnTo>
                    <a:pt x="546" y="2640"/>
                  </a:lnTo>
                  <a:lnTo>
                    <a:pt x="534" y="2652"/>
                  </a:lnTo>
                  <a:lnTo>
                    <a:pt x="528" y="2652"/>
                  </a:lnTo>
                  <a:lnTo>
                    <a:pt x="516" y="2646"/>
                  </a:lnTo>
                  <a:lnTo>
                    <a:pt x="510" y="2640"/>
                  </a:lnTo>
                  <a:lnTo>
                    <a:pt x="510" y="2628"/>
                  </a:lnTo>
                  <a:lnTo>
                    <a:pt x="504" y="2622"/>
                  </a:lnTo>
                  <a:lnTo>
                    <a:pt x="504" y="2616"/>
                  </a:lnTo>
                  <a:lnTo>
                    <a:pt x="474" y="2610"/>
                  </a:lnTo>
                  <a:lnTo>
                    <a:pt x="474" y="2574"/>
                  </a:lnTo>
                  <a:lnTo>
                    <a:pt x="468" y="2568"/>
                  </a:lnTo>
                  <a:lnTo>
                    <a:pt x="462" y="2556"/>
                  </a:lnTo>
                  <a:lnTo>
                    <a:pt x="462" y="2544"/>
                  </a:lnTo>
                  <a:lnTo>
                    <a:pt x="474" y="2538"/>
                  </a:lnTo>
                  <a:lnTo>
                    <a:pt x="474" y="2514"/>
                  </a:lnTo>
                  <a:lnTo>
                    <a:pt x="480" y="2514"/>
                  </a:lnTo>
                  <a:lnTo>
                    <a:pt x="486" y="2508"/>
                  </a:lnTo>
                  <a:lnTo>
                    <a:pt x="492" y="2508"/>
                  </a:lnTo>
                  <a:lnTo>
                    <a:pt x="498" y="2502"/>
                  </a:lnTo>
                  <a:lnTo>
                    <a:pt x="498" y="2496"/>
                  </a:lnTo>
                  <a:lnTo>
                    <a:pt x="474" y="2472"/>
                  </a:lnTo>
                  <a:lnTo>
                    <a:pt x="480" y="2466"/>
                  </a:lnTo>
                  <a:lnTo>
                    <a:pt x="492" y="2460"/>
                  </a:lnTo>
                  <a:lnTo>
                    <a:pt x="498" y="2460"/>
                  </a:lnTo>
                  <a:lnTo>
                    <a:pt x="498" y="2454"/>
                  </a:lnTo>
                  <a:lnTo>
                    <a:pt x="474" y="2430"/>
                  </a:lnTo>
                  <a:lnTo>
                    <a:pt x="468" y="2430"/>
                  </a:lnTo>
                  <a:lnTo>
                    <a:pt x="474" y="2388"/>
                  </a:lnTo>
                  <a:lnTo>
                    <a:pt x="486" y="2382"/>
                  </a:lnTo>
                  <a:lnTo>
                    <a:pt x="474" y="2358"/>
                  </a:lnTo>
                  <a:lnTo>
                    <a:pt x="480" y="2322"/>
                  </a:lnTo>
                  <a:lnTo>
                    <a:pt x="456" y="2298"/>
                  </a:lnTo>
                  <a:lnTo>
                    <a:pt x="462" y="2274"/>
                  </a:lnTo>
                  <a:lnTo>
                    <a:pt x="438" y="2256"/>
                  </a:lnTo>
                  <a:lnTo>
                    <a:pt x="450" y="2244"/>
                  </a:lnTo>
                  <a:lnTo>
                    <a:pt x="456" y="2232"/>
                  </a:lnTo>
                  <a:lnTo>
                    <a:pt x="462" y="2226"/>
                  </a:lnTo>
                  <a:lnTo>
                    <a:pt x="438" y="2202"/>
                  </a:lnTo>
                  <a:lnTo>
                    <a:pt x="426" y="2202"/>
                  </a:lnTo>
                  <a:lnTo>
                    <a:pt x="420" y="2196"/>
                  </a:lnTo>
                  <a:lnTo>
                    <a:pt x="408" y="2190"/>
                  </a:lnTo>
                  <a:lnTo>
                    <a:pt x="402" y="2190"/>
                  </a:lnTo>
                  <a:lnTo>
                    <a:pt x="396" y="2184"/>
                  </a:lnTo>
                  <a:lnTo>
                    <a:pt x="414" y="2184"/>
                  </a:lnTo>
                  <a:lnTo>
                    <a:pt x="426" y="2178"/>
                  </a:lnTo>
                  <a:lnTo>
                    <a:pt x="438" y="2178"/>
                  </a:lnTo>
                  <a:lnTo>
                    <a:pt x="444" y="2172"/>
                  </a:lnTo>
                  <a:lnTo>
                    <a:pt x="444" y="2166"/>
                  </a:lnTo>
                  <a:lnTo>
                    <a:pt x="432" y="2160"/>
                  </a:lnTo>
                  <a:lnTo>
                    <a:pt x="402" y="2160"/>
                  </a:lnTo>
                  <a:lnTo>
                    <a:pt x="390" y="2148"/>
                  </a:lnTo>
                  <a:lnTo>
                    <a:pt x="390" y="2118"/>
                  </a:lnTo>
                  <a:lnTo>
                    <a:pt x="384" y="2106"/>
                  </a:lnTo>
                  <a:lnTo>
                    <a:pt x="384" y="2100"/>
                  </a:lnTo>
                  <a:lnTo>
                    <a:pt x="378" y="2094"/>
                  </a:lnTo>
                  <a:lnTo>
                    <a:pt x="366" y="2088"/>
                  </a:lnTo>
                  <a:lnTo>
                    <a:pt x="360" y="2088"/>
                  </a:lnTo>
                  <a:lnTo>
                    <a:pt x="366" y="2058"/>
                  </a:lnTo>
                  <a:lnTo>
                    <a:pt x="342" y="2046"/>
                  </a:lnTo>
                  <a:lnTo>
                    <a:pt x="336" y="2040"/>
                  </a:lnTo>
                  <a:lnTo>
                    <a:pt x="336" y="2028"/>
                  </a:lnTo>
                  <a:lnTo>
                    <a:pt x="330" y="2016"/>
                  </a:lnTo>
                  <a:lnTo>
                    <a:pt x="330" y="1998"/>
                  </a:lnTo>
                  <a:lnTo>
                    <a:pt x="324" y="1986"/>
                  </a:lnTo>
                  <a:lnTo>
                    <a:pt x="324" y="1974"/>
                  </a:lnTo>
                  <a:lnTo>
                    <a:pt x="330" y="1968"/>
                  </a:lnTo>
                  <a:lnTo>
                    <a:pt x="342" y="1962"/>
                  </a:lnTo>
                  <a:lnTo>
                    <a:pt x="348" y="1962"/>
                  </a:lnTo>
                  <a:lnTo>
                    <a:pt x="336" y="1950"/>
                  </a:lnTo>
                  <a:lnTo>
                    <a:pt x="324" y="1944"/>
                  </a:lnTo>
                  <a:lnTo>
                    <a:pt x="306" y="1926"/>
                  </a:lnTo>
                  <a:lnTo>
                    <a:pt x="300" y="1914"/>
                  </a:lnTo>
                  <a:lnTo>
                    <a:pt x="300" y="1890"/>
                  </a:lnTo>
                  <a:lnTo>
                    <a:pt x="294" y="1878"/>
                  </a:lnTo>
                  <a:lnTo>
                    <a:pt x="288" y="1872"/>
                  </a:lnTo>
                  <a:lnTo>
                    <a:pt x="288" y="1842"/>
                  </a:lnTo>
                  <a:lnTo>
                    <a:pt x="294" y="1836"/>
                  </a:lnTo>
                  <a:lnTo>
                    <a:pt x="294" y="1824"/>
                  </a:lnTo>
                  <a:lnTo>
                    <a:pt x="276" y="1812"/>
                  </a:lnTo>
                  <a:lnTo>
                    <a:pt x="276" y="1806"/>
                  </a:lnTo>
                  <a:lnTo>
                    <a:pt x="282" y="1794"/>
                  </a:lnTo>
                  <a:lnTo>
                    <a:pt x="282" y="1788"/>
                  </a:lnTo>
                  <a:lnTo>
                    <a:pt x="264" y="1770"/>
                  </a:lnTo>
                  <a:lnTo>
                    <a:pt x="282" y="1758"/>
                  </a:lnTo>
                  <a:lnTo>
                    <a:pt x="270" y="1716"/>
                  </a:lnTo>
                  <a:lnTo>
                    <a:pt x="276" y="1716"/>
                  </a:lnTo>
                  <a:lnTo>
                    <a:pt x="282" y="1710"/>
                  </a:lnTo>
                  <a:lnTo>
                    <a:pt x="294" y="1704"/>
                  </a:lnTo>
                  <a:lnTo>
                    <a:pt x="300" y="1692"/>
                  </a:lnTo>
                  <a:lnTo>
                    <a:pt x="300" y="1686"/>
                  </a:lnTo>
                  <a:lnTo>
                    <a:pt x="282" y="1668"/>
                  </a:lnTo>
                  <a:lnTo>
                    <a:pt x="276" y="1668"/>
                  </a:lnTo>
                  <a:lnTo>
                    <a:pt x="276" y="1650"/>
                  </a:lnTo>
                  <a:lnTo>
                    <a:pt x="246" y="1626"/>
                  </a:lnTo>
                  <a:lnTo>
                    <a:pt x="246" y="1578"/>
                  </a:lnTo>
                  <a:lnTo>
                    <a:pt x="240" y="1566"/>
                  </a:lnTo>
                  <a:lnTo>
                    <a:pt x="234" y="1548"/>
                  </a:lnTo>
                  <a:lnTo>
                    <a:pt x="234" y="1536"/>
                  </a:lnTo>
                  <a:lnTo>
                    <a:pt x="228" y="1530"/>
                  </a:lnTo>
                  <a:lnTo>
                    <a:pt x="228" y="1524"/>
                  </a:lnTo>
                  <a:lnTo>
                    <a:pt x="252" y="1518"/>
                  </a:lnTo>
                  <a:lnTo>
                    <a:pt x="258" y="1500"/>
                  </a:lnTo>
                  <a:lnTo>
                    <a:pt x="258" y="1494"/>
                  </a:lnTo>
                  <a:lnTo>
                    <a:pt x="264" y="1482"/>
                  </a:lnTo>
                  <a:lnTo>
                    <a:pt x="264" y="1470"/>
                  </a:lnTo>
                  <a:lnTo>
                    <a:pt x="258" y="1464"/>
                  </a:lnTo>
                  <a:lnTo>
                    <a:pt x="252" y="1452"/>
                  </a:lnTo>
                  <a:lnTo>
                    <a:pt x="246" y="1446"/>
                  </a:lnTo>
                  <a:lnTo>
                    <a:pt x="240" y="1434"/>
                  </a:lnTo>
                  <a:lnTo>
                    <a:pt x="234" y="1428"/>
                  </a:lnTo>
                  <a:lnTo>
                    <a:pt x="246" y="1428"/>
                  </a:lnTo>
                  <a:lnTo>
                    <a:pt x="246" y="1398"/>
                  </a:lnTo>
                  <a:lnTo>
                    <a:pt x="252" y="1380"/>
                  </a:lnTo>
                  <a:lnTo>
                    <a:pt x="252" y="1356"/>
                  </a:lnTo>
                  <a:lnTo>
                    <a:pt x="270" y="1338"/>
                  </a:lnTo>
                  <a:lnTo>
                    <a:pt x="270" y="1332"/>
                  </a:lnTo>
                  <a:lnTo>
                    <a:pt x="264" y="1320"/>
                  </a:lnTo>
                  <a:lnTo>
                    <a:pt x="258" y="1314"/>
                  </a:lnTo>
                  <a:lnTo>
                    <a:pt x="252" y="1302"/>
                  </a:lnTo>
                  <a:lnTo>
                    <a:pt x="246" y="1260"/>
                  </a:lnTo>
                  <a:lnTo>
                    <a:pt x="222" y="1260"/>
                  </a:lnTo>
                  <a:lnTo>
                    <a:pt x="210" y="1248"/>
                  </a:lnTo>
                  <a:lnTo>
                    <a:pt x="210" y="1236"/>
                  </a:lnTo>
                  <a:lnTo>
                    <a:pt x="216" y="1230"/>
                  </a:lnTo>
                  <a:lnTo>
                    <a:pt x="210" y="1218"/>
                  </a:lnTo>
                  <a:lnTo>
                    <a:pt x="198" y="1188"/>
                  </a:lnTo>
                  <a:lnTo>
                    <a:pt x="180" y="1170"/>
                  </a:lnTo>
                  <a:lnTo>
                    <a:pt x="180" y="1164"/>
                  </a:lnTo>
                  <a:lnTo>
                    <a:pt x="186" y="1158"/>
                  </a:lnTo>
                  <a:lnTo>
                    <a:pt x="186" y="1146"/>
                  </a:lnTo>
                  <a:lnTo>
                    <a:pt x="168" y="1128"/>
                  </a:lnTo>
                  <a:lnTo>
                    <a:pt x="156" y="1122"/>
                  </a:lnTo>
                  <a:lnTo>
                    <a:pt x="156" y="1116"/>
                  </a:lnTo>
                  <a:lnTo>
                    <a:pt x="150" y="1110"/>
                  </a:lnTo>
                  <a:lnTo>
                    <a:pt x="150" y="1086"/>
                  </a:lnTo>
                  <a:lnTo>
                    <a:pt x="156" y="1086"/>
                  </a:lnTo>
                  <a:lnTo>
                    <a:pt x="168" y="1080"/>
                  </a:lnTo>
                  <a:lnTo>
                    <a:pt x="162" y="1026"/>
                  </a:lnTo>
                  <a:lnTo>
                    <a:pt x="186" y="1026"/>
                  </a:lnTo>
                  <a:lnTo>
                    <a:pt x="186" y="1020"/>
                  </a:lnTo>
                  <a:lnTo>
                    <a:pt x="180" y="1008"/>
                  </a:lnTo>
                  <a:lnTo>
                    <a:pt x="168" y="972"/>
                  </a:lnTo>
                  <a:lnTo>
                    <a:pt x="156" y="948"/>
                  </a:lnTo>
                  <a:lnTo>
                    <a:pt x="156" y="936"/>
                  </a:lnTo>
                  <a:lnTo>
                    <a:pt x="168" y="924"/>
                  </a:lnTo>
                  <a:lnTo>
                    <a:pt x="168" y="858"/>
                  </a:lnTo>
                  <a:lnTo>
                    <a:pt x="174" y="852"/>
                  </a:lnTo>
                  <a:lnTo>
                    <a:pt x="180" y="840"/>
                  </a:lnTo>
                  <a:lnTo>
                    <a:pt x="192" y="828"/>
                  </a:lnTo>
                  <a:lnTo>
                    <a:pt x="192" y="816"/>
                  </a:lnTo>
                  <a:lnTo>
                    <a:pt x="198" y="804"/>
                  </a:lnTo>
                  <a:lnTo>
                    <a:pt x="198" y="792"/>
                  </a:lnTo>
                  <a:lnTo>
                    <a:pt x="204" y="774"/>
                  </a:lnTo>
                  <a:lnTo>
                    <a:pt x="204" y="762"/>
                  </a:lnTo>
                  <a:lnTo>
                    <a:pt x="222" y="762"/>
                  </a:lnTo>
                  <a:lnTo>
                    <a:pt x="228" y="756"/>
                  </a:lnTo>
                  <a:lnTo>
                    <a:pt x="240" y="750"/>
                  </a:lnTo>
                  <a:lnTo>
                    <a:pt x="240" y="738"/>
                  </a:lnTo>
                  <a:lnTo>
                    <a:pt x="234" y="726"/>
                  </a:lnTo>
                  <a:lnTo>
                    <a:pt x="210" y="714"/>
                  </a:lnTo>
                  <a:lnTo>
                    <a:pt x="204" y="708"/>
                  </a:lnTo>
                  <a:lnTo>
                    <a:pt x="198" y="708"/>
                  </a:lnTo>
                  <a:lnTo>
                    <a:pt x="204" y="708"/>
                  </a:lnTo>
                  <a:lnTo>
                    <a:pt x="216" y="696"/>
                  </a:lnTo>
                  <a:lnTo>
                    <a:pt x="222" y="684"/>
                  </a:lnTo>
                  <a:lnTo>
                    <a:pt x="228" y="678"/>
                  </a:lnTo>
                  <a:lnTo>
                    <a:pt x="222" y="666"/>
                  </a:lnTo>
                  <a:lnTo>
                    <a:pt x="210" y="654"/>
                  </a:lnTo>
                  <a:lnTo>
                    <a:pt x="198" y="648"/>
                  </a:lnTo>
                  <a:lnTo>
                    <a:pt x="192" y="642"/>
                  </a:lnTo>
                  <a:lnTo>
                    <a:pt x="192" y="624"/>
                  </a:lnTo>
                  <a:lnTo>
                    <a:pt x="216" y="600"/>
                  </a:lnTo>
                  <a:lnTo>
                    <a:pt x="216" y="594"/>
                  </a:lnTo>
                  <a:lnTo>
                    <a:pt x="204" y="594"/>
                  </a:lnTo>
                  <a:lnTo>
                    <a:pt x="192" y="588"/>
                  </a:lnTo>
                  <a:lnTo>
                    <a:pt x="186" y="582"/>
                  </a:lnTo>
                  <a:lnTo>
                    <a:pt x="186" y="576"/>
                  </a:lnTo>
                  <a:lnTo>
                    <a:pt x="192" y="570"/>
                  </a:lnTo>
                  <a:lnTo>
                    <a:pt x="198" y="558"/>
                  </a:lnTo>
                  <a:lnTo>
                    <a:pt x="210" y="552"/>
                  </a:lnTo>
                  <a:lnTo>
                    <a:pt x="222" y="540"/>
                  </a:lnTo>
                  <a:lnTo>
                    <a:pt x="240" y="534"/>
                  </a:lnTo>
                  <a:lnTo>
                    <a:pt x="252" y="528"/>
                  </a:lnTo>
                  <a:lnTo>
                    <a:pt x="258" y="522"/>
                  </a:lnTo>
                  <a:lnTo>
                    <a:pt x="264" y="522"/>
                  </a:lnTo>
                  <a:lnTo>
                    <a:pt x="276" y="438"/>
                  </a:lnTo>
                  <a:lnTo>
                    <a:pt x="264" y="420"/>
                  </a:lnTo>
                  <a:lnTo>
                    <a:pt x="222" y="420"/>
                  </a:lnTo>
                  <a:lnTo>
                    <a:pt x="216" y="408"/>
                  </a:lnTo>
                  <a:lnTo>
                    <a:pt x="216" y="384"/>
                  </a:lnTo>
                  <a:lnTo>
                    <a:pt x="192" y="360"/>
                  </a:lnTo>
                  <a:lnTo>
                    <a:pt x="192" y="294"/>
                  </a:lnTo>
                  <a:lnTo>
                    <a:pt x="186" y="288"/>
                  </a:lnTo>
                  <a:lnTo>
                    <a:pt x="174" y="282"/>
                  </a:lnTo>
                  <a:lnTo>
                    <a:pt x="168" y="276"/>
                  </a:lnTo>
                  <a:lnTo>
                    <a:pt x="156" y="270"/>
                  </a:lnTo>
                  <a:lnTo>
                    <a:pt x="150" y="264"/>
                  </a:lnTo>
                  <a:lnTo>
                    <a:pt x="144" y="264"/>
                  </a:lnTo>
                  <a:lnTo>
                    <a:pt x="144" y="240"/>
                  </a:lnTo>
                  <a:lnTo>
                    <a:pt x="138" y="234"/>
                  </a:lnTo>
                  <a:lnTo>
                    <a:pt x="132" y="222"/>
                  </a:lnTo>
                  <a:lnTo>
                    <a:pt x="132" y="210"/>
                  </a:lnTo>
                  <a:lnTo>
                    <a:pt x="138" y="204"/>
                  </a:lnTo>
                  <a:lnTo>
                    <a:pt x="144" y="192"/>
                  </a:lnTo>
                  <a:lnTo>
                    <a:pt x="150" y="186"/>
                  </a:lnTo>
                  <a:lnTo>
                    <a:pt x="132" y="168"/>
                  </a:lnTo>
                  <a:lnTo>
                    <a:pt x="144" y="156"/>
                  </a:lnTo>
                  <a:lnTo>
                    <a:pt x="150" y="144"/>
                  </a:lnTo>
                  <a:lnTo>
                    <a:pt x="150" y="138"/>
                  </a:lnTo>
                  <a:lnTo>
                    <a:pt x="144" y="126"/>
                  </a:lnTo>
                  <a:lnTo>
                    <a:pt x="120" y="114"/>
                  </a:lnTo>
                  <a:lnTo>
                    <a:pt x="114" y="114"/>
                  </a:lnTo>
                  <a:lnTo>
                    <a:pt x="102" y="108"/>
                  </a:lnTo>
                  <a:lnTo>
                    <a:pt x="90" y="30"/>
                  </a:lnTo>
                  <a:lnTo>
                    <a:pt x="66" y="30"/>
                  </a:lnTo>
                  <a:lnTo>
                    <a:pt x="48" y="0"/>
                  </a:lnTo>
                  <a:lnTo>
                    <a:pt x="36" y="6"/>
                  </a:lnTo>
                  <a:lnTo>
                    <a:pt x="42" y="18"/>
                  </a:lnTo>
                  <a:lnTo>
                    <a:pt x="42" y="36"/>
                  </a:lnTo>
                  <a:lnTo>
                    <a:pt x="36" y="42"/>
                  </a:lnTo>
                  <a:lnTo>
                    <a:pt x="0" y="66"/>
                  </a:lnTo>
                  <a:lnTo>
                    <a:pt x="0" y="108"/>
                  </a:lnTo>
                  <a:lnTo>
                    <a:pt x="24" y="156"/>
                  </a:lnTo>
                  <a:lnTo>
                    <a:pt x="30" y="174"/>
                  </a:lnTo>
                  <a:lnTo>
                    <a:pt x="36" y="228"/>
                  </a:lnTo>
                  <a:lnTo>
                    <a:pt x="36" y="282"/>
                  </a:lnTo>
                  <a:lnTo>
                    <a:pt x="48" y="318"/>
                  </a:lnTo>
                  <a:lnTo>
                    <a:pt x="48" y="360"/>
                  </a:lnTo>
                  <a:lnTo>
                    <a:pt x="54" y="384"/>
                  </a:lnTo>
                  <a:lnTo>
                    <a:pt x="54" y="432"/>
                  </a:lnTo>
                  <a:lnTo>
                    <a:pt x="30" y="444"/>
                  </a:lnTo>
                  <a:lnTo>
                    <a:pt x="36" y="474"/>
                  </a:lnTo>
                  <a:lnTo>
                    <a:pt x="54" y="486"/>
                  </a:lnTo>
                  <a:lnTo>
                    <a:pt x="48" y="582"/>
                  </a:lnTo>
                  <a:lnTo>
                    <a:pt x="72" y="624"/>
                  </a:lnTo>
                  <a:lnTo>
                    <a:pt x="54" y="642"/>
                  </a:lnTo>
                  <a:lnTo>
                    <a:pt x="60" y="702"/>
                  </a:lnTo>
                  <a:lnTo>
                    <a:pt x="66" y="708"/>
                  </a:lnTo>
                  <a:lnTo>
                    <a:pt x="78" y="732"/>
                  </a:lnTo>
                  <a:lnTo>
                    <a:pt x="78" y="744"/>
                  </a:lnTo>
                  <a:lnTo>
                    <a:pt x="72" y="756"/>
                  </a:lnTo>
                  <a:lnTo>
                    <a:pt x="66" y="762"/>
                  </a:lnTo>
                  <a:lnTo>
                    <a:pt x="60" y="762"/>
                  </a:lnTo>
                  <a:lnTo>
                    <a:pt x="60" y="792"/>
                  </a:lnTo>
                  <a:lnTo>
                    <a:pt x="72" y="810"/>
                  </a:lnTo>
                  <a:lnTo>
                    <a:pt x="60" y="822"/>
                  </a:lnTo>
                  <a:lnTo>
                    <a:pt x="48" y="846"/>
                  </a:lnTo>
                  <a:lnTo>
                    <a:pt x="48" y="852"/>
                  </a:lnTo>
                  <a:lnTo>
                    <a:pt x="60" y="852"/>
                  </a:lnTo>
                  <a:lnTo>
                    <a:pt x="60" y="864"/>
                  </a:lnTo>
                  <a:lnTo>
                    <a:pt x="66" y="870"/>
                  </a:lnTo>
                  <a:lnTo>
                    <a:pt x="66" y="888"/>
                  </a:lnTo>
                  <a:lnTo>
                    <a:pt x="54" y="900"/>
                  </a:lnTo>
                  <a:lnTo>
                    <a:pt x="54" y="906"/>
                  </a:lnTo>
                  <a:lnTo>
                    <a:pt x="48" y="912"/>
                  </a:lnTo>
                  <a:lnTo>
                    <a:pt x="48" y="936"/>
                  </a:lnTo>
                  <a:lnTo>
                    <a:pt x="54" y="948"/>
                  </a:lnTo>
                  <a:lnTo>
                    <a:pt x="60" y="954"/>
                  </a:lnTo>
                  <a:lnTo>
                    <a:pt x="66" y="954"/>
                  </a:lnTo>
                  <a:lnTo>
                    <a:pt x="78" y="966"/>
                  </a:lnTo>
                  <a:lnTo>
                    <a:pt x="78" y="1020"/>
                  </a:lnTo>
                  <a:lnTo>
                    <a:pt x="60" y="1020"/>
                  </a:lnTo>
                  <a:lnTo>
                    <a:pt x="60" y="1044"/>
                  </a:lnTo>
                  <a:lnTo>
                    <a:pt x="66" y="1056"/>
                  </a:lnTo>
                  <a:lnTo>
                    <a:pt x="90" y="1128"/>
                  </a:lnTo>
                  <a:lnTo>
                    <a:pt x="96" y="1140"/>
                  </a:lnTo>
                  <a:lnTo>
                    <a:pt x="102" y="1146"/>
                  </a:lnTo>
                  <a:lnTo>
                    <a:pt x="102" y="1164"/>
                  </a:lnTo>
                  <a:lnTo>
                    <a:pt x="108" y="1170"/>
                  </a:lnTo>
                  <a:lnTo>
                    <a:pt x="114" y="1182"/>
                  </a:lnTo>
                  <a:lnTo>
                    <a:pt x="120" y="1188"/>
                  </a:lnTo>
                  <a:lnTo>
                    <a:pt x="120" y="1236"/>
                  </a:lnTo>
                  <a:lnTo>
                    <a:pt x="114" y="1266"/>
                  </a:lnTo>
                  <a:lnTo>
                    <a:pt x="138" y="1290"/>
                  </a:lnTo>
                  <a:lnTo>
                    <a:pt x="138" y="1296"/>
                  </a:lnTo>
                  <a:lnTo>
                    <a:pt x="132" y="1302"/>
                  </a:lnTo>
                  <a:lnTo>
                    <a:pt x="126" y="1314"/>
                  </a:lnTo>
                  <a:lnTo>
                    <a:pt x="126" y="1326"/>
                  </a:lnTo>
                  <a:lnTo>
                    <a:pt x="120" y="1338"/>
                  </a:lnTo>
                  <a:lnTo>
                    <a:pt x="120" y="1416"/>
                  </a:lnTo>
                  <a:lnTo>
                    <a:pt x="102" y="1452"/>
                  </a:lnTo>
                  <a:lnTo>
                    <a:pt x="114" y="1464"/>
                  </a:lnTo>
                  <a:lnTo>
                    <a:pt x="114" y="1470"/>
                  </a:lnTo>
                  <a:lnTo>
                    <a:pt x="108" y="1476"/>
                  </a:lnTo>
                  <a:lnTo>
                    <a:pt x="108" y="1536"/>
                  </a:lnTo>
                  <a:lnTo>
                    <a:pt x="102" y="1554"/>
                  </a:lnTo>
                  <a:lnTo>
                    <a:pt x="102" y="1578"/>
                  </a:lnTo>
                  <a:lnTo>
                    <a:pt x="84" y="1584"/>
                  </a:lnTo>
                  <a:lnTo>
                    <a:pt x="84" y="1608"/>
                  </a:lnTo>
                  <a:lnTo>
                    <a:pt x="108" y="1650"/>
                  </a:lnTo>
                  <a:lnTo>
                    <a:pt x="108" y="1692"/>
                  </a:lnTo>
                  <a:lnTo>
                    <a:pt x="114" y="1704"/>
                  </a:lnTo>
                  <a:lnTo>
                    <a:pt x="144" y="1734"/>
                  </a:lnTo>
                  <a:lnTo>
                    <a:pt x="156" y="1758"/>
                  </a:lnTo>
                  <a:lnTo>
                    <a:pt x="156" y="1800"/>
                  </a:lnTo>
                  <a:lnTo>
                    <a:pt x="150" y="1812"/>
                  </a:lnTo>
                  <a:lnTo>
                    <a:pt x="150" y="1824"/>
                  </a:lnTo>
                  <a:lnTo>
                    <a:pt x="162" y="1836"/>
                  </a:lnTo>
                  <a:lnTo>
                    <a:pt x="162" y="1896"/>
                  </a:lnTo>
                  <a:lnTo>
                    <a:pt x="168" y="1908"/>
                  </a:lnTo>
                  <a:lnTo>
                    <a:pt x="174" y="1914"/>
                  </a:lnTo>
                  <a:lnTo>
                    <a:pt x="186" y="1920"/>
                  </a:lnTo>
                  <a:lnTo>
                    <a:pt x="192" y="1926"/>
                  </a:lnTo>
                  <a:lnTo>
                    <a:pt x="198" y="1926"/>
                  </a:lnTo>
                  <a:lnTo>
                    <a:pt x="192" y="1944"/>
                  </a:lnTo>
                  <a:lnTo>
                    <a:pt x="234" y="1944"/>
                  </a:lnTo>
                  <a:lnTo>
                    <a:pt x="234" y="1914"/>
                  </a:lnTo>
                  <a:lnTo>
                    <a:pt x="246" y="1926"/>
                  </a:lnTo>
                  <a:lnTo>
                    <a:pt x="258" y="1932"/>
                  </a:lnTo>
                  <a:lnTo>
                    <a:pt x="270" y="1932"/>
                  </a:lnTo>
                  <a:lnTo>
                    <a:pt x="276" y="1926"/>
                  </a:lnTo>
                  <a:lnTo>
                    <a:pt x="276" y="1914"/>
                  </a:lnTo>
                  <a:lnTo>
                    <a:pt x="288" y="1932"/>
                  </a:lnTo>
                  <a:lnTo>
                    <a:pt x="282" y="1938"/>
                  </a:lnTo>
                  <a:lnTo>
                    <a:pt x="270" y="1944"/>
                  </a:lnTo>
                  <a:lnTo>
                    <a:pt x="264" y="1956"/>
                  </a:lnTo>
                  <a:lnTo>
                    <a:pt x="258" y="1962"/>
                  </a:lnTo>
                  <a:lnTo>
                    <a:pt x="258" y="1968"/>
                  </a:lnTo>
                  <a:lnTo>
                    <a:pt x="288" y="1968"/>
                  </a:lnTo>
                  <a:lnTo>
                    <a:pt x="294" y="1974"/>
                  </a:lnTo>
                  <a:lnTo>
                    <a:pt x="294" y="1992"/>
                  </a:lnTo>
                  <a:lnTo>
                    <a:pt x="270" y="1986"/>
                  </a:lnTo>
                  <a:lnTo>
                    <a:pt x="288" y="2010"/>
                  </a:lnTo>
                  <a:lnTo>
                    <a:pt x="276" y="2022"/>
                  </a:lnTo>
                  <a:lnTo>
                    <a:pt x="294" y="2046"/>
                  </a:lnTo>
                  <a:lnTo>
                    <a:pt x="276" y="2064"/>
                  </a:lnTo>
                  <a:lnTo>
                    <a:pt x="270" y="2076"/>
                  </a:lnTo>
                  <a:lnTo>
                    <a:pt x="270" y="2082"/>
                  </a:lnTo>
                  <a:lnTo>
                    <a:pt x="276" y="2088"/>
                  </a:lnTo>
                  <a:lnTo>
                    <a:pt x="282" y="2088"/>
                  </a:lnTo>
                  <a:lnTo>
                    <a:pt x="306" y="2100"/>
                  </a:lnTo>
                  <a:lnTo>
                    <a:pt x="318" y="2100"/>
                  </a:lnTo>
                  <a:lnTo>
                    <a:pt x="300" y="2118"/>
                  </a:lnTo>
                  <a:lnTo>
                    <a:pt x="300" y="2130"/>
                  </a:lnTo>
                  <a:lnTo>
                    <a:pt x="312" y="2136"/>
                  </a:lnTo>
                  <a:lnTo>
                    <a:pt x="318" y="2142"/>
                  </a:lnTo>
                  <a:lnTo>
                    <a:pt x="330" y="2148"/>
                  </a:lnTo>
                  <a:lnTo>
                    <a:pt x="354" y="2148"/>
                  </a:lnTo>
                  <a:lnTo>
                    <a:pt x="360" y="2184"/>
                  </a:lnTo>
                  <a:lnTo>
                    <a:pt x="354" y="2184"/>
                  </a:lnTo>
                  <a:lnTo>
                    <a:pt x="324" y="2214"/>
                  </a:lnTo>
                  <a:lnTo>
                    <a:pt x="324" y="2220"/>
                  </a:lnTo>
                  <a:lnTo>
                    <a:pt x="330" y="2226"/>
                  </a:lnTo>
                  <a:lnTo>
                    <a:pt x="354" y="2226"/>
                  </a:lnTo>
                  <a:lnTo>
                    <a:pt x="366" y="2232"/>
                  </a:lnTo>
                  <a:lnTo>
                    <a:pt x="378" y="2244"/>
                  </a:lnTo>
                  <a:lnTo>
                    <a:pt x="348" y="2244"/>
                  </a:lnTo>
                  <a:lnTo>
                    <a:pt x="342" y="2238"/>
                  </a:lnTo>
                  <a:lnTo>
                    <a:pt x="330" y="2238"/>
                  </a:lnTo>
                  <a:lnTo>
                    <a:pt x="324" y="2244"/>
                  </a:lnTo>
                  <a:lnTo>
                    <a:pt x="324" y="2250"/>
                  </a:lnTo>
                  <a:lnTo>
                    <a:pt x="354" y="2256"/>
                  </a:lnTo>
                  <a:lnTo>
                    <a:pt x="330" y="2268"/>
                  </a:lnTo>
                  <a:lnTo>
                    <a:pt x="336" y="2292"/>
                  </a:lnTo>
                  <a:lnTo>
                    <a:pt x="348" y="2292"/>
                  </a:lnTo>
                  <a:lnTo>
                    <a:pt x="348" y="2316"/>
                  </a:lnTo>
                  <a:lnTo>
                    <a:pt x="336" y="2328"/>
                  </a:lnTo>
                  <a:lnTo>
                    <a:pt x="336" y="2322"/>
                  </a:lnTo>
                  <a:lnTo>
                    <a:pt x="330" y="2316"/>
                  </a:lnTo>
                  <a:lnTo>
                    <a:pt x="324" y="2304"/>
                  </a:lnTo>
                  <a:lnTo>
                    <a:pt x="324" y="2298"/>
                  </a:lnTo>
                  <a:lnTo>
                    <a:pt x="288" y="2298"/>
                  </a:lnTo>
                  <a:lnTo>
                    <a:pt x="306" y="2292"/>
                  </a:lnTo>
                  <a:lnTo>
                    <a:pt x="282" y="2268"/>
                  </a:lnTo>
                  <a:lnTo>
                    <a:pt x="276" y="2268"/>
                  </a:lnTo>
                  <a:lnTo>
                    <a:pt x="276" y="2280"/>
                  </a:lnTo>
                  <a:lnTo>
                    <a:pt x="270" y="2268"/>
                  </a:lnTo>
                  <a:lnTo>
                    <a:pt x="228" y="2280"/>
                  </a:lnTo>
                  <a:lnTo>
                    <a:pt x="264" y="2286"/>
                  </a:lnTo>
                  <a:lnTo>
                    <a:pt x="258" y="2292"/>
                  </a:lnTo>
                  <a:lnTo>
                    <a:pt x="252" y="2304"/>
                  </a:lnTo>
                  <a:lnTo>
                    <a:pt x="246" y="2310"/>
                  </a:lnTo>
                  <a:lnTo>
                    <a:pt x="234" y="2316"/>
                  </a:lnTo>
                  <a:lnTo>
                    <a:pt x="228" y="2328"/>
                  </a:lnTo>
                  <a:lnTo>
                    <a:pt x="222" y="2334"/>
                  </a:lnTo>
                  <a:lnTo>
                    <a:pt x="222" y="2340"/>
                  </a:lnTo>
                  <a:lnTo>
                    <a:pt x="228" y="2346"/>
                  </a:lnTo>
                  <a:lnTo>
                    <a:pt x="240" y="2352"/>
                  </a:lnTo>
                  <a:lnTo>
                    <a:pt x="252" y="2352"/>
                  </a:lnTo>
                  <a:lnTo>
                    <a:pt x="252" y="2346"/>
                  </a:lnTo>
                  <a:lnTo>
                    <a:pt x="240" y="2334"/>
                  </a:lnTo>
                  <a:lnTo>
                    <a:pt x="264" y="2328"/>
                  </a:lnTo>
                  <a:lnTo>
                    <a:pt x="282" y="2346"/>
                  </a:lnTo>
                  <a:lnTo>
                    <a:pt x="324" y="2346"/>
                  </a:lnTo>
                  <a:lnTo>
                    <a:pt x="336" y="2352"/>
                  </a:lnTo>
                  <a:lnTo>
                    <a:pt x="342" y="2364"/>
                  </a:lnTo>
                  <a:lnTo>
                    <a:pt x="354" y="2370"/>
                  </a:lnTo>
                  <a:lnTo>
                    <a:pt x="354" y="2376"/>
                  </a:lnTo>
                  <a:lnTo>
                    <a:pt x="336" y="2394"/>
                  </a:lnTo>
                  <a:lnTo>
                    <a:pt x="342" y="2406"/>
                  </a:lnTo>
                  <a:lnTo>
                    <a:pt x="360" y="2406"/>
                  </a:lnTo>
                  <a:lnTo>
                    <a:pt x="360" y="2418"/>
                  </a:lnTo>
                  <a:lnTo>
                    <a:pt x="378" y="2424"/>
                  </a:lnTo>
                  <a:lnTo>
                    <a:pt x="384" y="2406"/>
                  </a:lnTo>
                  <a:lnTo>
                    <a:pt x="402" y="2424"/>
                  </a:lnTo>
                  <a:lnTo>
                    <a:pt x="408" y="2424"/>
                  </a:lnTo>
                  <a:lnTo>
                    <a:pt x="420" y="2430"/>
                  </a:lnTo>
                  <a:lnTo>
                    <a:pt x="426" y="2436"/>
                  </a:lnTo>
                  <a:lnTo>
                    <a:pt x="426" y="2448"/>
                  </a:lnTo>
                  <a:lnTo>
                    <a:pt x="414" y="2460"/>
                  </a:lnTo>
                  <a:lnTo>
                    <a:pt x="408" y="2454"/>
                  </a:lnTo>
                  <a:lnTo>
                    <a:pt x="396" y="2454"/>
                  </a:lnTo>
                  <a:lnTo>
                    <a:pt x="384" y="2448"/>
                  </a:lnTo>
                  <a:lnTo>
                    <a:pt x="378" y="2442"/>
                  </a:lnTo>
                  <a:lnTo>
                    <a:pt x="366" y="2442"/>
                  </a:lnTo>
                  <a:lnTo>
                    <a:pt x="366" y="2454"/>
                  </a:lnTo>
                  <a:lnTo>
                    <a:pt x="372" y="2460"/>
                  </a:lnTo>
                  <a:lnTo>
                    <a:pt x="378" y="2460"/>
                  </a:lnTo>
                  <a:lnTo>
                    <a:pt x="390" y="2472"/>
                  </a:lnTo>
                  <a:lnTo>
                    <a:pt x="402" y="2496"/>
                  </a:lnTo>
                  <a:lnTo>
                    <a:pt x="402" y="2508"/>
                  </a:lnTo>
                  <a:lnTo>
                    <a:pt x="384" y="2508"/>
                  </a:lnTo>
                  <a:lnTo>
                    <a:pt x="396" y="2526"/>
                  </a:lnTo>
                  <a:lnTo>
                    <a:pt x="414" y="2562"/>
                  </a:lnTo>
                  <a:lnTo>
                    <a:pt x="426" y="2520"/>
                  </a:lnTo>
                  <a:lnTo>
                    <a:pt x="426" y="2550"/>
                  </a:lnTo>
                  <a:lnTo>
                    <a:pt x="444" y="2574"/>
                  </a:lnTo>
                  <a:lnTo>
                    <a:pt x="420" y="2574"/>
                  </a:lnTo>
                  <a:lnTo>
                    <a:pt x="426" y="2592"/>
                  </a:lnTo>
                  <a:lnTo>
                    <a:pt x="450" y="2592"/>
                  </a:lnTo>
                  <a:lnTo>
                    <a:pt x="432" y="2604"/>
                  </a:lnTo>
                  <a:lnTo>
                    <a:pt x="462" y="2616"/>
                  </a:lnTo>
                  <a:lnTo>
                    <a:pt x="444" y="2628"/>
                  </a:lnTo>
                  <a:lnTo>
                    <a:pt x="474" y="2640"/>
                  </a:lnTo>
                  <a:lnTo>
                    <a:pt x="462" y="2652"/>
                  </a:lnTo>
                  <a:lnTo>
                    <a:pt x="480" y="2658"/>
                  </a:lnTo>
                  <a:lnTo>
                    <a:pt x="480" y="2652"/>
                  </a:lnTo>
                  <a:lnTo>
                    <a:pt x="486" y="2640"/>
                  </a:lnTo>
                  <a:lnTo>
                    <a:pt x="486" y="2634"/>
                  </a:lnTo>
                  <a:lnTo>
                    <a:pt x="492" y="2634"/>
                  </a:lnTo>
                  <a:lnTo>
                    <a:pt x="498" y="2640"/>
                  </a:lnTo>
                  <a:lnTo>
                    <a:pt x="504" y="2652"/>
                  </a:lnTo>
                  <a:lnTo>
                    <a:pt x="498" y="2658"/>
                  </a:lnTo>
                  <a:lnTo>
                    <a:pt x="498" y="2664"/>
                  </a:lnTo>
                  <a:lnTo>
                    <a:pt x="492" y="2664"/>
                  </a:lnTo>
                  <a:lnTo>
                    <a:pt x="480" y="2676"/>
                  </a:lnTo>
                  <a:lnTo>
                    <a:pt x="480" y="2682"/>
                  </a:lnTo>
                  <a:lnTo>
                    <a:pt x="486" y="2688"/>
                  </a:lnTo>
                  <a:lnTo>
                    <a:pt x="516" y="2688"/>
                  </a:lnTo>
                  <a:lnTo>
                    <a:pt x="516" y="2700"/>
                  </a:lnTo>
                  <a:lnTo>
                    <a:pt x="540" y="2724"/>
                  </a:lnTo>
                  <a:lnTo>
                    <a:pt x="552" y="2730"/>
                  </a:lnTo>
                  <a:lnTo>
                    <a:pt x="558" y="2736"/>
                  </a:lnTo>
                  <a:lnTo>
                    <a:pt x="558" y="2700"/>
                  </a:lnTo>
                  <a:lnTo>
                    <a:pt x="564" y="2700"/>
                  </a:lnTo>
                  <a:lnTo>
                    <a:pt x="570" y="2706"/>
                  </a:lnTo>
                  <a:lnTo>
                    <a:pt x="582" y="2712"/>
                  </a:lnTo>
                  <a:lnTo>
                    <a:pt x="600" y="2718"/>
                  </a:lnTo>
                  <a:lnTo>
                    <a:pt x="624" y="2742"/>
                  </a:lnTo>
                  <a:lnTo>
                    <a:pt x="618" y="2748"/>
                  </a:lnTo>
                  <a:lnTo>
                    <a:pt x="618" y="2754"/>
                  </a:lnTo>
                  <a:lnTo>
                    <a:pt x="612" y="2760"/>
                  </a:lnTo>
                  <a:lnTo>
                    <a:pt x="630" y="2766"/>
                  </a:lnTo>
                  <a:lnTo>
                    <a:pt x="630" y="2790"/>
                  </a:lnTo>
                  <a:lnTo>
                    <a:pt x="684" y="2790"/>
                  </a:lnTo>
                  <a:lnTo>
                    <a:pt x="696" y="2802"/>
                  </a:lnTo>
                  <a:lnTo>
                    <a:pt x="666" y="2802"/>
                  </a:lnTo>
                  <a:lnTo>
                    <a:pt x="654" y="2814"/>
                  </a:lnTo>
                  <a:lnTo>
                    <a:pt x="630" y="2814"/>
                  </a:lnTo>
                  <a:lnTo>
                    <a:pt x="618" y="2832"/>
                  </a:lnTo>
                  <a:lnTo>
                    <a:pt x="648" y="2832"/>
                  </a:lnTo>
                  <a:lnTo>
                    <a:pt x="636" y="2850"/>
                  </a:lnTo>
                  <a:lnTo>
                    <a:pt x="666" y="2844"/>
                  </a:lnTo>
                  <a:lnTo>
                    <a:pt x="666" y="2826"/>
                  </a:lnTo>
                  <a:lnTo>
                    <a:pt x="690" y="2838"/>
                  </a:lnTo>
                  <a:lnTo>
                    <a:pt x="696" y="2826"/>
                  </a:lnTo>
                  <a:lnTo>
                    <a:pt x="702" y="2820"/>
                  </a:lnTo>
                  <a:lnTo>
                    <a:pt x="714" y="2814"/>
                  </a:lnTo>
                  <a:lnTo>
                    <a:pt x="720" y="2808"/>
                  </a:lnTo>
                  <a:lnTo>
                    <a:pt x="732" y="2808"/>
                  </a:lnTo>
                  <a:lnTo>
                    <a:pt x="732" y="2820"/>
                  </a:lnTo>
                  <a:lnTo>
                    <a:pt x="726" y="2832"/>
                  </a:lnTo>
                  <a:lnTo>
                    <a:pt x="702" y="2856"/>
                  </a:lnTo>
                  <a:lnTo>
                    <a:pt x="696" y="2850"/>
                  </a:lnTo>
                  <a:lnTo>
                    <a:pt x="678" y="2850"/>
                  </a:lnTo>
                  <a:lnTo>
                    <a:pt x="678" y="2868"/>
                  </a:lnTo>
                  <a:lnTo>
                    <a:pt x="642" y="2868"/>
                  </a:lnTo>
                  <a:lnTo>
                    <a:pt x="630" y="2880"/>
                  </a:lnTo>
                  <a:lnTo>
                    <a:pt x="642" y="2886"/>
                  </a:lnTo>
                  <a:lnTo>
                    <a:pt x="648" y="2916"/>
                  </a:lnTo>
                  <a:lnTo>
                    <a:pt x="678" y="2898"/>
                  </a:lnTo>
                  <a:lnTo>
                    <a:pt x="684" y="2910"/>
                  </a:lnTo>
                  <a:lnTo>
                    <a:pt x="684" y="2916"/>
                  </a:lnTo>
                  <a:lnTo>
                    <a:pt x="690" y="2916"/>
                  </a:lnTo>
                  <a:lnTo>
                    <a:pt x="696" y="2910"/>
                  </a:lnTo>
                  <a:lnTo>
                    <a:pt x="702" y="2898"/>
                  </a:lnTo>
                  <a:lnTo>
                    <a:pt x="702" y="2892"/>
                  </a:lnTo>
                  <a:lnTo>
                    <a:pt x="708" y="2880"/>
                  </a:lnTo>
                  <a:lnTo>
                    <a:pt x="714" y="2874"/>
                  </a:lnTo>
                  <a:close/>
                </a:path>
              </a:pathLst>
            </a:custGeom>
            <a:solidFill>
              <a:srgbClr val="658B26"/>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84" name="China" descr="© INSCALE GmbH, 05.05.2010&#10;http://www.presentationload.com/"/>
            <p:cNvSpPr>
              <a:spLocks noEditPoints="1"/>
            </p:cNvSpPr>
            <p:nvPr/>
          </p:nvSpPr>
          <p:spPr bwMode="gray">
            <a:xfrm>
              <a:off x="6188081" y="2349501"/>
              <a:ext cx="1473201" cy="1136650"/>
            </a:xfrm>
            <a:custGeom>
              <a:avLst/>
              <a:gdLst>
                <a:gd name="T0" fmla="*/ 2147483647 w 3660"/>
                <a:gd name="T1" fmla="*/ 2147483647 h 2826"/>
                <a:gd name="T2" fmla="*/ 2147483647 w 3660"/>
                <a:gd name="T3" fmla="*/ 2147483647 h 2826"/>
                <a:gd name="T4" fmla="*/ 2147483647 w 3660"/>
                <a:gd name="T5" fmla="*/ 2147483647 h 2826"/>
                <a:gd name="T6" fmla="*/ 2147483647 w 3660"/>
                <a:gd name="T7" fmla="*/ 2147483647 h 2826"/>
                <a:gd name="T8" fmla="*/ 2147483647 w 3660"/>
                <a:gd name="T9" fmla="*/ 2147483647 h 2826"/>
                <a:gd name="T10" fmla="*/ 2147483647 w 3660"/>
                <a:gd name="T11" fmla="*/ 2147483647 h 2826"/>
                <a:gd name="T12" fmla="*/ 2147483647 w 3660"/>
                <a:gd name="T13" fmla="*/ 2147483647 h 2826"/>
                <a:gd name="T14" fmla="*/ 2147483647 w 3660"/>
                <a:gd name="T15" fmla="*/ 2147483647 h 2826"/>
                <a:gd name="T16" fmla="*/ 2147483647 w 3660"/>
                <a:gd name="T17" fmla="*/ 2147483647 h 2826"/>
                <a:gd name="T18" fmla="*/ 2147483647 w 3660"/>
                <a:gd name="T19" fmla="*/ 2147483647 h 2826"/>
                <a:gd name="T20" fmla="*/ 2147483647 w 3660"/>
                <a:gd name="T21" fmla="*/ 2147483647 h 2826"/>
                <a:gd name="T22" fmla="*/ 2147483647 w 3660"/>
                <a:gd name="T23" fmla="*/ 2147483647 h 2826"/>
                <a:gd name="T24" fmla="*/ 2147483647 w 3660"/>
                <a:gd name="T25" fmla="*/ 2147483647 h 2826"/>
                <a:gd name="T26" fmla="*/ 2147483647 w 3660"/>
                <a:gd name="T27" fmla="*/ 2147483647 h 2826"/>
                <a:gd name="T28" fmla="*/ 2147483647 w 3660"/>
                <a:gd name="T29" fmla="*/ 2147483647 h 2826"/>
                <a:gd name="T30" fmla="*/ 2147483647 w 3660"/>
                <a:gd name="T31" fmla="*/ 2147483647 h 2826"/>
                <a:gd name="T32" fmla="*/ 2147483647 w 3660"/>
                <a:gd name="T33" fmla="*/ 2147483647 h 2826"/>
                <a:gd name="T34" fmla="*/ 2147483647 w 3660"/>
                <a:gd name="T35" fmla="*/ 2147483647 h 2826"/>
                <a:gd name="T36" fmla="*/ 2147483647 w 3660"/>
                <a:gd name="T37" fmla="*/ 2147483647 h 2826"/>
                <a:gd name="T38" fmla="*/ 2147483647 w 3660"/>
                <a:gd name="T39" fmla="*/ 2147483647 h 2826"/>
                <a:gd name="T40" fmla="*/ 2147483647 w 3660"/>
                <a:gd name="T41" fmla="*/ 2147483647 h 2826"/>
                <a:gd name="T42" fmla="*/ 2147483647 w 3660"/>
                <a:gd name="T43" fmla="*/ 2147483647 h 2826"/>
                <a:gd name="T44" fmla="*/ 2147483647 w 3660"/>
                <a:gd name="T45" fmla="*/ 2147483647 h 2826"/>
                <a:gd name="T46" fmla="*/ 0 w 3660"/>
                <a:gd name="T47" fmla="*/ 2147483647 h 2826"/>
                <a:gd name="T48" fmla="*/ 2147483647 w 3660"/>
                <a:gd name="T49" fmla="*/ 2147483647 h 2826"/>
                <a:gd name="T50" fmla="*/ 2147483647 w 3660"/>
                <a:gd name="T51" fmla="*/ 2147483647 h 2826"/>
                <a:gd name="T52" fmla="*/ 2147483647 w 3660"/>
                <a:gd name="T53" fmla="*/ 2147483647 h 2826"/>
                <a:gd name="T54" fmla="*/ 2147483647 w 3660"/>
                <a:gd name="T55" fmla="*/ 2147483647 h 2826"/>
                <a:gd name="T56" fmla="*/ 2147483647 w 3660"/>
                <a:gd name="T57" fmla="*/ 2147483647 h 2826"/>
                <a:gd name="T58" fmla="*/ 2147483647 w 3660"/>
                <a:gd name="T59" fmla="*/ 2147483647 h 2826"/>
                <a:gd name="T60" fmla="*/ 2147483647 w 3660"/>
                <a:gd name="T61" fmla="*/ 2147483647 h 2826"/>
                <a:gd name="T62" fmla="*/ 2147483647 w 3660"/>
                <a:gd name="T63" fmla="*/ 2147483647 h 2826"/>
                <a:gd name="T64" fmla="*/ 2147483647 w 3660"/>
                <a:gd name="T65" fmla="*/ 2147483647 h 2826"/>
                <a:gd name="T66" fmla="*/ 2147483647 w 3660"/>
                <a:gd name="T67" fmla="*/ 2147483647 h 2826"/>
                <a:gd name="T68" fmla="*/ 2147483647 w 3660"/>
                <a:gd name="T69" fmla="*/ 2147483647 h 2826"/>
                <a:gd name="T70" fmla="*/ 2147483647 w 3660"/>
                <a:gd name="T71" fmla="*/ 2147483647 h 2826"/>
                <a:gd name="T72" fmla="*/ 2147483647 w 3660"/>
                <a:gd name="T73" fmla="*/ 2147483647 h 2826"/>
                <a:gd name="T74" fmla="*/ 2147483647 w 3660"/>
                <a:gd name="T75" fmla="*/ 2147483647 h 2826"/>
                <a:gd name="T76" fmla="*/ 2147483647 w 3660"/>
                <a:gd name="T77" fmla="*/ 2147483647 h 2826"/>
                <a:gd name="T78" fmla="*/ 2147483647 w 3660"/>
                <a:gd name="T79" fmla="*/ 2147483647 h 2826"/>
                <a:gd name="T80" fmla="*/ 2147483647 w 3660"/>
                <a:gd name="T81" fmla="*/ 2147483647 h 2826"/>
                <a:gd name="T82" fmla="*/ 2147483647 w 3660"/>
                <a:gd name="T83" fmla="*/ 2147483647 h 2826"/>
                <a:gd name="T84" fmla="*/ 2147483647 w 3660"/>
                <a:gd name="T85" fmla="*/ 2147483647 h 2826"/>
                <a:gd name="T86" fmla="*/ 2147483647 w 3660"/>
                <a:gd name="T87" fmla="*/ 2147483647 h 2826"/>
                <a:gd name="T88" fmla="*/ 2147483647 w 3660"/>
                <a:gd name="T89" fmla="*/ 2147483647 h 2826"/>
                <a:gd name="T90" fmla="*/ 2147483647 w 3660"/>
                <a:gd name="T91" fmla="*/ 2147483647 h 2826"/>
                <a:gd name="T92" fmla="*/ 2147483647 w 3660"/>
                <a:gd name="T93" fmla="*/ 2147483647 h 2826"/>
                <a:gd name="T94" fmla="*/ 2147483647 w 3660"/>
                <a:gd name="T95" fmla="*/ 2147483647 h 2826"/>
                <a:gd name="T96" fmla="*/ 2147483647 w 3660"/>
                <a:gd name="T97" fmla="*/ 2147483647 h 2826"/>
                <a:gd name="T98" fmla="*/ 2147483647 w 3660"/>
                <a:gd name="T99" fmla="*/ 2147483647 h 2826"/>
                <a:gd name="T100" fmla="*/ 2147483647 w 3660"/>
                <a:gd name="T101" fmla="*/ 2147483647 h 2826"/>
                <a:gd name="T102" fmla="*/ 2147483647 w 3660"/>
                <a:gd name="T103" fmla="*/ 2147483647 h 2826"/>
                <a:gd name="T104" fmla="*/ 2147483647 w 3660"/>
                <a:gd name="T105" fmla="*/ 2147483647 h 2826"/>
                <a:gd name="T106" fmla="*/ 2147483647 w 3660"/>
                <a:gd name="T107" fmla="*/ 2147483647 h 2826"/>
                <a:gd name="T108" fmla="*/ 2147483647 w 3660"/>
                <a:gd name="T109" fmla="*/ 2147483647 h 2826"/>
                <a:gd name="T110" fmla="*/ 2147483647 w 3660"/>
                <a:gd name="T111" fmla="*/ 2147483647 h 2826"/>
                <a:gd name="T112" fmla="*/ 2147483647 w 3660"/>
                <a:gd name="T113" fmla="*/ 2147483647 h 2826"/>
                <a:gd name="T114" fmla="*/ 2147483647 w 3660"/>
                <a:gd name="T115" fmla="*/ 2147483647 h 2826"/>
                <a:gd name="T116" fmla="*/ 2147483647 w 3660"/>
                <a:gd name="T117" fmla="*/ 2147483647 h 2826"/>
                <a:gd name="T118" fmla="*/ 2147483647 w 3660"/>
                <a:gd name="T119" fmla="*/ 2147483647 h 2826"/>
                <a:gd name="T120" fmla="*/ 2147483647 w 3660"/>
                <a:gd name="T121" fmla="*/ 2147483647 h 2826"/>
                <a:gd name="T122" fmla="*/ 2147483647 w 3660"/>
                <a:gd name="T123" fmla="*/ 2147483647 h 28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660"/>
                <a:gd name="T187" fmla="*/ 0 h 2826"/>
                <a:gd name="T188" fmla="*/ 3660 w 3660"/>
                <a:gd name="T189" fmla="*/ 2826 h 28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660" h="2826">
                  <a:moveTo>
                    <a:pt x="2862" y="2688"/>
                  </a:moveTo>
                  <a:lnTo>
                    <a:pt x="2850" y="2682"/>
                  </a:lnTo>
                  <a:lnTo>
                    <a:pt x="2772" y="2682"/>
                  </a:lnTo>
                  <a:lnTo>
                    <a:pt x="2766" y="2700"/>
                  </a:lnTo>
                  <a:lnTo>
                    <a:pt x="2748" y="2694"/>
                  </a:lnTo>
                  <a:lnTo>
                    <a:pt x="2736" y="2718"/>
                  </a:lnTo>
                  <a:lnTo>
                    <a:pt x="2730" y="2724"/>
                  </a:lnTo>
                  <a:lnTo>
                    <a:pt x="2712" y="2760"/>
                  </a:lnTo>
                  <a:lnTo>
                    <a:pt x="2718" y="2772"/>
                  </a:lnTo>
                  <a:lnTo>
                    <a:pt x="2724" y="2790"/>
                  </a:lnTo>
                  <a:lnTo>
                    <a:pt x="2754" y="2820"/>
                  </a:lnTo>
                  <a:lnTo>
                    <a:pt x="2766" y="2826"/>
                  </a:lnTo>
                  <a:lnTo>
                    <a:pt x="2772" y="2826"/>
                  </a:lnTo>
                  <a:lnTo>
                    <a:pt x="2802" y="2820"/>
                  </a:lnTo>
                  <a:lnTo>
                    <a:pt x="2820" y="2820"/>
                  </a:lnTo>
                  <a:lnTo>
                    <a:pt x="2844" y="2808"/>
                  </a:lnTo>
                  <a:lnTo>
                    <a:pt x="2850" y="2802"/>
                  </a:lnTo>
                  <a:lnTo>
                    <a:pt x="2850" y="2754"/>
                  </a:lnTo>
                  <a:lnTo>
                    <a:pt x="2856" y="2742"/>
                  </a:lnTo>
                  <a:lnTo>
                    <a:pt x="2862" y="2736"/>
                  </a:lnTo>
                  <a:lnTo>
                    <a:pt x="2868" y="2724"/>
                  </a:lnTo>
                  <a:lnTo>
                    <a:pt x="2868" y="2700"/>
                  </a:lnTo>
                  <a:lnTo>
                    <a:pt x="2862" y="2688"/>
                  </a:lnTo>
                  <a:close/>
                  <a:moveTo>
                    <a:pt x="3660" y="624"/>
                  </a:moveTo>
                  <a:lnTo>
                    <a:pt x="3654" y="600"/>
                  </a:lnTo>
                  <a:lnTo>
                    <a:pt x="3660" y="570"/>
                  </a:lnTo>
                  <a:lnTo>
                    <a:pt x="3642" y="564"/>
                  </a:lnTo>
                  <a:lnTo>
                    <a:pt x="3642" y="540"/>
                  </a:lnTo>
                  <a:lnTo>
                    <a:pt x="3630" y="528"/>
                  </a:lnTo>
                  <a:lnTo>
                    <a:pt x="3630" y="510"/>
                  </a:lnTo>
                  <a:lnTo>
                    <a:pt x="3618" y="492"/>
                  </a:lnTo>
                  <a:lnTo>
                    <a:pt x="3636" y="486"/>
                  </a:lnTo>
                  <a:lnTo>
                    <a:pt x="3636" y="456"/>
                  </a:lnTo>
                  <a:lnTo>
                    <a:pt x="3612" y="444"/>
                  </a:lnTo>
                  <a:lnTo>
                    <a:pt x="3612" y="426"/>
                  </a:lnTo>
                  <a:lnTo>
                    <a:pt x="3606" y="414"/>
                  </a:lnTo>
                  <a:lnTo>
                    <a:pt x="3594" y="408"/>
                  </a:lnTo>
                  <a:lnTo>
                    <a:pt x="3552" y="408"/>
                  </a:lnTo>
                  <a:lnTo>
                    <a:pt x="3546" y="432"/>
                  </a:lnTo>
                  <a:lnTo>
                    <a:pt x="3516" y="432"/>
                  </a:lnTo>
                  <a:lnTo>
                    <a:pt x="3504" y="438"/>
                  </a:lnTo>
                  <a:lnTo>
                    <a:pt x="3498" y="438"/>
                  </a:lnTo>
                  <a:lnTo>
                    <a:pt x="3492" y="444"/>
                  </a:lnTo>
                  <a:lnTo>
                    <a:pt x="3492" y="462"/>
                  </a:lnTo>
                  <a:lnTo>
                    <a:pt x="3462" y="456"/>
                  </a:lnTo>
                  <a:lnTo>
                    <a:pt x="3462" y="468"/>
                  </a:lnTo>
                  <a:lnTo>
                    <a:pt x="3444" y="468"/>
                  </a:lnTo>
                  <a:lnTo>
                    <a:pt x="3432" y="456"/>
                  </a:lnTo>
                  <a:lnTo>
                    <a:pt x="3408" y="462"/>
                  </a:lnTo>
                  <a:lnTo>
                    <a:pt x="3366" y="432"/>
                  </a:lnTo>
                  <a:lnTo>
                    <a:pt x="3366" y="420"/>
                  </a:lnTo>
                  <a:lnTo>
                    <a:pt x="3360" y="408"/>
                  </a:lnTo>
                  <a:lnTo>
                    <a:pt x="3360" y="402"/>
                  </a:lnTo>
                  <a:lnTo>
                    <a:pt x="3354" y="396"/>
                  </a:lnTo>
                  <a:lnTo>
                    <a:pt x="3336" y="396"/>
                  </a:lnTo>
                  <a:lnTo>
                    <a:pt x="3318" y="366"/>
                  </a:lnTo>
                  <a:lnTo>
                    <a:pt x="3276" y="366"/>
                  </a:lnTo>
                  <a:lnTo>
                    <a:pt x="3258" y="348"/>
                  </a:lnTo>
                  <a:lnTo>
                    <a:pt x="3246" y="342"/>
                  </a:lnTo>
                  <a:lnTo>
                    <a:pt x="3228" y="324"/>
                  </a:lnTo>
                  <a:lnTo>
                    <a:pt x="3216" y="324"/>
                  </a:lnTo>
                  <a:lnTo>
                    <a:pt x="3204" y="336"/>
                  </a:lnTo>
                  <a:lnTo>
                    <a:pt x="3192" y="330"/>
                  </a:lnTo>
                  <a:lnTo>
                    <a:pt x="3186" y="324"/>
                  </a:lnTo>
                  <a:lnTo>
                    <a:pt x="3174" y="318"/>
                  </a:lnTo>
                  <a:lnTo>
                    <a:pt x="3126" y="318"/>
                  </a:lnTo>
                  <a:lnTo>
                    <a:pt x="3114" y="312"/>
                  </a:lnTo>
                  <a:lnTo>
                    <a:pt x="3108" y="306"/>
                  </a:lnTo>
                  <a:lnTo>
                    <a:pt x="3084" y="294"/>
                  </a:lnTo>
                  <a:lnTo>
                    <a:pt x="3078" y="288"/>
                  </a:lnTo>
                  <a:lnTo>
                    <a:pt x="3072" y="288"/>
                  </a:lnTo>
                  <a:lnTo>
                    <a:pt x="3066" y="264"/>
                  </a:lnTo>
                  <a:lnTo>
                    <a:pt x="3054" y="264"/>
                  </a:lnTo>
                  <a:lnTo>
                    <a:pt x="3048" y="252"/>
                  </a:lnTo>
                  <a:lnTo>
                    <a:pt x="3030" y="234"/>
                  </a:lnTo>
                  <a:lnTo>
                    <a:pt x="3024" y="222"/>
                  </a:lnTo>
                  <a:lnTo>
                    <a:pt x="2976" y="198"/>
                  </a:lnTo>
                  <a:lnTo>
                    <a:pt x="2964" y="198"/>
                  </a:lnTo>
                  <a:lnTo>
                    <a:pt x="2952" y="168"/>
                  </a:lnTo>
                  <a:lnTo>
                    <a:pt x="2904" y="144"/>
                  </a:lnTo>
                  <a:lnTo>
                    <a:pt x="2898" y="114"/>
                  </a:lnTo>
                  <a:lnTo>
                    <a:pt x="2892" y="114"/>
                  </a:lnTo>
                  <a:lnTo>
                    <a:pt x="2886" y="108"/>
                  </a:lnTo>
                  <a:lnTo>
                    <a:pt x="2874" y="108"/>
                  </a:lnTo>
                  <a:lnTo>
                    <a:pt x="2862" y="96"/>
                  </a:lnTo>
                  <a:lnTo>
                    <a:pt x="2850" y="90"/>
                  </a:lnTo>
                  <a:lnTo>
                    <a:pt x="2838" y="78"/>
                  </a:lnTo>
                  <a:lnTo>
                    <a:pt x="2832" y="78"/>
                  </a:lnTo>
                  <a:lnTo>
                    <a:pt x="2832" y="66"/>
                  </a:lnTo>
                  <a:lnTo>
                    <a:pt x="2820" y="60"/>
                  </a:lnTo>
                  <a:lnTo>
                    <a:pt x="2814" y="54"/>
                  </a:lnTo>
                  <a:lnTo>
                    <a:pt x="2802" y="48"/>
                  </a:lnTo>
                  <a:lnTo>
                    <a:pt x="2796" y="42"/>
                  </a:lnTo>
                  <a:lnTo>
                    <a:pt x="2724" y="42"/>
                  </a:lnTo>
                  <a:lnTo>
                    <a:pt x="2688" y="18"/>
                  </a:lnTo>
                  <a:lnTo>
                    <a:pt x="2652" y="0"/>
                  </a:lnTo>
                  <a:lnTo>
                    <a:pt x="2598" y="12"/>
                  </a:lnTo>
                  <a:lnTo>
                    <a:pt x="2556" y="6"/>
                  </a:lnTo>
                  <a:lnTo>
                    <a:pt x="2550" y="18"/>
                  </a:lnTo>
                  <a:lnTo>
                    <a:pt x="2514" y="24"/>
                  </a:lnTo>
                  <a:lnTo>
                    <a:pt x="2472" y="66"/>
                  </a:lnTo>
                  <a:lnTo>
                    <a:pt x="2466" y="66"/>
                  </a:lnTo>
                  <a:lnTo>
                    <a:pt x="2466" y="78"/>
                  </a:lnTo>
                  <a:lnTo>
                    <a:pt x="2472" y="78"/>
                  </a:lnTo>
                  <a:lnTo>
                    <a:pt x="2490" y="84"/>
                  </a:lnTo>
                  <a:lnTo>
                    <a:pt x="2502" y="84"/>
                  </a:lnTo>
                  <a:lnTo>
                    <a:pt x="2508" y="90"/>
                  </a:lnTo>
                  <a:lnTo>
                    <a:pt x="2520" y="90"/>
                  </a:lnTo>
                  <a:lnTo>
                    <a:pt x="2532" y="102"/>
                  </a:lnTo>
                  <a:lnTo>
                    <a:pt x="2544" y="108"/>
                  </a:lnTo>
                  <a:lnTo>
                    <a:pt x="2550" y="114"/>
                  </a:lnTo>
                  <a:lnTo>
                    <a:pt x="2550" y="126"/>
                  </a:lnTo>
                  <a:lnTo>
                    <a:pt x="2532" y="144"/>
                  </a:lnTo>
                  <a:lnTo>
                    <a:pt x="2532" y="216"/>
                  </a:lnTo>
                  <a:lnTo>
                    <a:pt x="2538" y="258"/>
                  </a:lnTo>
                  <a:lnTo>
                    <a:pt x="2544" y="264"/>
                  </a:lnTo>
                  <a:lnTo>
                    <a:pt x="2556" y="264"/>
                  </a:lnTo>
                  <a:lnTo>
                    <a:pt x="2556" y="276"/>
                  </a:lnTo>
                  <a:lnTo>
                    <a:pt x="2550" y="282"/>
                  </a:lnTo>
                  <a:lnTo>
                    <a:pt x="2538" y="288"/>
                  </a:lnTo>
                  <a:lnTo>
                    <a:pt x="2514" y="288"/>
                  </a:lnTo>
                  <a:lnTo>
                    <a:pt x="2514" y="300"/>
                  </a:lnTo>
                  <a:lnTo>
                    <a:pt x="2496" y="318"/>
                  </a:lnTo>
                  <a:lnTo>
                    <a:pt x="2484" y="318"/>
                  </a:lnTo>
                  <a:lnTo>
                    <a:pt x="2478" y="312"/>
                  </a:lnTo>
                  <a:lnTo>
                    <a:pt x="2442" y="312"/>
                  </a:lnTo>
                  <a:lnTo>
                    <a:pt x="2406" y="288"/>
                  </a:lnTo>
                  <a:lnTo>
                    <a:pt x="2406" y="372"/>
                  </a:lnTo>
                  <a:lnTo>
                    <a:pt x="2412" y="384"/>
                  </a:lnTo>
                  <a:lnTo>
                    <a:pt x="2418" y="408"/>
                  </a:lnTo>
                  <a:lnTo>
                    <a:pt x="2424" y="420"/>
                  </a:lnTo>
                  <a:lnTo>
                    <a:pt x="2418" y="420"/>
                  </a:lnTo>
                  <a:lnTo>
                    <a:pt x="2418" y="438"/>
                  </a:lnTo>
                  <a:lnTo>
                    <a:pt x="2424" y="450"/>
                  </a:lnTo>
                  <a:lnTo>
                    <a:pt x="2436" y="456"/>
                  </a:lnTo>
                  <a:lnTo>
                    <a:pt x="2442" y="462"/>
                  </a:lnTo>
                  <a:lnTo>
                    <a:pt x="2460" y="462"/>
                  </a:lnTo>
                  <a:lnTo>
                    <a:pt x="2460" y="456"/>
                  </a:lnTo>
                  <a:lnTo>
                    <a:pt x="2454" y="456"/>
                  </a:lnTo>
                  <a:lnTo>
                    <a:pt x="2460" y="450"/>
                  </a:lnTo>
                  <a:lnTo>
                    <a:pt x="2514" y="450"/>
                  </a:lnTo>
                  <a:lnTo>
                    <a:pt x="2526" y="462"/>
                  </a:lnTo>
                  <a:lnTo>
                    <a:pt x="2538" y="468"/>
                  </a:lnTo>
                  <a:lnTo>
                    <a:pt x="2544" y="468"/>
                  </a:lnTo>
                  <a:lnTo>
                    <a:pt x="2550" y="462"/>
                  </a:lnTo>
                  <a:lnTo>
                    <a:pt x="2550" y="438"/>
                  </a:lnTo>
                  <a:lnTo>
                    <a:pt x="2616" y="438"/>
                  </a:lnTo>
                  <a:lnTo>
                    <a:pt x="2616" y="450"/>
                  </a:lnTo>
                  <a:lnTo>
                    <a:pt x="2622" y="456"/>
                  </a:lnTo>
                  <a:lnTo>
                    <a:pt x="2634" y="462"/>
                  </a:lnTo>
                  <a:lnTo>
                    <a:pt x="2652" y="462"/>
                  </a:lnTo>
                  <a:lnTo>
                    <a:pt x="2658" y="468"/>
                  </a:lnTo>
                  <a:lnTo>
                    <a:pt x="2670" y="474"/>
                  </a:lnTo>
                  <a:lnTo>
                    <a:pt x="2682" y="486"/>
                  </a:lnTo>
                  <a:lnTo>
                    <a:pt x="2706" y="498"/>
                  </a:lnTo>
                  <a:lnTo>
                    <a:pt x="2718" y="498"/>
                  </a:lnTo>
                  <a:lnTo>
                    <a:pt x="2724" y="510"/>
                  </a:lnTo>
                  <a:lnTo>
                    <a:pt x="2748" y="534"/>
                  </a:lnTo>
                  <a:lnTo>
                    <a:pt x="2748" y="540"/>
                  </a:lnTo>
                  <a:lnTo>
                    <a:pt x="2742" y="546"/>
                  </a:lnTo>
                  <a:lnTo>
                    <a:pt x="2706" y="546"/>
                  </a:lnTo>
                  <a:lnTo>
                    <a:pt x="2700" y="540"/>
                  </a:lnTo>
                  <a:lnTo>
                    <a:pt x="2688" y="534"/>
                  </a:lnTo>
                  <a:lnTo>
                    <a:pt x="2658" y="534"/>
                  </a:lnTo>
                  <a:lnTo>
                    <a:pt x="2652" y="540"/>
                  </a:lnTo>
                  <a:lnTo>
                    <a:pt x="2646" y="540"/>
                  </a:lnTo>
                  <a:lnTo>
                    <a:pt x="2628" y="558"/>
                  </a:lnTo>
                  <a:lnTo>
                    <a:pt x="2598" y="552"/>
                  </a:lnTo>
                  <a:lnTo>
                    <a:pt x="2598" y="570"/>
                  </a:lnTo>
                  <a:lnTo>
                    <a:pt x="2586" y="570"/>
                  </a:lnTo>
                  <a:lnTo>
                    <a:pt x="2550" y="588"/>
                  </a:lnTo>
                  <a:lnTo>
                    <a:pt x="2544" y="594"/>
                  </a:lnTo>
                  <a:lnTo>
                    <a:pt x="2550" y="606"/>
                  </a:lnTo>
                  <a:lnTo>
                    <a:pt x="2562" y="618"/>
                  </a:lnTo>
                  <a:lnTo>
                    <a:pt x="2538" y="642"/>
                  </a:lnTo>
                  <a:lnTo>
                    <a:pt x="2466" y="642"/>
                  </a:lnTo>
                  <a:lnTo>
                    <a:pt x="2466" y="666"/>
                  </a:lnTo>
                  <a:lnTo>
                    <a:pt x="2460" y="672"/>
                  </a:lnTo>
                  <a:lnTo>
                    <a:pt x="2454" y="684"/>
                  </a:lnTo>
                  <a:lnTo>
                    <a:pt x="2442" y="690"/>
                  </a:lnTo>
                  <a:lnTo>
                    <a:pt x="2424" y="690"/>
                  </a:lnTo>
                  <a:lnTo>
                    <a:pt x="2412" y="696"/>
                  </a:lnTo>
                  <a:lnTo>
                    <a:pt x="2388" y="696"/>
                  </a:lnTo>
                  <a:lnTo>
                    <a:pt x="2376" y="690"/>
                  </a:lnTo>
                  <a:lnTo>
                    <a:pt x="2370" y="684"/>
                  </a:lnTo>
                  <a:lnTo>
                    <a:pt x="2358" y="678"/>
                  </a:lnTo>
                  <a:lnTo>
                    <a:pt x="2352" y="672"/>
                  </a:lnTo>
                  <a:lnTo>
                    <a:pt x="2346" y="672"/>
                  </a:lnTo>
                  <a:lnTo>
                    <a:pt x="2340" y="666"/>
                  </a:lnTo>
                  <a:lnTo>
                    <a:pt x="2316" y="666"/>
                  </a:lnTo>
                  <a:lnTo>
                    <a:pt x="2304" y="672"/>
                  </a:lnTo>
                  <a:lnTo>
                    <a:pt x="2304" y="684"/>
                  </a:lnTo>
                  <a:lnTo>
                    <a:pt x="2298" y="696"/>
                  </a:lnTo>
                  <a:lnTo>
                    <a:pt x="2298" y="708"/>
                  </a:lnTo>
                  <a:lnTo>
                    <a:pt x="2304" y="720"/>
                  </a:lnTo>
                  <a:lnTo>
                    <a:pt x="2322" y="738"/>
                  </a:lnTo>
                  <a:lnTo>
                    <a:pt x="2334" y="744"/>
                  </a:lnTo>
                  <a:lnTo>
                    <a:pt x="2352" y="762"/>
                  </a:lnTo>
                  <a:lnTo>
                    <a:pt x="2364" y="768"/>
                  </a:lnTo>
                  <a:lnTo>
                    <a:pt x="2364" y="774"/>
                  </a:lnTo>
                  <a:lnTo>
                    <a:pt x="2358" y="780"/>
                  </a:lnTo>
                  <a:lnTo>
                    <a:pt x="2352" y="792"/>
                  </a:lnTo>
                  <a:lnTo>
                    <a:pt x="2340" y="804"/>
                  </a:lnTo>
                  <a:lnTo>
                    <a:pt x="2316" y="804"/>
                  </a:lnTo>
                  <a:lnTo>
                    <a:pt x="2316" y="810"/>
                  </a:lnTo>
                  <a:lnTo>
                    <a:pt x="2310" y="822"/>
                  </a:lnTo>
                  <a:lnTo>
                    <a:pt x="2310" y="828"/>
                  </a:lnTo>
                  <a:lnTo>
                    <a:pt x="2298" y="852"/>
                  </a:lnTo>
                  <a:lnTo>
                    <a:pt x="2286" y="858"/>
                  </a:lnTo>
                  <a:lnTo>
                    <a:pt x="2262" y="858"/>
                  </a:lnTo>
                  <a:lnTo>
                    <a:pt x="2244" y="882"/>
                  </a:lnTo>
                  <a:lnTo>
                    <a:pt x="2088" y="882"/>
                  </a:lnTo>
                  <a:lnTo>
                    <a:pt x="2070" y="894"/>
                  </a:lnTo>
                  <a:lnTo>
                    <a:pt x="2010" y="930"/>
                  </a:lnTo>
                  <a:lnTo>
                    <a:pt x="1992" y="942"/>
                  </a:lnTo>
                  <a:lnTo>
                    <a:pt x="1986" y="948"/>
                  </a:lnTo>
                  <a:lnTo>
                    <a:pt x="1968" y="948"/>
                  </a:lnTo>
                  <a:lnTo>
                    <a:pt x="1962" y="942"/>
                  </a:lnTo>
                  <a:lnTo>
                    <a:pt x="1956" y="942"/>
                  </a:lnTo>
                  <a:lnTo>
                    <a:pt x="1950" y="930"/>
                  </a:lnTo>
                  <a:lnTo>
                    <a:pt x="1950" y="924"/>
                  </a:lnTo>
                  <a:lnTo>
                    <a:pt x="1938" y="924"/>
                  </a:lnTo>
                  <a:lnTo>
                    <a:pt x="1926" y="930"/>
                  </a:lnTo>
                  <a:lnTo>
                    <a:pt x="1914" y="930"/>
                  </a:lnTo>
                  <a:lnTo>
                    <a:pt x="1908" y="936"/>
                  </a:lnTo>
                  <a:lnTo>
                    <a:pt x="1896" y="936"/>
                  </a:lnTo>
                  <a:lnTo>
                    <a:pt x="1890" y="930"/>
                  </a:lnTo>
                  <a:lnTo>
                    <a:pt x="1866" y="918"/>
                  </a:lnTo>
                  <a:lnTo>
                    <a:pt x="1848" y="912"/>
                  </a:lnTo>
                  <a:lnTo>
                    <a:pt x="1800" y="912"/>
                  </a:lnTo>
                  <a:lnTo>
                    <a:pt x="1776" y="906"/>
                  </a:lnTo>
                  <a:lnTo>
                    <a:pt x="1764" y="900"/>
                  </a:lnTo>
                  <a:lnTo>
                    <a:pt x="1758" y="888"/>
                  </a:lnTo>
                  <a:lnTo>
                    <a:pt x="1740" y="870"/>
                  </a:lnTo>
                  <a:lnTo>
                    <a:pt x="1728" y="870"/>
                  </a:lnTo>
                  <a:lnTo>
                    <a:pt x="1710" y="864"/>
                  </a:lnTo>
                  <a:lnTo>
                    <a:pt x="1656" y="864"/>
                  </a:lnTo>
                  <a:lnTo>
                    <a:pt x="1650" y="858"/>
                  </a:lnTo>
                  <a:lnTo>
                    <a:pt x="1644" y="858"/>
                  </a:lnTo>
                  <a:lnTo>
                    <a:pt x="1632" y="852"/>
                  </a:lnTo>
                  <a:lnTo>
                    <a:pt x="1620" y="852"/>
                  </a:lnTo>
                  <a:lnTo>
                    <a:pt x="1614" y="858"/>
                  </a:lnTo>
                  <a:lnTo>
                    <a:pt x="1602" y="864"/>
                  </a:lnTo>
                  <a:lnTo>
                    <a:pt x="1596" y="870"/>
                  </a:lnTo>
                  <a:lnTo>
                    <a:pt x="1560" y="864"/>
                  </a:lnTo>
                  <a:lnTo>
                    <a:pt x="1512" y="864"/>
                  </a:lnTo>
                  <a:lnTo>
                    <a:pt x="1458" y="858"/>
                  </a:lnTo>
                  <a:lnTo>
                    <a:pt x="1398" y="864"/>
                  </a:lnTo>
                  <a:lnTo>
                    <a:pt x="1386" y="858"/>
                  </a:lnTo>
                  <a:lnTo>
                    <a:pt x="1380" y="846"/>
                  </a:lnTo>
                  <a:lnTo>
                    <a:pt x="1368" y="840"/>
                  </a:lnTo>
                  <a:lnTo>
                    <a:pt x="1338" y="810"/>
                  </a:lnTo>
                  <a:lnTo>
                    <a:pt x="1332" y="798"/>
                  </a:lnTo>
                  <a:lnTo>
                    <a:pt x="1290" y="756"/>
                  </a:lnTo>
                  <a:lnTo>
                    <a:pt x="1278" y="732"/>
                  </a:lnTo>
                  <a:lnTo>
                    <a:pt x="1242" y="732"/>
                  </a:lnTo>
                  <a:lnTo>
                    <a:pt x="1236" y="726"/>
                  </a:lnTo>
                  <a:lnTo>
                    <a:pt x="1224" y="726"/>
                  </a:lnTo>
                  <a:lnTo>
                    <a:pt x="1200" y="714"/>
                  </a:lnTo>
                  <a:lnTo>
                    <a:pt x="1194" y="714"/>
                  </a:lnTo>
                  <a:lnTo>
                    <a:pt x="1188" y="708"/>
                  </a:lnTo>
                  <a:lnTo>
                    <a:pt x="1182" y="708"/>
                  </a:lnTo>
                  <a:lnTo>
                    <a:pt x="1176" y="696"/>
                  </a:lnTo>
                  <a:lnTo>
                    <a:pt x="1164" y="690"/>
                  </a:lnTo>
                  <a:lnTo>
                    <a:pt x="1158" y="690"/>
                  </a:lnTo>
                  <a:lnTo>
                    <a:pt x="1146" y="684"/>
                  </a:lnTo>
                  <a:lnTo>
                    <a:pt x="1140" y="684"/>
                  </a:lnTo>
                  <a:lnTo>
                    <a:pt x="1134" y="678"/>
                  </a:lnTo>
                  <a:lnTo>
                    <a:pt x="1038" y="678"/>
                  </a:lnTo>
                  <a:lnTo>
                    <a:pt x="1014" y="672"/>
                  </a:lnTo>
                  <a:lnTo>
                    <a:pt x="996" y="666"/>
                  </a:lnTo>
                  <a:lnTo>
                    <a:pt x="990" y="666"/>
                  </a:lnTo>
                  <a:lnTo>
                    <a:pt x="978" y="660"/>
                  </a:lnTo>
                  <a:lnTo>
                    <a:pt x="966" y="660"/>
                  </a:lnTo>
                  <a:lnTo>
                    <a:pt x="954" y="654"/>
                  </a:lnTo>
                  <a:lnTo>
                    <a:pt x="948" y="648"/>
                  </a:lnTo>
                  <a:lnTo>
                    <a:pt x="942" y="636"/>
                  </a:lnTo>
                  <a:lnTo>
                    <a:pt x="936" y="618"/>
                  </a:lnTo>
                  <a:lnTo>
                    <a:pt x="936" y="606"/>
                  </a:lnTo>
                  <a:lnTo>
                    <a:pt x="948" y="594"/>
                  </a:lnTo>
                  <a:lnTo>
                    <a:pt x="948" y="588"/>
                  </a:lnTo>
                  <a:lnTo>
                    <a:pt x="942" y="582"/>
                  </a:lnTo>
                  <a:lnTo>
                    <a:pt x="936" y="570"/>
                  </a:lnTo>
                  <a:lnTo>
                    <a:pt x="930" y="564"/>
                  </a:lnTo>
                  <a:lnTo>
                    <a:pt x="930" y="552"/>
                  </a:lnTo>
                  <a:lnTo>
                    <a:pt x="924" y="540"/>
                  </a:lnTo>
                  <a:lnTo>
                    <a:pt x="912" y="528"/>
                  </a:lnTo>
                  <a:lnTo>
                    <a:pt x="888" y="510"/>
                  </a:lnTo>
                  <a:lnTo>
                    <a:pt x="876" y="492"/>
                  </a:lnTo>
                  <a:lnTo>
                    <a:pt x="870" y="480"/>
                  </a:lnTo>
                  <a:lnTo>
                    <a:pt x="852" y="462"/>
                  </a:lnTo>
                  <a:lnTo>
                    <a:pt x="834" y="456"/>
                  </a:lnTo>
                  <a:lnTo>
                    <a:pt x="822" y="450"/>
                  </a:lnTo>
                  <a:lnTo>
                    <a:pt x="810" y="450"/>
                  </a:lnTo>
                  <a:lnTo>
                    <a:pt x="804" y="444"/>
                  </a:lnTo>
                  <a:lnTo>
                    <a:pt x="786" y="432"/>
                  </a:lnTo>
                  <a:lnTo>
                    <a:pt x="750" y="444"/>
                  </a:lnTo>
                  <a:lnTo>
                    <a:pt x="726" y="420"/>
                  </a:lnTo>
                  <a:lnTo>
                    <a:pt x="720" y="408"/>
                  </a:lnTo>
                  <a:lnTo>
                    <a:pt x="708" y="408"/>
                  </a:lnTo>
                  <a:lnTo>
                    <a:pt x="696" y="402"/>
                  </a:lnTo>
                  <a:lnTo>
                    <a:pt x="684" y="402"/>
                  </a:lnTo>
                  <a:lnTo>
                    <a:pt x="672" y="396"/>
                  </a:lnTo>
                  <a:lnTo>
                    <a:pt x="672" y="378"/>
                  </a:lnTo>
                  <a:lnTo>
                    <a:pt x="648" y="378"/>
                  </a:lnTo>
                  <a:lnTo>
                    <a:pt x="654" y="372"/>
                  </a:lnTo>
                  <a:lnTo>
                    <a:pt x="654" y="360"/>
                  </a:lnTo>
                  <a:lnTo>
                    <a:pt x="648" y="354"/>
                  </a:lnTo>
                  <a:lnTo>
                    <a:pt x="612" y="354"/>
                  </a:lnTo>
                  <a:lnTo>
                    <a:pt x="600" y="348"/>
                  </a:lnTo>
                  <a:lnTo>
                    <a:pt x="582" y="348"/>
                  </a:lnTo>
                  <a:lnTo>
                    <a:pt x="576" y="354"/>
                  </a:lnTo>
                  <a:lnTo>
                    <a:pt x="576" y="360"/>
                  </a:lnTo>
                  <a:lnTo>
                    <a:pt x="594" y="378"/>
                  </a:lnTo>
                  <a:lnTo>
                    <a:pt x="594" y="390"/>
                  </a:lnTo>
                  <a:lnTo>
                    <a:pt x="588" y="396"/>
                  </a:lnTo>
                  <a:lnTo>
                    <a:pt x="546" y="396"/>
                  </a:lnTo>
                  <a:lnTo>
                    <a:pt x="534" y="408"/>
                  </a:lnTo>
                  <a:lnTo>
                    <a:pt x="534" y="426"/>
                  </a:lnTo>
                  <a:lnTo>
                    <a:pt x="546" y="450"/>
                  </a:lnTo>
                  <a:lnTo>
                    <a:pt x="558" y="462"/>
                  </a:lnTo>
                  <a:lnTo>
                    <a:pt x="570" y="486"/>
                  </a:lnTo>
                  <a:lnTo>
                    <a:pt x="570" y="504"/>
                  </a:lnTo>
                  <a:lnTo>
                    <a:pt x="564" y="510"/>
                  </a:lnTo>
                  <a:lnTo>
                    <a:pt x="546" y="510"/>
                  </a:lnTo>
                  <a:lnTo>
                    <a:pt x="528" y="528"/>
                  </a:lnTo>
                  <a:lnTo>
                    <a:pt x="516" y="516"/>
                  </a:lnTo>
                  <a:lnTo>
                    <a:pt x="468" y="516"/>
                  </a:lnTo>
                  <a:lnTo>
                    <a:pt x="444" y="504"/>
                  </a:lnTo>
                  <a:lnTo>
                    <a:pt x="432" y="504"/>
                  </a:lnTo>
                  <a:lnTo>
                    <a:pt x="420" y="498"/>
                  </a:lnTo>
                  <a:lnTo>
                    <a:pt x="408" y="498"/>
                  </a:lnTo>
                  <a:lnTo>
                    <a:pt x="408" y="636"/>
                  </a:lnTo>
                  <a:lnTo>
                    <a:pt x="414" y="636"/>
                  </a:lnTo>
                  <a:lnTo>
                    <a:pt x="420" y="642"/>
                  </a:lnTo>
                  <a:lnTo>
                    <a:pt x="426" y="642"/>
                  </a:lnTo>
                  <a:lnTo>
                    <a:pt x="432" y="648"/>
                  </a:lnTo>
                  <a:lnTo>
                    <a:pt x="432" y="660"/>
                  </a:lnTo>
                  <a:lnTo>
                    <a:pt x="426" y="666"/>
                  </a:lnTo>
                  <a:lnTo>
                    <a:pt x="420" y="666"/>
                  </a:lnTo>
                  <a:lnTo>
                    <a:pt x="408" y="654"/>
                  </a:lnTo>
                  <a:lnTo>
                    <a:pt x="390" y="666"/>
                  </a:lnTo>
                  <a:lnTo>
                    <a:pt x="384" y="660"/>
                  </a:lnTo>
                  <a:lnTo>
                    <a:pt x="378" y="648"/>
                  </a:lnTo>
                  <a:lnTo>
                    <a:pt x="372" y="642"/>
                  </a:lnTo>
                  <a:lnTo>
                    <a:pt x="360" y="642"/>
                  </a:lnTo>
                  <a:lnTo>
                    <a:pt x="324" y="660"/>
                  </a:lnTo>
                  <a:lnTo>
                    <a:pt x="312" y="660"/>
                  </a:lnTo>
                  <a:lnTo>
                    <a:pt x="300" y="666"/>
                  </a:lnTo>
                  <a:lnTo>
                    <a:pt x="288" y="666"/>
                  </a:lnTo>
                  <a:lnTo>
                    <a:pt x="276" y="672"/>
                  </a:lnTo>
                  <a:lnTo>
                    <a:pt x="270" y="678"/>
                  </a:lnTo>
                  <a:lnTo>
                    <a:pt x="270" y="684"/>
                  </a:lnTo>
                  <a:lnTo>
                    <a:pt x="276" y="690"/>
                  </a:lnTo>
                  <a:lnTo>
                    <a:pt x="288" y="696"/>
                  </a:lnTo>
                  <a:lnTo>
                    <a:pt x="306" y="696"/>
                  </a:lnTo>
                  <a:lnTo>
                    <a:pt x="306" y="726"/>
                  </a:lnTo>
                  <a:lnTo>
                    <a:pt x="318" y="750"/>
                  </a:lnTo>
                  <a:lnTo>
                    <a:pt x="360" y="792"/>
                  </a:lnTo>
                  <a:lnTo>
                    <a:pt x="366" y="804"/>
                  </a:lnTo>
                  <a:lnTo>
                    <a:pt x="378" y="810"/>
                  </a:lnTo>
                  <a:lnTo>
                    <a:pt x="378" y="822"/>
                  </a:lnTo>
                  <a:lnTo>
                    <a:pt x="360" y="822"/>
                  </a:lnTo>
                  <a:lnTo>
                    <a:pt x="354" y="828"/>
                  </a:lnTo>
                  <a:lnTo>
                    <a:pt x="354" y="834"/>
                  </a:lnTo>
                  <a:lnTo>
                    <a:pt x="372" y="852"/>
                  </a:lnTo>
                  <a:lnTo>
                    <a:pt x="348" y="852"/>
                  </a:lnTo>
                  <a:lnTo>
                    <a:pt x="348" y="864"/>
                  </a:lnTo>
                  <a:lnTo>
                    <a:pt x="354" y="870"/>
                  </a:lnTo>
                  <a:lnTo>
                    <a:pt x="354" y="882"/>
                  </a:lnTo>
                  <a:lnTo>
                    <a:pt x="372" y="900"/>
                  </a:lnTo>
                  <a:lnTo>
                    <a:pt x="372" y="912"/>
                  </a:lnTo>
                  <a:lnTo>
                    <a:pt x="366" y="918"/>
                  </a:lnTo>
                  <a:lnTo>
                    <a:pt x="342" y="918"/>
                  </a:lnTo>
                  <a:lnTo>
                    <a:pt x="294" y="936"/>
                  </a:lnTo>
                  <a:lnTo>
                    <a:pt x="282" y="948"/>
                  </a:lnTo>
                  <a:lnTo>
                    <a:pt x="270" y="954"/>
                  </a:lnTo>
                  <a:lnTo>
                    <a:pt x="264" y="960"/>
                  </a:lnTo>
                  <a:lnTo>
                    <a:pt x="264" y="978"/>
                  </a:lnTo>
                  <a:lnTo>
                    <a:pt x="258" y="990"/>
                  </a:lnTo>
                  <a:lnTo>
                    <a:pt x="252" y="996"/>
                  </a:lnTo>
                  <a:lnTo>
                    <a:pt x="234" y="996"/>
                  </a:lnTo>
                  <a:lnTo>
                    <a:pt x="216" y="990"/>
                  </a:lnTo>
                  <a:lnTo>
                    <a:pt x="186" y="990"/>
                  </a:lnTo>
                  <a:lnTo>
                    <a:pt x="168" y="1008"/>
                  </a:lnTo>
                  <a:lnTo>
                    <a:pt x="162" y="1020"/>
                  </a:lnTo>
                  <a:lnTo>
                    <a:pt x="162" y="1044"/>
                  </a:lnTo>
                  <a:lnTo>
                    <a:pt x="156" y="1050"/>
                  </a:lnTo>
                  <a:lnTo>
                    <a:pt x="126" y="1044"/>
                  </a:lnTo>
                  <a:lnTo>
                    <a:pt x="114" y="1050"/>
                  </a:lnTo>
                  <a:lnTo>
                    <a:pt x="108" y="1044"/>
                  </a:lnTo>
                  <a:lnTo>
                    <a:pt x="102" y="1032"/>
                  </a:lnTo>
                  <a:lnTo>
                    <a:pt x="96" y="1026"/>
                  </a:lnTo>
                  <a:lnTo>
                    <a:pt x="84" y="1026"/>
                  </a:lnTo>
                  <a:lnTo>
                    <a:pt x="72" y="1038"/>
                  </a:lnTo>
                  <a:lnTo>
                    <a:pt x="48" y="1038"/>
                  </a:lnTo>
                  <a:lnTo>
                    <a:pt x="48" y="1056"/>
                  </a:lnTo>
                  <a:lnTo>
                    <a:pt x="36" y="1062"/>
                  </a:lnTo>
                  <a:lnTo>
                    <a:pt x="30" y="1068"/>
                  </a:lnTo>
                  <a:lnTo>
                    <a:pt x="18" y="1068"/>
                  </a:lnTo>
                  <a:lnTo>
                    <a:pt x="6" y="1074"/>
                  </a:lnTo>
                  <a:lnTo>
                    <a:pt x="0" y="1080"/>
                  </a:lnTo>
                  <a:lnTo>
                    <a:pt x="0" y="1086"/>
                  </a:lnTo>
                  <a:lnTo>
                    <a:pt x="12" y="1092"/>
                  </a:lnTo>
                  <a:lnTo>
                    <a:pt x="18" y="1104"/>
                  </a:lnTo>
                  <a:lnTo>
                    <a:pt x="18" y="1116"/>
                  </a:lnTo>
                  <a:lnTo>
                    <a:pt x="0" y="1116"/>
                  </a:lnTo>
                  <a:lnTo>
                    <a:pt x="0" y="1140"/>
                  </a:lnTo>
                  <a:lnTo>
                    <a:pt x="18" y="1140"/>
                  </a:lnTo>
                  <a:lnTo>
                    <a:pt x="18" y="1152"/>
                  </a:lnTo>
                  <a:lnTo>
                    <a:pt x="12" y="1164"/>
                  </a:lnTo>
                  <a:lnTo>
                    <a:pt x="12" y="1176"/>
                  </a:lnTo>
                  <a:lnTo>
                    <a:pt x="24" y="1188"/>
                  </a:lnTo>
                  <a:lnTo>
                    <a:pt x="36" y="1188"/>
                  </a:lnTo>
                  <a:lnTo>
                    <a:pt x="42" y="1182"/>
                  </a:lnTo>
                  <a:lnTo>
                    <a:pt x="66" y="1182"/>
                  </a:lnTo>
                  <a:lnTo>
                    <a:pt x="78" y="1188"/>
                  </a:lnTo>
                  <a:lnTo>
                    <a:pt x="84" y="1188"/>
                  </a:lnTo>
                  <a:lnTo>
                    <a:pt x="96" y="1194"/>
                  </a:lnTo>
                  <a:lnTo>
                    <a:pt x="102" y="1200"/>
                  </a:lnTo>
                  <a:lnTo>
                    <a:pt x="102" y="1242"/>
                  </a:lnTo>
                  <a:lnTo>
                    <a:pt x="114" y="1266"/>
                  </a:lnTo>
                  <a:lnTo>
                    <a:pt x="120" y="1272"/>
                  </a:lnTo>
                  <a:lnTo>
                    <a:pt x="126" y="1272"/>
                  </a:lnTo>
                  <a:lnTo>
                    <a:pt x="138" y="1284"/>
                  </a:lnTo>
                  <a:lnTo>
                    <a:pt x="132" y="1290"/>
                  </a:lnTo>
                  <a:lnTo>
                    <a:pt x="102" y="1290"/>
                  </a:lnTo>
                  <a:lnTo>
                    <a:pt x="96" y="1296"/>
                  </a:lnTo>
                  <a:lnTo>
                    <a:pt x="96" y="1308"/>
                  </a:lnTo>
                  <a:lnTo>
                    <a:pt x="108" y="1314"/>
                  </a:lnTo>
                  <a:lnTo>
                    <a:pt x="114" y="1320"/>
                  </a:lnTo>
                  <a:lnTo>
                    <a:pt x="162" y="1320"/>
                  </a:lnTo>
                  <a:lnTo>
                    <a:pt x="168" y="1332"/>
                  </a:lnTo>
                  <a:lnTo>
                    <a:pt x="180" y="1332"/>
                  </a:lnTo>
                  <a:lnTo>
                    <a:pt x="192" y="1338"/>
                  </a:lnTo>
                  <a:lnTo>
                    <a:pt x="204" y="1350"/>
                  </a:lnTo>
                  <a:lnTo>
                    <a:pt x="216" y="1374"/>
                  </a:lnTo>
                  <a:lnTo>
                    <a:pt x="216" y="1398"/>
                  </a:lnTo>
                  <a:lnTo>
                    <a:pt x="252" y="1410"/>
                  </a:lnTo>
                  <a:lnTo>
                    <a:pt x="264" y="1404"/>
                  </a:lnTo>
                  <a:lnTo>
                    <a:pt x="264" y="1410"/>
                  </a:lnTo>
                  <a:lnTo>
                    <a:pt x="270" y="1416"/>
                  </a:lnTo>
                  <a:lnTo>
                    <a:pt x="276" y="1428"/>
                  </a:lnTo>
                  <a:lnTo>
                    <a:pt x="288" y="1434"/>
                  </a:lnTo>
                  <a:lnTo>
                    <a:pt x="366" y="1434"/>
                  </a:lnTo>
                  <a:lnTo>
                    <a:pt x="378" y="1428"/>
                  </a:lnTo>
                  <a:lnTo>
                    <a:pt x="384" y="1416"/>
                  </a:lnTo>
                  <a:lnTo>
                    <a:pt x="402" y="1410"/>
                  </a:lnTo>
                  <a:lnTo>
                    <a:pt x="426" y="1398"/>
                  </a:lnTo>
                  <a:lnTo>
                    <a:pt x="438" y="1398"/>
                  </a:lnTo>
                  <a:lnTo>
                    <a:pt x="456" y="1410"/>
                  </a:lnTo>
                  <a:lnTo>
                    <a:pt x="480" y="1434"/>
                  </a:lnTo>
                  <a:lnTo>
                    <a:pt x="522" y="1434"/>
                  </a:lnTo>
                  <a:lnTo>
                    <a:pt x="522" y="1494"/>
                  </a:lnTo>
                  <a:lnTo>
                    <a:pt x="516" y="1500"/>
                  </a:lnTo>
                  <a:lnTo>
                    <a:pt x="498" y="1500"/>
                  </a:lnTo>
                  <a:lnTo>
                    <a:pt x="498" y="1506"/>
                  </a:lnTo>
                  <a:lnTo>
                    <a:pt x="504" y="1512"/>
                  </a:lnTo>
                  <a:lnTo>
                    <a:pt x="504" y="1536"/>
                  </a:lnTo>
                  <a:lnTo>
                    <a:pt x="498" y="1548"/>
                  </a:lnTo>
                  <a:lnTo>
                    <a:pt x="486" y="1554"/>
                  </a:lnTo>
                  <a:lnTo>
                    <a:pt x="456" y="1554"/>
                  </a:lnTo>
                  <a:lnTo>
                    <a:pt x="474" y="1578"/>
                  </a:lnTo>
                  <a:lnTo>
                    <a:pt x="456" y="1584"/>
                  </a:lnTo>
                  <a:lnTo>
                    <a:pt x="456" y="1608"/>
                  </a:lnTo>
                  <a:lnTo>
                    <a:pt x="480" y="1620"/>
                  </a:lnTo>
                  <a:lnTo>
                    <a:pt x="492" y="1620"/>
                  </a:lnTo>
                  <a:lnTo>
                    <a:pt x="498" y="1626"/>
                  </a:lnTo>
                  <a:lnTo>
                    <a:pt x="504" y="1638"/>
                  </a:lnTo>
                  <a:lnTo>
                    <a:pt x="522" y="1656"/>
                  </a:lnTo>
                  <a:lnTo>
                    <a:pt x="522" y="1668"/>
                  </a:lnTo>
                  <a:lnTo>
                    <a:pt x="510" y="1674"/>
                  </a:lnTo>
                  <a:lnTo>
                    <a:pt x="504" y="1680"/>
                  </a:lnTo>
                  <a:lnTo>
                    <a:pt x="498" y="1680"/>
                  </a:lnTo>
                  <a:lnTo>
                    <a:pt x="486" y="1698"/>
                  </a:lnTo>
                  <a:lnTo>
                    <a:pt x="474" y="1686"/>
                  </a:lnTo>
                  <a:lnTo>
                    <a:pt x="474" y="1668"/>
                  </a:lnTo>
                  <a:lnTo>
                    <a:pt x="462" y="1668"/>
                  </a:lnTo>
                  <a:lnTo>
                    <a:pt x="456" y="1674"/>
                  </a:lnTo>
                  <a:lnTo>
                    <a:pt x="450" y="1674"/>
                  </a:lnTo>
                  <a:lnTo>
                    <a:pt x="450" y="1692"/>
                  </a:lnTo>
                  <a:lnTo>
                    <a:pt x="456" y="1698"/>
                  </a:lnTo>
                  <a:lnTo>
                    <a:pt x="462" y="1710"/>
                  </a:lnTo>
                  <a:lnTo>
                    <a:pt x="474" y="1722"/>
                  </a:lnTo>
                  <a:lnTo>
                    <a:pt x="480" y="1722"/>
                  </a:lnTo>
                  <a:lnTo>
                    <a:pt x="480" y="1734"/>
                  </a:lnTo>
                  <a:lnTo>
                    <a:pt x="474" y="1740"/>
                  </a:lnTo>
                  <a:lnTo>
                    <a:pt x="474" y="1758"/>
                  </a:lnTo>
                  <a:lnTo>
                    <a:pt x="480" y="1764"/>
                  </a:lnTo>
                  <a:lnTo>
                    <a:pt x="510" y="1764"/>
                  </a:lnTo>
                  <a:lnTo>
                    <a:pt x="516" y="1776"/>
                  </a:lnTo>
                  <a:lnTo>
                    <a:pt x="528" y="1788"/>
                  </a:lnTo>
                  <a:lnTo>
                    <a:pt x="540" y="1794"/>
                  </a:lnTo>
                  <a:lnTo>
                    <a:pt x="552" y="1794"/>
                  </a:lnTo>
                  <a:lnTo>
                    <a:pt x="558" y="1800"/>
                  </a:lnTo>
                  <a:lnTo>
                    <a:pt x="564" y="1800"/>
                  </a:lnTo>
                  <a:lnTo>
                    <a:pt x="582" y="1818"/>
                  </a:lnTo>
                  <a:lnTo>
                    <a:pt x="600" y="1812"/>
                  </a:lnTo>
                  <a:lnTo>
                    <a:pt x="600" y="1830"/>
                  </a:lnTo>
                  <a:lnTo>
                    <a:pt x="612" y="1836"/>
                  </a:lnTo>
                  <a:lnTo>
                    <a:pt x="624" y="1836"/>
                  </a:lnTo>
                  <a:lnTo>
                    <a:pt x="666" y="1872"/>
                  </a:lnTo>
                  <a:lnTo>
                    <a:pt x="690" y="1854"/>
                  </a:lnTo>
                  <a:lnTo>
                    <a:pt x="696" y="1848"/>
                  </a:lnTo>
                  <a:lnTo>
                    <a:pt x="708" y="1842"/>
                  </a:lnTo>
                  <a:lnTo>
                    <a:pt x="720" y="1842"/>
                  </a:lnTo>
                  <a:lnTo>
                    <a:pt x="732" y="1848"/>
                  </a:lnTo>
                  <a:lnTo>
                    <a:pt x="744" y="1860"/>
                  </a:lnTo>
                  <a:lnTo>
                    <a:pt x="750" y="1872"/>
                  </a:lnTo>
                  <a:lnTo>
                    <a:pt x="762" y="1878"/>
                  </a:lnTo>
                  <a:lnTo>
                    <a:pt x="780" y="1896"/>
                  </a:lnTo>
                  <a:lnTo>
                    <a:pt x="822" y="1902"/>
                  </a:lnTo>
                  <a:lnTo>
                    <a:pt x="828" y="1914"/>
                  </a:lnTo>
                  <a:lnTo>
                    <a:pt x="834" y="1920"/>
                  </a:lnTo>
                  <a:lnTo>
                    <a:pt x="840" y="1932"/>
                  </a:lnTo>
                  <a:lnTo>
                    <a:pt x="846" y="1938"/>
                  </a:lnTo>
                  <a:lnTo>
                    <a:pt x="846" y="1950"/>
                  </a:lnTo>
                  <a:lnTo>
                    <a:pt x="858" y="1950"/>
                  </a:lnTo>
                  <a:lnTo>
                    <a:pt x="858" y="1944"/>
                  </a:lnTo>
                  <a:lnTo>
                    <a:pt x="864" y="1938"/>
                  </a:lnTo>
                  <a:lnTo>
                    <a:pt x="870" y="1926"/>
                  </a:lnTo>
                  <a:lnTo>
                    <a:pt x="882" y="1926"/>
                  </a:lnTo>
                  <a:lnTo>
                    <a:pt x="888" y="1932"/>
                  </a:lnTo>
                  <a:lnTo>
                    <a:pt x="894" y="1944"/>
                  </a:lnTo>
                  <a:lnTo>
                    <a:pt x="894" y="1962"/>
                  </a:lnTo>
                  <a:lnTo>
                    <a:pt x="924" y="1992"/>
                  </a:lnTo>
                  <a:lnTo>
                    <a:pt x="936" y="1998"/>
                  </a:lnTo>
                  <a:lnTo>
                    <a:pt x="942" y="1992"/>
                  </a:lnTo>
                  <a:lnTo>
                    <a:pt x="954" y="1986"/>
                  </a:lnTo>
                  <a:lnTo>
                    <a:pt x="960" y="1986"/>
                  </a:lnTo>
                  <a:lnTo>
                    <a:pt x="966" y="1992"/>
                  </a:lnTo>
                  <a:lnTo>
                    <a:pt x="966" y="1998"/>
                  </a:lnTo>
                  <a:lnTo>
                    <a:pt x="960" y="2004"/>
                  </a:lnTo>
                  <a:lnTo>
                    <a:pt x="960" y="2010"/>
                  </a:lnTo>
                  <a:lnTo>
                    <a:pt x="966" y="2010"/>
                  </a:lnTo>
                  <a:lnTo>
                    <a:pt x="972" y="2016"/>
                  </a:lnTo>
                  <a:lnTo>
                    <a:pt x="990" y="2022"/>
                  </a:lnTo>
                  <a:lnTo>
                    <a:pt x="1002" y="2022"/>
                  </a:lnTo>
                  <a:lnTo>
                    <a:pt x="1008" y="2016"/>
                  </a:lnTo>
                  <a:lnTo>
                    <a:pt x="1014" y="2016"/>
                  </a:lnTo>
                  <a:lnTo>
                    <a:pt x="1014" y="2034"/>
                  </a:lnTo>
                  <a:lnTo>
                    <a:pt x="1020" y="2040"/>
                  </a:lnTo>
                  <a:lnTo>
                    <a:pt x="1032" y="2040"/>
                  </a:lnTo>
                  <a:lnTo>
                    <a:pt x="1044" y="2028"/>
                  </a:lnTo>
                  <a:lnTo>
                    <a:pt x="1044" y="2022"/>
                  </a:lnTo>
                  <a:lnTo>
                    <a:pt x="1044" y="2034"/>
                  </a:lnTo>
                  <a:lnTo>
                    <a:pt x="1050" y="2040"/>
                  </a:lnTo>
                  <a:lnTo>
                    <a:pt x="1068" y="2040"/>
                  </a:lnTo>
                  <a:lnTo>
                    <a:pt x="1074" y="2034"/>
                  </a:lnTo>
                  <a:lnTo>
                    <a:pt x="1074" y="2028"/>
                  </a:lnTo>
                  <a:lnTo>
                    <a:pt x="1086" y="2034"/>
                  </a:lnTo>
                  <a:lnTo>
                    <a:pt x="1092" y="2040"/>
                  </a:lnTo>
                  <a:lnTo>
                    <a:pt x="1110" y="2046"/>
                  </a:lnTo>
                  <a:lnTo>
                    <a:pt x="1134" y="2058"/>
                  </a:lnTo>
                  <a:lnTo>
                    <a:pt x="1158" y="2058"/>
                  </a:lnTo>
                  <a:lnTo>
                    <a:pt x="1176" y="2040"/>
                  </a:lnTo>
                  <a:lnTo>
                    <a:pt x="1194" y="2034"/>
                  </a:lnTo>
                  <a:lnTo>
                    <a:pt x="1206" y="2028"/>
                  </a:lnTo>
                  <a:lnTo>
                    <a:pt x="1212" y="2028"/>
                  </a:lnTo>
                  <a:lnTo>
                    <a:pt x="1224" y="2034"/>
                  </a:lnTo>
                  <a:lnTo>
                    <a:pt x="1230" y="2040"/>
                  </a:lnTo>
                  <a:lnTo>
                    <a:pt x="1230" y="2088"/>
                  </a:lnTo>
                  <a:lnTo>
                    <a:pt x="1236" y="2094"/>
                  </a:lnTo>
                  <a:lnTo>
                    <a:pt x="1242" y="2094"/>
                  </a:lnTo>
                  <a:lnTo>
                    <a:pt x="1242" y="2088"/>
                  </a:lnTo>
                  <a:lnTo>
                    <a:pt x="1248" y="2082"/>
                  </a:lnTo>
                  <a:lnTo>
                    <a:pt x="1254" y="2070"/>
                  </a:lnTo>
                  <a:lnTo>
                    <a:pt x="1266" y="2052"/>
                  </a:lnTo>
                  <a:lnTo>
                    <a:pt x="1272" y="2040"/>
                  </a:lnTo>
                  <a:lnTo>
                    <a:pt x="1284" y="2028"/>
                  </a:lnTo>
                  <a:lnTo>
                    <a:pt x="1290" y="2016"/>
                  </a:lnTo>
                  <a:lnTo>
                    <a:pt x="1302" y="2016"/>
                  </a:lnTo>
                  <a:lnTo>
                    <a:pt x="1314" y="2022"/>
                  </a:lnTo>
                  <a:lnTo>
                    <a:pt x="1338" y="2022"/>
                  </a:lnTo>
                  <a:lnTo>
                    <a:pt x="1338" y="2046"/>
                  </a:lnTo>
                  <a:lnTo>
                    <a:pt x="1344" y="2046"/>
                  </a:lnTo>
                  <a:lnTo>
                    <a:pt x="1350" y="2040"/>
                  </a:lnTo>
                  <a:lnTo>
                    <a:pt x="1362" y="2034"/>
                  </a:lnTo>
                  <a:lnTo>
                    <a:pt x="1374" y="2034"/>
                  </a:lnTo>
                  <a:lnTo>
                    <a:pt x="1386" y="2028"/>
                  </a:lnTo>
                  <a:lnTo>
                    <a:pt x="1398" y="2028"/>
                  </a:lnTo>
                  <a:lnTo>
                    <a:pt x="1410" y="2034"/>
                  </a:lnTo>
                  <a:lnTo>
                    <a:pt x="1422" y="2046"/>
                  </a:lnTo>
                  <a:lnTo>
                    <a:pt x="1428" y="2058"/>
                  </a:lnTo>
                  <a:lnTo>
                    <a:pt x="1428" y="2064"/>
                  </a:lnTo>
                  <a:lnTo>
                    <a:pt x="1482" y="2064"/>
                  </a:lnTo>
                  <a:lnTo>
                    <a:pt x="1494" y="2052"/>
                  </a:lnTo>
                  <a:lnTo>
                    <a:pt x="1494" y="2034"/>
                  </a:lnTo>
                  <a:lnTo>
                    <a:pt x="1488" y="2022"/>
                  </a:lnTo>
                  <a:lnTo>
                    <a:pt x="1518" y="2022"/>
                  </a:lnTo>
                  <a:lnTo>
                    <a:pt x="1524" y="2016"/>
                  </a:lnTo>
                  <a:lnTo>
                    <a:pt x="1524" y="1992"/>
                  </a:lnTo>
                  <a:lnTo>
                    <a:pt x="1518" y="1986"/>
                  </a:lnTo>
                  <a:lnTo>
                    <a:pt x="1518" y="1980"/>
                  </a:lnTo>
                  <a:lnTo>
                    <a:pt x="1554" y="1980"/>
                  </a:lnTo>
                  <a:lnTo>
                    <a:pt x="1578" y="1956"/>
                  </a:lnTo>
                  <a:lnTo>
                    <a:pt x="1590" y="1950"/>
                  </a:lnTo>
                  <a:lnTo>
                    <a:pt x="1602" y="1938"/>
                  </a:lnTo>
                  <a:lnTo>
                    <a:pt x="1620" y="1938"/>
                  </a:lnTo>
                  <a:lnTo>
                    <a:pt x="1632" y="1944"/>
                  </a:lnTo>
                  <a:lnTo>
                    <a:pt x="1650" y="1956"/>
                  </a:lnTo>
                  <a:lnTo>
                    <a:pt x="1668" y="1956"/>
                  </a:lnTo>
                  <a:lnTo>
                    <a:pt x="1668" y="1932"/>
                  </a:lnTo>
                  <a:lnTo>
                    <a:pt x="1680" y="1920"/>
                  </a:lnTo>
                  <a:lnTo>
                    <a:pt x="1716" y="1938"/>
                  </a:lnTo>
                  <a:lnTo>
                    <a:pt x="1722" y="1944"/>
                  </a:lnTo>
                  <a:lnTo>
                    <a:pt x="1710" y="1956"/>
                  </a:lnTo>
                  <a:lnTo>
                    <a:pt x="1704" y="1956"/>
                  </a:lnTo>
                  <a:lnTo>
                    <a:pt x="1710" y="1962"/>
                  </a:lnTo>
                  <a:lnTo>
                    <a:pt x="1740" y="1962"/>
                  </a:lnTo>
                  <a:lnTo>
                    <a:pt x="1758" y="1992"/>
                  </a:lnTo>
                  <a:lnTo>
                    <a:pt x="1752" y="1992"/>
                  </a:lnTo>
                  <a:lnTo>
                    <a:pt x="1740" y="2004"/>
                  </a:lnTo>
                  <a:lnTo>
                    <a:pt x="1740" y="2010"/>
                  </a:lnTo>
                  <a:lnTo>
                    <a:pt x="1806" y="2010"/>
                  </a:lnTo>
                  <a:lnTo>
                    <a:pt x="1812" y="2016"/>
                  </a:lnTo>
                  <a:lnTo>
                    <a:pt x="1818" y="2016"/>
                  </a:lnTo>
                  <a:lnTo>
                    <a:pt x="1824" y="1998"/>
                  </a:lnTo>
                  <a:lnTo>
                    <a:pt x="1830" y="1998"/>
                  </a:lnTo>
                  <a:lnTo>
                    <a:pt x="1836" y="2004"/>
                  </a:lnTo>
                  <a:lnTo>
                    <a:pt x="1842" y="2016"/>
                  </a:lnTo>
                  <a:lnTo>
                    <a:pt x="1854" y="2022"/>
                  </a:lnTo>
                  <a:lnTo>
                    <a:pt x="1872" y="2058"/>
                  </a:lnTo>
                  <a:lnTo>
                    <a:pt x="1878" y="2064"/>
                  </a:lnTo>
                  <a:lnTo>
                    <a:pt x="1878" y="2070"/>
                  </a:lnTo>
                  <a:lnTo>
                    <a:pt x="1914" y="2070"/>
                  </a:lnTo>
                  <a:lnTo>
                    <a:pt x="1920" y="2076"/>
                  </a:lnTo>
                  <a:lnTo>
                    <a:pt x="1920" y="2106"/>
                  </a:lnTo>
                  <a:lnTo>
                    <a:pt x="1932" y="2130"/>
                  </a:lnTo>
                  <a:lnTo>
                    <a:pt x="1944" y="2190"/>
                  </a:lnTo>
                  <a:lnTo>
                    <a:pt x="1932" y="2190"/>
                  </a:lnTo>
                  <a:lnTo>
                    <a:pt x="1926" y="2196"/>
                  </a:lnTo>
                  <a:lnTo>
                    <a:pt x="1914" y="2196"/>
                  </a:lnTo>
                  <a:lnTo>
                    <a:pt x="1932" y="2214"/>
                  </a:lnTo>
                  <a:lnTo>
                    <a:pt x="1932" y="2220"/>
                  </a:lnTo>
                  <a:lnTo>
                    <a:pt x="1926" y="2232"/>
                  </a:lnTo>
                  <a:lnTo>
                    <a:pt x="1920" y="2238"/>
                  </a:lnTo>
                  <a:lnTo>
                    <a:pt x="1908" y="2238"/>
                  </a:lnTo>
                  <a:lnTo>
                    <a:pt x="1902" y="2232"/>
                  </a:lnTo>
                  <a:lnTo>
                    <a:pt x="1902" y="2268"/>
                  </a:lnTo>
                  <a:lnTo>
                    <a:pt x="1896" y="2274"/>
                  </a:lnTo>
                  <a:lnTo>
                    <a:pt x="1884" y="2274"/>
                  </a:lnTo>
                  <a:lnTo>
                    <a:pt x="1890" y="2304"/>
                  </a:lnTo>
                  <a:lnTo>
                    <a:pt x="1878" y="2304"/>
                  </a:lnTo>
                  <a:lnTo>
                    <a:pt x="1878" y="2322"/>
                  </a:lnTo>
                  <a:lnTo>
                    <a:pt x="1896" y="2340"/>
                  </a:lnTo>
                  <a:lnTo>
                    <a:pt x="1902" y="2352"/>
                  </a:lnTo>
                  <a:lnTo>
                    <a:pt x="1890" y="2370"/>
                  </a:lnTo>
                  <a:lnTo>
                    <a:pt x="1902" y="2364"/>
                  </a:lnTo>
                  <a:lnTo>
                    <a:pt x="1908" y="2358"/>
                  </a:lnTo>
                  <a:lnTo>
                    <a:pt x="1920" y="2358"/>
                  </a:lnTo>
                  <a:lnTo>
                    <a:pt x="1926" y="2352"/>
                  </a:lnTo>
                  <a:lnTo>
                    <a:pt x="1986" y="2352"/>
                  </a:lnTo>
                  <a:lnTo>
                    <a:pt x="1956" y="2376"/>
                  </a:lnTo>
                  <a:lnTo>
                    <a:pt x="1980" y="2394"/>
                  </a:lnTo>
                  <a:lnTo>
                    <a:pt x="1992" y="2436"/>
                  </a:lnTo>
                  <a:lnTo>
                    <a:pt x="2022" y="2436"/>
                  </a:lnTo>
                  <a:lnTo>
                    <a:pt x="2034" y="2442"/>
                  </a:lnTo>
                  <a:lnTo>
                    <a:pt x="2040" y="2448"/>
                  </a:lnTo>
                  <a:lnTo>
                    <a:pt x="2040" y="2454"/>
                  </a:lnTo>
                  <a:lnTo>
                    <a:pt x="2034" y="2460"/>
                  </a:lnTo>
                  <a:lnTo>
                    <a:pt x="2022" y="2460"/>
                  </a:lnTo>
                  <a:lnTo>
                    <a:pt x="2016" y="2466"/>
                  </a:lnTo>
                  <a:lnTo>
                    <a:pt x="2028" y="2478"/>
                  </a:lnTo>
                  <a:lnTo>
                    <a:pt x="2028" y="2490"/>
                  </a:lnTo>
                  <a:lnTo>
                    <a:pt x="2022" y="2496"/>
                  </a:lnTo>
                  <a:lnTo>
                    <a:pt x="2022" y="2502"/>
                  </a:lnTo>
                  <a:lnTo>
                    <a:pt x="2016" y="2514"/>
                  </a:lnTo>
                  <a:lnTo>
                    <a:pt x="2070" y="2520"/>
                  </a:lnTo>
                  <a:lnTo>
                    <a:pt x="2082" y="2550"/>
                  </a:lnTo>
                  <a:lnTo>
                    <a:pt x="2094" y="2550"/>
                  </a:lnTo>
                  <a:lnTo>
                    <a:pt x="2094" y="2568"/>
                  </a:lnTo>
                  <a:lnTo>
                    <a:pt x="2136" y="2568"/>
                  </a:lnTo>
                  <a:lnTo>
                    <a:pt x="2136" y="2562"/>
                  </a:lnTo>
                  <a:lnTo>
                    <a:pt x="2154" y="2544"/>
                  </a:lnTo>
                  <a:lnTo>
                    <a:pt x="2166" y="2544"/>
                  </a:lnTo>
                  <a:lnTo>
                    <a:pt x="2172" y="2550"/>
                  </a:lnTo>
                  <a:lnTo>
                    <a:pt x="2172" y="2592"/>
                  </a:lnTo>
                  <a:lnTo>
                    <a:pt x="2214" y="2592"/>
                  </a:lnTo>
                  <a:lnTo>
                    <a:pt x="2214" y="2556"/>
                  </a:lnTo>
                  <a:lnTo>
                    <a:pt x="2190" y="2532"/>
                  </a:lnTo>
                  <a:lnTo>
                    <a:pt x="2190" y="2490"/>
                  </a:lnTo>
                  <a:lnTo>
                    <a:pt x="2196" y="2484"/>
                  </a:lnTo>
                  <a:lnTo>
                    <a:pt x="2232" y="2490"/>
                  </a:lnTo>
                  <a:lnTo>
                    <a:pt x="2232" y="2472"/>
                  </a:lnTo>
                  <a:lnTo>
                    <a:pt x="2238" y="2460"/>
                  </a:lnTo>
                  <a:lnTo>
                    <a:pt x="2250" y="2460"/>
                  </a:lnTo>
                  <a:lnTo>
                    <a:pt x="2274" y="2484"/>
                  </a:lnTo>
                  <a:lnTo>
                    <a:pt x="2286" y="2484"/>
                  </a:lnTo>
                  <a:lnTo>
                    <a:pt x="2292" y="2478"/>
                  </a:lnTo>
                  <a:lnTo>
                    <a:pt x="2298" y="2466"/>
                  </a:lnTo>
                  <a:lnTo>
                    <a:pt x="2304" y="2460"/>
                  </a:lnTo>
                  <a:lnTo>
                    <a:pt x="2322" y="2478"/>
                  </a:lnTo>
                  <a:lnTo>
                    <a:pt x="2322" y="2460"/>
                  </a:lnTo>
                  <a:lnTo>
                    <a:pt x="2328" y="2460"/>
                  </a:lnTo>
                  <a:lnTo>
                    <a:pt x="2340" y="2478"/>
                  </a:lnTo>
                  <a:lnTo>
                    <a:pt x="2346" y="2484"/>
                  </a:lnTo>
                  <a:lnTo>
                    <a:pt x="2364" y="2484"/>
                  </a:lnTo>
                  <a:lnTo>
                    <a:pt x="2364" y="2472"/>
                  </a:lnTo>
                  <a:lnTo>
                    <a:pt x="2352" y="2460"/>
                  </a:lnTo>
                  <a:lnTo>
                    <a:pt x="2370" y="2460"/>
                  </a:lnTo>
                  <a:lnTo>
                    <a:pt x="2376" y="2466"/>
                  </a:lnTo>
                  <a:lnTo>
                    <a:pt x="2382" y="2460"/>
                  </a:lnTo>
                  <a:lnTo>
                    <a:pt x="2400" y="2460"/>
                  </a:lnTo>
                  <a:lnTo>
                    <a:pt x="2400" y="2454"/>
                  </a:lnTo>
                  <a:lnTo>
                    <a:pt x="2406" y="2442"/>
                  </a:lnTo>
                  <a:lnTo>
                    <a:pt x="2406" y="2430"/>
                  </a:lnTo>
                  <a:lnTo>
                    <a:pt x="2412" y="2424"/>
                  </a:lnTo>
                  <a:lnTo>
                    <a:pt x="2424" y="2418"/>
                  </a:lnTo>
                  <a:lnTo>
                    <a:pt x="2430" y="2412"/>
                  </a:lnTo>
                  <a:lnTo>
                    <a:pt x="2436" y="2412"/>
                  </a:lnTo>
                  <a:lnTo>
                    <a:pt x="2466" y="2448"/>
                  </a:lnTo>
                  <a:lnTo>
                    <a:pt x="2496" y="2442"/>
                  </a:lnTo>
                  <a:lnTo>
                    <a:pt x="2508" y="2454"/>
                  </a:lnTo>
                  <a:lnTo>
                    <a:pt x="2538" y="2454"/>
                  </a:lnTo>
                  <a:lnTo>
                    <a:pt x="2544" y="2460"/>
                  </a:lnTo>
                  <a:lnTo>
                    <a:pt x="2544" y="2466"/>
                  </a:lnTo>
                  <a:lnTo>
                    <a:pt x="2526" y="2484"/>
                  </a:lnTo>
                  <a:lnTo>
                    <a:pt x="2532" y="2502"/>
                  </a:lnTo>
                  <a:lnTo>
                    <a:pt x="2544" y="2508"/>
                  </a:lnTo>
                  <a:lnTo>
                    <a:pt x="2544" y="2526"/>
                  </a:lnTo>
                  <a:lnTo>
                    <a:pt x="2562" y="2526"/>
                  </a:lnTo>
                  <a:lnTo>
                    <a:pt x="2568" y="2532"/>
                  </a:lnTo>
                  <a:lnTo>
                    <a:pt x="2574" y="2544"/>
                  </a:lnTo>
                  <a:lnTo>
                    <a:pt x="2586" y="2550"/>
                  </a:lnTo>
                  <a:lnTo>
                    <a:pt x="2616" y="2550"/>
                  </a:lnTo>
                  <a:lnTo>
                    <a:pt x="2622" y="2556"/>
                  </a:lnTo>
                  <a:lnTo>
                    <a:pt x="2628" y="2556"/>
                  </a:lnTo>
                  <a:lnTo>
                    <a:pt x="2676" y="2526"/>
                  </a:lnTo>
                  <a:lnTo>
                    <a:pt x="2694" y="2538"/>
                  </a:lnTo>
                  <a:lnTo>
                    <a:pt x="2718" y="2538"/>
                  </a:lnTo>
                  <a:lnTo>
                    <a:pt x="2736" y="2544"/>
                  </a:lnTo>
                  <a:lnTo>
                    <a:pt x="2748" y="2544"/>
                  </a:lnTo>
                  <a:lnTo>
                    <a:pt x="2760" y="2550"/>
                  </a:lnTo>
                  <a:lnTo>
                    <a:pt x="2766" y="2556"/>
                  </a:lnTo>
                  <a:lnTo>
                    <a:pt x="2772" y="2568"/>
                  </a:lnTo>
                  <a:lnTo>
                    <a:pt x="2766" y="2580"/>
                  </a:lnTo>
                  <a:lnTo>
                    <a:pt x="2766" y="2604"/>
                  </a:lnTo>
                  <a:lnTo>
                    <a:pt x="2760" y="2616"/>
                  </a:lnTo>
                  <a:lnTo>
                    <a:pt x="2766" y="2628"/>
                  </a:lnTo>
                  <a:lnTo>
                    <a:pt x="2772" y="2634"/>
                  </a:lnTo>
                  <a:lnTo>
                    <a:pt x="2784" y="2640"/>
                  </a:lnTo>
                  <a:lnTo>
                    <a:pt x="2790" y="2652"/>
                  </a:lnTo>
                  <a:lnTo>
                    <a:pt x="2802" y="2658"/>
                  </a:lnTo>
                  <a:lnTo>
                    <a:pt x="2808" y="2664"/>
                  </a:lnTo>
                  <a:lnTo>
                    <a:pt x="2826" y="2664"/>
                  </a:lnTo>
                  <a:lnTo>
                    <a:pt x="2832" y="2640"/>
                  </a:lnTo>
                  <a:lnTo>
                    <a:pt x="2832" y="2634"/>
                  </a:lnTo>
                  <a:lnTo>
                    <a:pt x="2826" y="2628"/>
                  </a:lnTo>
                  <a:lnTo>
                    <a:pt x="2826" y="2586"/>
                  </a:lnTo>
                  <a:lnTo>
                    <a:pt x="2832" y="2568"/>
                  </a:lnTo>
                  <a:lnTo>
                    <a:pt x="2844" y="2556"/>
                  </a:lnTo>
                  <a:lnTo>
                    <a:pt x="2856" y="2550"/>
                  </a:lnTo>
                  <a:lnTo>
                    <a:pt x="2886" y="2550"/>
                  </a:lnTo>
                  <a:lnTo>
                    <a:pt x="2898" y="2544"/>
                  </a:lnTo>
                  <a:lnTo>
                    <a:pt x="2910" y="2544"/>
                  </a:lnTo>
                  <a:lnTo>
                    <a:pt x="2922" y="2538"/>
                  </a:lnTo>
                  <a:lnTo>
                    <a:pt x="2940" y="2538"/>
                  </a:lnTo>
                  <a:lnTo>
                    <a:pt x="2964" y="2532"/>
                  </a:lnTo>
                  <a:lnTo>
                    <a:pt x="2982" y="2526"/>
                  </a:lnTo>
                  <a:lnTo>
                    <a:pt x="3000" y="2508"/>
                  </a:lnTo>
                  <a:lnTo>
                    <a:pt x="3000" y="2466"/>
                  </a:lnTo>
                  <a:lnTo>
                    <a:pt x="3006" y="2454"/>
                  </a:lnTo>
                  <a:lnTo>
                    <a:pt x="3012" y="2448"/>
                  </a:lnTo>
                  <a:lnTo>
                    <a:pt x="3024" y="2460"/>
                  </a:lnTo>
                  <a:lnTo>
                    <a:pt x="3036" y="2484"/>
                  </a:lnTo>
                  <a:lnTo>
                    <a:pt x="3042" y="2490"/>
                  </a:lnTo>
                  <a:lnTo>
                    <a:pt x="3048" y="2490"/>
                  </a:lnTo>
                  <a:lnTo>
                    <a:pt x="3054" y="2484"/>
                  </a:lnTo>
                  <a:lnTo>
                    <a:pt x="3066" y="2478"/>
                  </a:lnTo>
                  <a:lnTo>
                    <a:pt x="3072" y="2466"/>
                  </a:lnTo>
                  <a:lnTo>
                    <a:pt x="3090" y="2448"/>
                  </a:lnTo>
                  <a:lnTo>
                    <a:pt x="3096" y="2436"/>
                  </a:lnTo>
                  <a:lnTo>
                    <a:pt x="3114" y="2454"/>
                  </a:lnTo>
                  <a:lnTo>
                    <a:pt x="3144" y="2442"/>
                  </a:lnTo>
                  <a:lnTo>
                    <a:pt x="3150" y="2442"/>
                  </a:lnTo>
                  <a:lnTo>
                    <a:pt x="3156" y="2448"/>
                  </a:lnTo>
                  <a:lnTo>
                    <a:pt x="3186" y="2448"/>
                  </a:lnTo>
                  <a:lnTo>
                    <a:pt x="3234" y="2424"/>
                  </a:lnTo>
                  <a:lnTo>
                    <a:pt x="3288" y="2370"/>
                  </a:lnTo>
                  <a:lnTo>
                    <a:pt x="3294" y="2358"/>
                  </a:lnTo>
                  <a:lnTo>
                    <a:pt x="3300" y="2352"/>
                  </a:lnTo>
                  <a:lnTo>
                    <a:pt x="3294" y="2340"/>
                  </a:lnTo>
                  <a:lnTo>
                    <a:pt x="3294" y="2334"/>
                  </a:lnTo>
                  <a:lnTo>
                    <a:pt x="3288" y="2322"/>
                  </a:lnTo>
                  <a:lnTo>
                    <a:pt x="3282" y="2316"/>
                  </a:lnTo>
                  <a:lnTo>
                    <a:pt x="3300" y="2316"/>
                  </a:lnTo>
                  <a:lnTo>
                    <a:pt x="3312" y="2286"/>
                  </a:lnTo>
                  <a:lnTo>
                    <a:pt x="3336" y="2286"/>
                  </a:lnTo>
                  <a:lnTo>
                    <a:pt x="3348" y="2250"/>
                  </a:lnTo>
                  <a:lnTo>
                    <a:pt x="3360" y="2250"/>
                  </a:lnTo>
                  <a:lnTo>
                    <a:pt x="3360" y="2208"/>
                  </a:lnTo>
                  <a:lnTo>
                    <a:pt x="3372" y="2208"/>
                  </a:lnTo>
                  <a:lnTo>
                    <a:pt x="3384" y="2196"/>
                  </a:lnTo>
                  <a:lnTo>
                    <a:pt x="3384" y="2172"/>
                  </a:lnTo>
                  <a:lnTo>
                    <a:pt x="3378" y="2160"/>
                  </a:lnTo>
                  <a:lnTo>
                    <a:pt x="3372" y="2154"/>
                  </a:lnTo>
                  <a:lnTo>
                    <a:pt x="3372" y="2142"/>
                  </a:lnTo>
                  <a:lnTo>
                    <a:pt x="3378" y="2136"/>
                  </a:lnTo>
                  <a:lnTo>
                    <a:pt x="3384" y="2136"/>
                  </a:lnTo>
                  <a:lnTo>
                    <a:pt x="3390" y="2130"/>
                  </a:lnTo>
                  <a:lnTo>
                    <a:pt x="3402" y="2124"/>
                  </a:lnTo>
                  <a:lnTo>
                    <a:pt x="3408" y="2118"/>
                  </a:lnTo>
                  <a:lnTo>
                    <a:pt x="3408" y="2094"/>
                  </a:lnTo>
                  <a:lnTo>
                    <a:pt x="3390" y="2076"/>
                  </a:lnTo>
                  <a:lnTo>
                    <a:pt x="3390" y="2064"/>
                  </a:lnTo>
                  <a:lnTo>
                    <a:pt x="3402" y="2058"/>
                  </a:lnTo>
                  <a:lnTo>
                    <a:pt x="3408" y="2052"/>
                  </a:lnTo>
                  <a:lnTo>
                    <a:pt x="3408" y="2016"/>
                  </a:lnTo>
                  <a:lnTo>
                    <a:pt x="3414" y="2016"/>
                  </a:lnTo>
                  <a:lnTo>
                    <a:pt x="3420" y="2010"/>
                  </a:lnTo>
                  <a:lnTo>
                    <a:pt x="3456" y="1992"/>
                  </a:lnTo>
                  <a:lnTo>
                    <a:pt x="3462" y="1980"/>
                  </a:lnTo>
                  <a:lnTo>
                    <a:pt x="3462" y="1962"/>
                  </a:lnTo>
                  <a:lnTo>
                    <a:pt x="3456" y="1956"/>
                  </a:lnTo>
                  <a:lnTo>
                    <a:pt x="3444" y="1956"/>
                  </a:lnTo>
                  <a:lnTo>
                    <a:pt x="3450" y="1956"/>
                  </a:lnTo>
                  <a:lnTo>
                    <a:pt x="3456" y="1950"/>
                  </a:lnTo>
                  <a:lnTo>
                    <a:pt x="3468" y="1950"/>
                  </a:lnTo>
                  <a:lnTo>
                    <a:pt x="3480" y="1944"/>
                  </a:lnTo>
                  <a:lnTo>
                    <a:pt x="3492" y="1932"/>
                  </a:lnTo>
                  <a:lnTo>
                    <a:pt x="3474" y="1914"/>
                  </a:lnTo>
                  <a:lnTo>
                    <a:pt x="3468" y="1914"/>
                  </a:lnTo>
                  <a:lnTo>
                    <a:pt x="3486" y="1896"/>
                  </a:lnTo>
                  <a:lnTo>
                    <a:pt x="3498" y="1872"/>
                  </a:lnTo>
                  <a:lnTo>
                    <a:pt x="3504" y="1866"/>
                  </a:lnTo>
                  <a:lnTo>
                    <a:pt x="3504" y="1854"/>
                  </a:lnTo>
                  <a:lnTo>
                    <a:pt x="3498" y="1848"/>
                  </a:lnTo>
                  <a:lnTo>
                    <a:pt x="3474" y="1842"/>
                  </a:lnTo>
                  <a:lnTo>
                    <a:pt x="3438" y="1848"/>
                  </a:lnTo>
                  <a:lnTo>
                    <a:pt x="3396" y="1854"/>
                  </a:lnTo>
                  <a:lnTo>
                    <a:pt x="3366" y="1860"/>
                  </a:lnTo>
                  <a:lnTo>
                    <a:pt x="3354" y="1866"/>
                  </a:lnTo>
                  <a:lnTo>
                    <a:pt x="3336" y="1848"/>
                  </a:lnTo>
                  <a:lnTo>
                    <a:pt x="3378" y="1848"/>
                  </a:lnTo>
                  <a:lnTo>
                    <a:pt x="3378" y="1836"/>
                  </a:lnTo>
                  <a:lnTo>
                    <a:pt x="3384" y="1824"/>
                  </a:lnTo>
                  <a:lnTo>
                    <a:pt x="3390" y="1818"/>
                  </a:lnTo>
                  <a:lnTo>
                    <a:pt x="3402" y="1812"/>
                  </a:lnTo>
                  <a:lnTo>
                    <a:pt x="3432" y="1812"/>
                  </a:lnTo>
                  <a:lnTo>
                    <a:pt x="3426" y="1800"/>
                  </a:lnTo>
                  <a:lnTo>
                    <a:pt x="3420" y="1794"/>
                  </a:lnTo>
                  <a:lnTo>
                    <a:pt x="3414" y="1782"/>
                  </a:lnTo>
                  <a:lnTo>
                    <a:pt x="3414" y="1776"/>
                  </a:lnTo>
                  <a:lnTo>
                    <a:pt x="3408" y="1770"/>
                  </a:lnTo>
                  <a:lnTo>
                    <a:pt x="3390" y="1770"/>
                  </a:lnTo>
                  <a:lnTo>
                    <a:pt x="3378" y="1764"/>
                  </a:lnTo>
                  <a:lnTo>
                    <a:pt x="3366" y="1764"/>
                  </a:lnTo>
                  <a:lnTo>
                    <a:pt x="3354" y="1746"/>
                  </a:lnTo>
                  <a:lnTo>
                    <a:pt x="3342" y="1746"/>
                  </a:lnTo>
                  <a:lnTo>
                    <a:pt x="3336" y="1734"/>
                  </a:lnTo>
                  <a:lnTo>
                    <a:pt x="3324" y="1728"/>
                  </a:lnTo>
                  <a:lnTo>
                    <a:pt x="3294" y="1728"/>
                  </a:lnTo>
                  <a:lnTo>
                    <a:pt x="3288" y="1734"/>
                  </a:lnTo>
                  <a:lnTo>
                    <a:pt x="3282" y="1734"/>
                  </a:lnTo>
                  <a:lnTo>
                    <a:pt x="3246" y="1686"/>
                  </a:lnTo>
                  <a:lnTo>
                    <a:pt x="3252" y="1698"/>
                  </a:lnTo>
                  <a:lnTo>
                    <a:pt x="3264" y="1704"/>
                  </a:lnTo>
                  <a:lnTo>
                    <a:pt x="3270" y="1710"/>
                  </a:lnTo>
                  <a:lnTo>
                    <a:pt x="3282" y="1716"/>
                  </a:lnTo>
                  <a:lnTo>
                    <a:pt x="3294" y="1716"/>
                  </a:lnTo>
                  <a:lnTo>
                    <a:pt x="3300" y="1710"/>
                  </a:lnTo>
                  <a:lnTo>
                    <a:pt x="3306" y="1710"/>
                  </a:lnTo>
                  <a:lnTo>
                    <a:pt x="3336" y="1716"/>
                  </a:lnTo>
                  <a:lnTo>
                    <a:pt x="3348" y="1734"/>
                  </a:lnTo>
                  <a:lnTo>
                    <a:pt x="3366" y="1728"/>
                  </a:lnTo>
                  <a:lnTo>
                    <a:pt x="3408" y="1740"/>
                  </a:lnTo>
                  <a:lnTo>
                    <a:pt x="3390" y="1716"/>
                  </a:lnTo>
                  <a:lnTo>
                    <a:pt x="3372" y="1710"/>
                  </a:lnTo>
                  <a:lnTo>
                    <a:pt x="3372" y="1692"/>
                  </a:lnTo>
                  <a:lnTo>
                    <a:pt x="3360" y="1680"/>
                  </a:lnTo>
                  <a:lnTo>
                    <a:pt x="3348" y="1674"/>
                  </a:lnTo>
                  <a:lnTo>
                    <a:pt x="3330" y="1674"/>
                  </a:lnTo>
                  <a:lnTo>
                    <a:pt x="3318" y="1662"/>
                  </a:lnTo>
                  <a:lnTo>
                    <a:pt x="3318" y="1650"/>
                  </a:lnTo>
                  <a:lnTo>
                    <a:pt x="3312" y="1644"/>
                  </a:lnTo>
                  <a:lnTo>
                    <a:pt x="3312" y="1632"/>
                  </a:lnTo>
                  <a:lnTo>
                    <a:pt x="3234" y="1530"/>
                  </a:lnTo>
                  <a:lnTo>
                    <a:pt x="3198" y="1524"/>
                  </a:lnTo>
                  <a:lnTo>
                    <a:pt x="3162" y="1494"/>
                  </a:lnTo>
                  <a:lnTo>
                    <a:pt x="3144" y="1500"/>
                  </a:lnTo>
                  <a:lnTo>
                    <a:pt x="3138" y="1488"/>
                  </a:lnTo>
                  <a:lnTo>
                    <a:pt x="3132" y="1482"/>
                  </a:lnTo>
                  <a:lnTo>
                    <a:pt x="3132" y="1470"/>
                  </a:lnTo>
                  <a:lnTo>
                    <a:pt x="3126" y="1464"/>
                  </a:lnTo>
                  <a:lnTo>
                    <a:pt x="3138" y="1452"/>
                  </a:lnTo>
                  <a:lnTo>
                    <a:pt x="3150" y="1446"/>
                  </a:lnTo>
                  <a:lnTo>
                    <a:pt x="3156" y="1434"/>
                  </a:lnTo>
                  <a:lnTo>
                    <a:pt x="3162" y="1428"/>
                  </a:lnTo>
                  <a:lnTo>
                    <a:pt x="3168" y="1416"/>
                  </a:lnTo>
                  <a:lnTo>
                    <a:pt x="3168" y="1410"/>
                  </a:lnTo>
                  <a:lnTo>
                    <a:pt x="3162" y="1398"/>
                  </a:lnTo>
                  <a:lnTo>
                    <a:pt x="3162" y="1392"/>
                  </a:lnTo>
                  <a:lnTo>
                    <a:pt x="3156" y="1380"/>
                  </a:lnTo>
                  <a:lnTo>
                    <a:pt x="3168" y="1386"/>
                  </a:lnTo>
                  <a:lnTo>
                    <a:pt x="3174" y="1392"/>
                  </a:lnTo>
                  <a:lnTo>
                    <a:pt x="3186" y="1398"/>
                  </a:lnTo>
                  <a:lnTo>
                    <a:pt x="3198" y="1386"/>
                  </a:lnTo>
                  <a:lnTo>
                    <a:pt x="3198" y="1368"/>
                  </a:lnTo>
                  <a:lnTo>
                    <a:pt x="3192" y="1356"/>
                  </a:lnTo>
                  <a:lnTo>
                    <a:pt x="3192" y="1344"/>
                  </a:lnTo>
                  <a:lnTo>
                    <a:pt x="3216" y="1344"/>
                  </a:lnTo>
                  <a:lnTo>
                    <a:pt x="3252" y="1320"/>
                  </a:lnTo>
                  <a:lnTo>
                    <a:pt x="3264" y="1320"/>
                  </a:lnTo>
                  <a:lnTo>
                    <a:pt x="3270" y="1326"/>
                  </a:lnTo>
                  <a:lnTo>
                    <a:pt x="3294" y="1326"/>
                  </a:lnTo>
                  <a:lnTo>
                    <a:pt x="3294" y="1320"/>
                  </a:lnTo>
                  <a:lnTo>
                    <a:pt x="3288" y="1314"/>
                  </a:lnTo>
                  <a:lnTo>
                    <a:pt x="3288" y="1308"/>
                  </a:lnTo>
                  <a:lnTo>
                    <a:pt x="3282" y="1302"/>
                  </a:lnTo>
                  <a:lnTo>
                    <a:pt x="3288" y="1278"/>
                  </a:lnTo>
                  <a:lnTo>
                    <a:pt x="3258" y="1278"/>
                  </a:lnTo>
                  <a:lnTo>
                    <a:pt x="3246" y="1266"/>
                  </a:lnTo>
                  <a:lnTo>
                    <a:pt x="3240" y="1278"/>
                  </a:lnTo>
                  <a:lnTo>
                    <a:pt x="3204" y="1278"/>
                  </a:lnTo>
                  <a:lnTo>
                    <a:pt x="3198" y="1272"/>
                  </a:lnTo>
                  <a:lnTo>
                    <a:pt x="3192" y="1260"/>
                  </a:lnTo>
                  <a:lnTo>
                    <a:pt x="3180" y="1254"/>
                  </a:lnTo>
                  <a:lnTo>
                    <a:pt x="3174" y="1248"/>
                  </a:lnTo>
                  <a:lnTo>
                    <a:pt x="3150" y="1248"/>
                  </a:lnTo>
                  <a:lnTo>
                    <a:pt x="3144" y="1260"/>
                  </a:lnTo>
                  <a:lnTo>
                    <a:pt x="3132" y="1266"/>
                  </a:lnTo>
                  <a:lnTo>
                    <a:pt x="3114" y="1284"/>
                  </a:lnTo>
                  <a:lnTo>
                    <a:pt x="3114" y="1296"/>
                  </a:lnTo>
                  <a:lnTo>
                    <a:pt x="3108" y="1302"/>
                  </a:lnTo>
                  <a:lnTo>
                    <a:pt x="3108" y="1308"/>
                  </a:lnTo>
                  <a:lnTo>
                    <a:pt x="3078" y="1308"/>
                  </a:lnTo>
                  <a:lnTo>
                    <a:pt x="3054" y="1296"/>
                  </a:lnTo>
                  <a:lnTo>
                    <a:pt x="3048" y="1290"/>
                  </a:lnTo>
                  <a:lnTo>
                    <a:pt x="3042" y="1278"/>
                  </a:lnTo>
                  <a:lnTo>
                    <a:pt x="3030" y="1242"/>
                  </a:lnTo>
                  <a:lnTo>
                    <a:pt x="3024" y="1230"/>
                  </a:lnTo>
                  <a:lnTo>
                    <a:pt x="3018" y="1224"/>
                  </a:lnTo>
                  <a:lnTo>
                    <a:pt x="3006" y="1224"/>
                  </a:lnTo>
                  <a:lnTo>
                    <a:pt x="3000" y="1230"/>
                  </a:lnTo>
                  <a:lnTo>
                    <a:pt x="3000" y="1242"/>
                  </a:lnTo>
                  <a:lnTo>
                    <a:pt x="2988" y="1224"/>
                  </a:lnTo>
                  <a:lnTo>
                    <a:pt x="2952" y="1224"/>
                  </a:lnTo>
                  <a:lnTo>
                    <a:pt x="2940" y="1218"/>
                  </a:lnTo>
                  <a:lnTo>
                    <a:pt x="2934" y="1212"/>
                  </a:lnTo>
                  <a:lnTo>
                    <a:pt x="2928" y="1200"/>
                  </a:lnTo>
                  <a:lnTo>
                    <a:pt x="2916" y="1194"/>
                  </a:lnTo>
                  <a:lnTo>
                    <a:pt x="2910" y="1182"/>
                  </a:lnTo>
                  <a:lnTo>
                    <a:pt x="2910" y="1140"/>
                  </a:lnTo>
                  <a:lnTo>
                    <a:pt x="2928" y="1140"/>
                  </a:lnTo>
                  <a:lnTo>
                    <a:pt x="2940" y="1152"/>
                  </a:lnTo>
                  <a:lnTo>
                    <a:pt x="2946" y="1152"/>
                  </a:lnTo>
                  <a:lnTo>
                    <a:pt x="2952" y="1146"/>
                  </a:lnTo>
                  <a:lnTo>
                    <a:pt x="2952" y="1140"/>
                  </a:lnTo>
                  <a:lnTo>
                    <a:pt x="2958" y="1134"/>
                  </a:lnTo>
                  <a:lnTo>
                    <a:pt x="2964" y="1134"/>
                  </a:lnTo>
                  <a:lnTo>
                    <a:pt x="2970" y="1140"/>
                  </a:lnTo>
                  <a:lnTo>
                    <a:pt x="2982" y="1140"/>
                  </a:lnTo>
                  <a:lnTo>
                    <a:pt x="2994" y="1134"/>
                  </a:lnTo>
                  <a:lnTo>
                    <a:pt x="3000" y="1128"/>
                  </a:lnTo>
                  <a:lnTo>
                    <a:pt x="3000" y="1116"/>
                  </a:lnTo>
                  <a:lnTo>
                    <a:pt x="2994" y="1110"/>
                  </a:lnTo>
                  <a:lnTo>
                    <a:pt x="2994" y="1086"/>
                  </a:lnTo>
                  <a:lnTo>
                    <a:pt x="3000" y="1074"/>
                  </a:lnTo>
                  <a:lnTo>
                    <a:pt x="3000" y="1068"/>
                  </a:lnTo>
                  <a:lnTo>
                    <a:pt x="3036" y="1068"/>
                  </a:lnTo>
                  <a:lnTo>
                    <a:pt x="3042" y="1062"/>
                  </a:lnTo>
                  <a:lnTo>
                    <a:pt x="3048" y="1050"/>
                  </a:lnTo>
                  <a:lnTo>
                    <a:pt x="3048" y="1038"/>
                  </a:lnTo>
                  <a:lnTo>
                    <a:pt x="3054" y="1032"/>
                  </a:lnTo>
                  <a:lnTo>
                    <a:pt x="3054" y="1026"/>
                  </a:lnTo>
                  <a:lnTo>
                    <a:pt x="3072" y="1014"/>
                  </a:lnTo>
                  <a:lnTo>
                    <a:pt x="3060" y="1002"/>
                  </a:lnTo>
                  <a:lnTo>
                    <a:pt x="3096" y="1014"/>
                  </a:lnTo>
                  <a:lnTo>
                    <a:pt x="3114" y="996"/>
                  </a:lnTo>
                  <a:lnTo>
                    <a:pt x="3126" y="1002"/>
                  </a:lnTo>
                  <a:lnTo>
                    <a:pt x="3132" y="1014"/>
                  </a:lnTo>
                  <a:lnTo>
                    <a:pt x="3144" y="1020"/>
                  </a:lnTo>
                  <a:lnTo>
                    <a:pt x="3156" y="1044"/>
                  </a:lnTo>
                  <a:lnTo>
                    <a:pt x="3156" y="1050"/>
                  </a:lnTo>
                  <a:lnTo>
                    <a:pt x="3144" y="1074"/>
                  </a:lnTo>
                  <a:lnTo>
                    <a:pt x="3126" y="1092"/>
                  </a:lnTo>
                  <a:lnTo>
                    <a:pt x="3126" y="1104"/>
                  </a:lnTo>
                  <a:lnTo>
                    <a:pt x="3132" y="1116"/>
                  </a:lnTo>
                  <a:lnTo>
                    <a:pt x="3144" y="1128"/>
                  </a:lnTo>
                  <a:lnTo>
                    <a:pt x="3150" y="1128"/>
                  </a:lnTo>
                  <a:lnTo>
                    <a:pt x="3162" y="1122"/>
                  </a:lnTo>
                  <a:lnTo>
                    <a:pt x="3168" y="1122"/>
                  </a:lnTo>
                  <a:lnTo>
                    <a:pt x="3162" y="1152"/>
                  </a:lnTo>
                  <a:lnTo>
                    <a:pt x="3144" y="1170"/>
                  </a:lnTo>
                  <a:lnTo>
                    <a:pt x="3144" y="1176"/>
                  </a:lnTo>
                  <a:lnTo>
                    <a:pt x="3150" y="1176"/>
                  </a:lnTo>
                  <a:lnTo>
                    <a:pt x="3162" y="1170"/>
                  </a:lnTo>
                  <a:lnTo>
                    <a:pt x="3168" y="1164"/>
                  </a:lnTo>
                  <a:lnTo>
                    <a:pt x="3180" y="1158"/>
                  </a:lnTo>
                  <a:lnTo>
                    <a:pt x="3186" y="1158"/>
                  </a:lnTo>
                  <a:lnTo>
                    <a:pt x="3198" y="1146"/>
                  </a:lnTo>
                  <a:lnTo>
                    <a:pt x="3198" y="1122"/>
                  </a:lnTo>
                  <a:lnTo>
                    <a:pt x="3204" y="1122"/>
                  </a:lnTo>
                  <a:lnTo>
                    <a:pt x="3210" y="1116"/>
                  </a:lnTo>
                  <a:lnTo>
                    <a:pt x="3258" y="1092"/>
                  </a:lnTo>
                  <a:lnTo>
                    <a:pt x="3264" y="1086"/>
                  </a:lnTo>
                  <a:lnTo>
                    <a:pt x="3306" y="1086"/>
                  </a:lnTo>
                  <a:lnTo>
                    <a:pt x="3312" y="1074"/>
                  </a:lnTo>
                  <a:lnTo>
                    <a:pt x="3312" y="1062"/>
                  </a:lnTo>
                  <a:lnTo>
                    <a:pt x="3318" y="1056"/>
                  </a:lnTo>
                  <a:lnTo>
                    <a:pt x="3324" y="1044"/>
                  </a:lnTo>
                  <a:lnTo>
                    <a:pt x="3360" y="1026"/>
                  </a:lnTo>
                  <a:lnTo>
                    <a:pt x="3372" y="1014"/>
                  </a:lnTo>
                  <a:lnTo>
                    <a:pt x="3390" y="978"/>
                  </a:lnTo>
                  <a:lnTo>
                    <a:pt x="3390" y="948"/>
                  </a:lnTo>
                  <a:lnTo>
                    <a:pt x="3396" y="942"/>
                  </a:lnTo>
                  <a:lnTo>
                    <a:pt x="3396" y="936"/>
                  </a:lnTo>
                  <a:lnTo>
                    <a:pt x="3408" y="936"/>
                  </a:lnTo>
                  <a:lnTo>
                    <a:pt x="3420" y="942"/>
                  </a:lnTo>
                  <a:lnTo>
                    <a:pt x="3432" y="954"/>
                  </a:lnTo>
                  <a:lnTo>
                    <a:pt x="3444" y="954"/>
                  </a:lnTo>
                  <a:lnTo>
                    <a:pt x="3456" y="960"/>
                  </a:lnTo>
                  <a:lnTo>
                    <a:pt x="3504" y="960"/>
                  </a:lnTo>
                  <a:lnTo>
                    <a:pt x="3504" y="948"/>
                  </a:lnTo>
                  <a:lnTo>
                    <a:pt x="3498" y="948"/>
                  </a:lnTo>
                  <a:lnTo>
                    <a:pt x="3474" y="924"/>
                  </a:lnTo>
                  <a:lnTo>
                    <a:pt x="3474" y="912"/>
                  </a:lnTo>
                  <a:lnTo>
                    <a:pt x="3480" y="906"/>
                  </a:lnTo>
                  <a:lnTo>
                    <a:pt x="3486" y="912"/>
                  </a:lnTo>
                  <a:lnTo>
                    <a:pt x="3510" y="912"/>
                  </a:lnTo>
                  <a:lnTo>
                    <a:pt x="3522" y="918"/>
                  </a:lnTo>
                  <a:lnTo>
                    <a:pt x="3534" y="912"/>
                  </a:lnTo>
                  <a:lnTo>
                    <a:pt x="3540" y="900"/>
                  </a:lnTo>
                  <a:lnTo>
                    <a:pt x="3540" y="894"/>
                  </a:lnTo>
                  <a:lnTo>
                    <a:pt x="3534" y="882"/>
                  </a:lnTo>
                  <a:lnTo>
                    <a:pt x="3558" y="882"/>
                  </a:lnTo>
                  <a:lnTo>
                    <a:pt x="3558" y="864"/>
                  </a:lnTo>
                  <a:lnTo>
                    <a:pt x="3552" y="852"/>
                  </a:lnTo>
                  <a:lnTo>
                    <a:pt x="3546" y="846"/>
                  </a:lnTo>
                  <a:lnTo>
                    <a:pt x="3546" y="840"/>
                  </a:lnTo>
                  <a:lnTo>
                    <a:pt x="3576" y="840"/>
                  </a:lnTo>
                  <a:lnTo>
                    <a:pt x="3594" y="864"/>
                  </a:lnTo>
                  <a:lnTo>
                    <a:pt x="3600" y="840"/>
                  </a:lnTo>
                  <a:lnTo>
                    <a:pt x="3630" y="846"/>
                  </a:lnTo>
                  <a:lnTo>
                    <a:pt x="3624" y="810"/>
                  </a:lnTo>
                  <a:lnTo>
                    <a:pt x="3618" y="798"/>
                  </a:lnTo>
                  <a:lnTo>
                    <a:pt x="3606" y="786"/>
                  </a:lnTo>
                  <a:lnTo>
                    <a:pt x="3606" y="774"/>
                  </a:lnTo>
                  <a:lnTo>
                    <a:pt x="3600" y="756"/>
                  </a:lnTo>
                  <a:lnTo>
                    <a:pt x="3588" y="744"/>
                  </a:lnTo>
                  <a:lnTo>
                    <a:pt x="3576" y="726"/>
                  </a:lnTo>
                  <a:lnTo>
                    <a:pt x="3564" y="720"/>
                  </a:lnTo>
                  <a:lnTo>
                    <a:pt x="3552" y="708"/>
                  </a:lnTo>
                  <a:lnTo>
                    <a:pt x="3546" y="708"/>
                  </a:lnTo>
                  <a:lnTo>
                    <a:pt x="3540" y="696"/>
                  </a:lnTo>
                  <a:lnTo>
                    <a:pt x="3540" y="684"/>
                  </a:lnTo>
                  <a:lnTo>
                    <a:pt x="3564" y="684"/>
                  </a:lnTo>
                  <a:lnTo>
                    <a:pt x="3564" y="672"/>
                  </a:lnTo>
                  <a:lnTo>
                    <a:pt x="3558" y="666"/>
                  </a:lnTo>
                  <a:lnTo>
                    <a:pt x="3564" y="660"/>
                  </a:lnTo>
                  <a:lnTo>
                    <a:pt x="3588" y="660"/>
                  </a:lnTo>
                  <a:lnTo>
                    <a:pt x="3600" y="666"/>
                  </a:lnTo>
                  <a:lnTo>
                    <a:pt x="3618" y="672"/>
                  </a:lnTo>
                  <a:lnTo>
                    <a:pt x="3630" y="672"/>
                  </a:lnTo>
                  <a:lnTo>
                    <a:pt x="3642" y="678"/>
                  </a:lnTo>
                  <a:lnTo>
                    <a:pt x="3648" y="678"/>
                  </a:lnTo>
                  <a:lnTo>
                    <a:pt x="3654" y="672"/>
                  </a:lnTo>
                  <a:lnTo>
                    <a:pt x="3654" y="660"/>
                  </a:lnTo>
                  <a:lnTo>
                    <a:pt x="3648" y="648"/>
                  </a:lnTo>
                  <a:lnTo>
                    <a:pt x="3648" y="630"/>
                  </a:lnTo>
                  <a:lnTo>
                    <a:pt x="3654" y="630"/>
                  </a:lnTo>
                  <a:lnTo>
                    <a:pt x="3660" y="624"/>
                  </a:lnTo>
                  <a:close/>
                </a:path>
              </a:pathLst>
            </a:cu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2700000" scaled="1"/>
              <a:tileRect/>
            </a:gra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85" name="Chad" descr="© INSCALE GmbH, 05.05.2010&#10;http://www.presentationload.com/"/>
            <p:cNvSpPr>
              <a:spLocks/>
            </p:cNvSpPr>
            <p:nvPr/>
          </p:nvSpPr>
          <p:spPr bwMode="gray">
            <a:xfrm>
              <a:off x="4597404" y="3316287"/>
              <a:ext cx="298451" cy="519113"/>
            </a:xfrm>
            <a:custGeom>
              <a:avLst/>
              <a:gdLst>
                <a:gd name="T0" fmla="*/ 2147483647 w 744"/>
                <a:gd name="T1" fmla="*/ 2147483647 h 1290"/>
                <a:gd name="T2" fmla="*/ 2147483647 w 744"/>
                <a:gd name="T3" fmla="*/ 0 h 1290"/>
                <a:gd name="T4" fmla="*/ 2147483647 w 744"/>
                <a:gd name="T5" fmla="*/ 2147483647 h 1290"/>
                <a:gd name="T6" fmla="*/ 2147483647 w 744"/>
                <a:gd name="T7" fmla="*/ 2147483647 h 1290"/>
                <a:gd name="T8" fmla="*/ 2147483647 w 744"/>
                <a:gd name="T9" fmla="*/ 2147483647 h 1290"/>
                <a:gd name="T10" fmla="*/ 2147483647 w 744"/>
                <a:gd name="T11" fmla="*/ 2147483647 h 1290"/>
                <a:gd name="T12" fmla="*/ 2147483647 w 744"/>
                <a:gd name="T13" fmla="*/ 2147483647 h 1290"/>
                <a:gd name="T14" fmla="*/ 2147483647 w 744"/>
                <a:gd name="T15" fmla="*/ 2147483647 h 1290"/>
                <a:gd name="T16" fmla="*/ 2147483647 w 744"/>
                <a:gd name="T17" fmla="*/ 2147483647 h 1290"/>
                <a:gd name="T18" fmla="*/ 0 w 744"/>
                <a:gd name="T19" fmla="*/ 2147483647 h 1290"/>
                <a:gd name="T20" fmla="*/ 2147483647 w 744"/>
                <a:gd name="T21" fmla="*/ 2147483647 h 1290"/>
                <a:gd name="T22" fmla="*/ 2147483647 w 744"/>
                <a:gd name="T23" fmla="*/ 2147483647 h 1290"/>
                <a:gd name="T24" fmla="*/ 2147483647 w 744"/>
                <a:gd name="T25" fmla="*/ 2147483647 h 1290"/>
                <a:gd name="T26" fmla="*/ 2147483647 w 744"/>
                <a:gd name="T27" fmla="*/ 2147483647 h 1290"/>
                <a:gd name="T28" fmla="*/ 2147483647 w 744"/>
                <a:gd name="T29" fmla="*/ 2147483647 h 1290"/>
                <a:gd name="T30" fmla="*/ 2147483647 w 744"/>
                <a:gd name="T31" fmla="*/ 2147483647 h 1290"/>
                <a:gd name="T32" fmla="*/ 2147483647 w 744"/>
                <a:gd name="T33" fmla="*/ 2147483647 h 1290"/>
                <a:gd name="T34" fmla="*/ 2147483647 w 744"/>
                <a:gd name="T35" fmla="*/ 2147483647 h 1290"/>
                <a:gd name="T36" fmla="*/ 2147483647 w 744"/>
                <a:gd name="T37" fmla="*/ 2147483647 h 1290"/>
                <a:gd name="T38" fmla="*/ 2147483647 w 744"/>
                <a:gd name="T39" fmla="*/ 2147483647 h 1290"/>
                <a:gd name="T40" fmla="*/ 2147483647 w 744"/>
                <a:gd name="T41" fmla="*/ 2147483647 h 1290"/>
                <a:gd name="T42" fmla="*/ 2147483647 w 744"/>
                <a:gd name="T43" fmla="*/ 2147483647 h 1290"/>
                <a:gd name="T44" fmla="*/ 2147483647 w 744"/>
                <a:gd name="T45" fmla="*/ 2147483647 h 1290"/>
                <a:gd name="T46" fmla="*/ 2147483647 w 744"/>
                <a:gd name="T47" fmla="*/ 2147483647 h 1290"/>
                <a:gd name="T48" fmla="*/ 2147483647 w 744"/>
                <a:gd name="T49" fmla="*/ 2147483647 h 1290"/>
                <a:gd name="T50" fmla="*/ 2147483647 w 744"/>
                <a:gd name="T51" fmla="*/ 2147483647 h 1290"/>
                <a:gd name="T52" fmla="*/ 2147483647 w 744"/>
                <a:gd name="T53" fmla="*/ 2147483647 h 1290"/>
                <a:gd name="T54" fmla="*/ 2147483647 w 744"/>
                <a:gd name="T55" fmla="*/ 2147483647 h 1290"/>
                <a:gd name="T56" fmla="*/ 2147483647 w 744"/>
                <a:gd name="T57" fmla="*/ 2147483647 h 1290"/>
                <a:gd name="T58" fmla="*/ 2147483647 w 744"/>
                <a:gd name="T59" fmla="*/ 2147483647 h 1290"/>
                <a:gd name="T60" fmla="*/ 2147483647 w 744"/>
                <a:gd name="T61" fmla="*/ 2147483647 h 1290"/>
                <a:gd name="T62" fmla="*/ 2147483647 w 744"/>
                <a:gd name="T63" fmla="*/ 2147483647 h 1290"/>
                <a:gd name="T64" fmla="*/ 2147483647 w 744"/>
                <a:gd name="T65" fmla="*/ 2147483647 h 1290"/>
                <a:gd name="T66" fmla="*/ 2147483647 w 744"/>
                <a:gd name="T67" fmla="*/ 2147483647 h 1290"/>
                <a:gd name="T68" fmla="*/ 2147483647 w 744"/>
                <a:gd name="T69" fmla="*/ 2147483647 h 1290"/>
                <a:gd name="T70" fmla="*/ 2147483647 w 744"/>
                <a:gd name="T71" fmla="*/ 2147483647 h 1290"/>
                <a:gd name="T72" fmla="*/ 2147483647 w 744"/>
                <a:gd name="T73" fmla="*/ 2147483647 h 1290"/>
                <a:gd name="T74" fmla="*/ 2147483647 w 744"/>
                <a:gd name="T75" fmla="*/ 2147483647 h 1290"/>
                <a:gd name="T76" fmla="*/ 2147483647 w 744"/>
                <a:gd name="T77" fmla="*/ 2147483647 h 1290"/>
                <a:gd name="T78" fmla="*/ 2147483647 w 744"/>
                <a:gd name="T79" fmla="*/ 2147483647 h 1290"/>
                <a:gd name="T80" fmla="*/ 2147483647 w 744"/>
                <a:gd name="T81" fmla="*/ 2147483647 h 1290"/>
                <a:gd name="T82" fmla="*/ 2147483647 w 744"/>
                <a:gd name="T83" fmla="*/ 2147483647 h 1290"/>
                <a:gd name="T84" fmla="*/ 2147483647 w 744"/>
                <a:gd name="T85" fmla="*/ 2147483647 h 1290"/>
                <a:gd name="T86" fmla="*/ 2147483647 w 744"/>
                <a:gd name="T87" fmla="*/ 2147483647 h 1290"/>
                <a:gd name="T88" fmla="*/ 2147483647 w 744"/>
                <a:gd name="T89" fmla="*/ 2147483647 h 1290"/>
                <a:gd name="T90" fmla="*/ 2147483647 w 744"/>
                <a:gd name="T91" fmla="*/ 2147483647 h 1290"/>
                <a:gd name="T92" fmla="*/ 2147483647 w 744"/>
                <a:gd name="T93" fmla="*/ 2147483647 h 129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44"/>
                <a:gd name="T142" fmla="*/ 0 h 1290"/>
                <a:gd name="T143" fmla="*/ 744 w 744"/>
                <a:gd name="T144" fmla="*/ 1290 h 129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44" h="1290">
                  <a:moveTo>
                    <a:pt x="678" y="624"/>
                  </a:moveTo>
                  <a:lnTo>
                    <a:pt x="720" y="624"/>
                  </a:lnTo>
                  <a:lnTo>
                    <a:pt x="732" y="630"/>
                  </a:lnTo>
                  <a:lnTo>
                    <a:pt x="744" y="630"/>
                  </a:lnTo>
                  <a:lnTo>
                    <a:pt x="738" y="324"/>
                  </a:lnTo>
                  <a:lnTo>
                    <a:pt x="180" y="0"/>
                  </a:lnTo>
                  <a:lnTo>
                    <a:pt x="156" y="12"/>
                  </a:lnTo>
                  <a:lnTo>
                    <a:pt x="144" y="24"/>
                  </a:lnTo>
                  <a:lnTo>
                    <a:pt x="126" y="30"/>
                  </a:lnTo>
                  <a:lnTo>
                    <a:pt x="108" y="42"/>
                  </a:lnTo>
                  <a:lnTo>
                    <a:pt x="126" y="108"/>
                  </a:lnTo>
                  <a:lnTo>
                    <a:pt x="114" y="156"/>
                  </a:lnTo>
                  <a:lnTo>
                    <a:pt x="144" y="192"/>
                  </a:lnTo>
                  <a:lnTo>
                    <a:pt x="150" y="216"/>
                  </a:lnTo>
                  <a:lnTo>
                    <a:pt x="180" y="252"/>
                  </a:lnTo>
                  <a:lnTo>
                    <a:pt x="162" y="288"/>
                  </a:lnTo>
                  <a:lnTo>
                    <a:pt x="144" y="534"/>
                  </a:lnTo>
                  <a:lnTo>
                    <a:pt x="138" y="540"/>
                  </a:lnTo>
                  <a:lnTo>
                    <a:pt x="120" y="564"/>
                  </a:lnTo>
                  <a:lnTo>
                    <a:pt x="96" y="588"/>
                  </a:lnTo>
                  <a:lnTo>
                    <a:pt x="72" y="618"/>
                  </a:lnTo>
                  <a:lnTo>
                    <a:pt x="54" y="636"/>
                  </a:lnTo>
                  <a:lnTo>
                    <a:pt x="48" y="648"/>
                  </a:lnTo>
                  <a:lnTo>
                    <a:pt x="36" y="666"/>
                  </a:lnTo>
                  <a:lnTo>
                    <a:pt x="30" y="678"/>
                  </a:lnTo>
                  <a:lnTo>
                    <a:pt x="24" y="696"/>
                  </a:lnTo>
                  <a:lnTo>
                    <a:pt x="24" y="708"/>
                  </a:lnTo>
                  <a:lnTo>
                    <a:pt x="18" y="714"/>
                  </a:lnTo>
                  <a:lnTo>
                    <a:pt x="18" y="720"/>
                  </a:lnTo>
                  <a:lnTo>
                    <a:pt x="0" y="726"/>
                  </a:lnTo>
                  <a:lnTo>
                    <a:pt x="6" y="786"/>
                  </a:lnTo>
                  <a:lnTo>
                    <a:pt x="18" y="786"/>
                  </a:lnTo>
                  <a:lnTo>
                    <a:pt x="48" y="834"/>
                  </a:lnTo>
                  <a:lnTo>
                    <a:pt x="48" y="846"/>
                  </a:lnTo>
                  <a:lnTo>
                    <a:pt x="48" y="840"/>
                  </a:lnTo>
                  <a:lnTo>
                    <a:pt x="72" y="834"/>
                  </a:lnTo>
                  <a:lnTo>
                    <a:pt x="72" y="852"/>
                  </a:lnTo>
                  <a:lnTo>
                    <a:pt x="78" y="864"/>
                  </a:lnTo>
                  <a:lnTo>
                    <a:pt x="84" y="870"/>
                  </a:lnTo>
                  <a:lnTo>
                    <a:pt x="96" y="870"/>
                  </a:lnTo>
                  <a:lnTo>
                    <a:pt x="102" y="876"/>
                  </a:lnTo>
                  <a:lnTo>
                    <a:pt x="108" y="876"/>
                  </a:lnTo>
                  <a:lnTo>
                    <a:pt x="102" y="912"/>
                  </a:lnTo>
                  <a:lnTo>
                    <a:pt x="114" y="918"/>
                  </a:lnTo>
                  <a:lnTo>
                    <a:pt x="120" y="930"/>
                  </a:lnTo>
                  <a:lnTo>
                    <a:pt x="120" y="966"/>
                  </a:lnTo>
                  <a:lnTo>
                    <a:pt x="114" y="966"/>
                  </a:lnTo>
                  <a:lnTo>
                    <a:pt x="114" y="1002"/>
                  </a:lnTo>
                  <a:lnTo>
                    <a:pt x="120" y="1020"/>
                  </a:lnTo>
                  <a:lnTo>
                    <a:pt x="120" y="1038"/>
                  </a:lnTo>
                  <a:lnTo>
                    <a:pt x="126" y="1050"/>
                  </a:lnTo>
                  <a:lnTo>
                    <a:pt x="138" y="1056"/>
                  </a:lnTo>
                  <a:lnTo>
                    <a:pt x="144" y="1068"/>
                  </a:lnTo>
                  <a:lnTo>
                    <a:pt x="162" y="1086"/>
                  </a:lnTo>
                  <a:lnTo>
                    <a:pt x="66" y="1086"/>
                  </a:lnTo>
                  <a:lnTo>
                    <a:pt x="54" y="1092"/>
                  </a:lnTo>
                  <a:lnTo>
                    <a:pt x="48" y="1098"/>
                  </a:lnTo>
                  <a:lnTo>
                    <a:pt x="48" y="1110"/>
                  </a:lnTo>
                  <a:lnTo>
                    <a:pt x="60" y="1134"/>
                  </a:lnTo>
                  <a:lnTo>
                    <a:pt x="72" y="1146"/>
                  </a:lnTo>
                  <a:lnTo>
                    <a:pt x="78" y="1158"/>
                  </a:lnTo>
                  <a:lnTo>
                    <a:pt x="90" y="1170"/>
                  </a:lnTo>
                  <a:lnTo>
                    <a:pt x="108" y="1182"/>
                  </a:lnTo>
                  <a:lnTo>
                    <a:pt x="120" y="1188"/>
                  </a:lnTo>
                  <a:lnTo>
                    <a:pt x="132" y="1200"/>
                  </a:lnTo>
                  <a:lnTo>
                    <a:pt x="144" y="1224"/>
                  </a:lnTo>
                  <a:lnTo>
                    <a:pt x="144" y="1242"/>
                  </a:lnTo>
                  <a:lnTo>
                    <a:pt x="150" y="1254"/>
                  </a:lnTo>
                  <a:lnTo>
                    <a:pt x="156" y="1272"/>
                  </a:lnTo>
                  <a:lnTo>
                    <a:pt x="156" y="1284"/>
                  </a:lnTo>
                  <a:lnTo>
                    <a:pt x="162" y="1284"/>
                  </a:lnTo>
                  <a:lnTo>
                    <a:pt x="168" y="1290"/>
                  </a:lnTo>
                  <a:lnTo>
                    <a:pt x="186" y="1290"/>
                  </a:lnTo>
                  <a:lnTo>
                    <a:pt x="198" y="1284"/>
                  </a:lnTo>
                  <a:lnTo>
                    <a:pt x="216" y="1266"/>
                  </a:lnTo>
                  <a:lnTo>
                    <a:pt x="228" y="1260"/>
                  </a:lnTo>
                  <a:lnTo>
                    <a:pt x="234" y="1254"/>
                  </a:lnTo>
                  <a:lnTo>
                    <a:pt x="234" y="1278"/>
                  </a:lnTo>
                  <a:lnTo>
                    <a:pt x="240" y="1284"/>
                  </a:lnTo>
                  <a:lnTo>
                    <a:pt x="246" y="1284"/>
                  </a:lnTo>
                  <a:lnTo>
                    <a:pt x="258" y="1278"/>
                  </a:lnTo>
                  <a:lnTo>
                    <a:pt x="270" y="1266"/>
                  </a:lnTo>
                  <a:lnTo>
                    <a:pt x="276" y="1254"/>
                  </a:lnTo>
                  <a:lnTo>
                    <a:pt x="282" y="1248"/>
                  </a:lnTo>
                  <a:lnTo>
                    <a:pt x="372" y="1248"/>
                  </a:lnTo>
                  <a:lnTo>
                    <a:pt x="378" y="1242"/>
                  </a:lnTo>
                  <a:lnTo>
                    <a:pt x="384" y="1230"/>
                  </a:lnTo>
                  <a:lnTo>
                    <a:pt x="390" y="1224"/>
                  </a:lnTo>
                  <a:lnTo>
                    <a:pt x="396" y="1212"/>
                  </a:lnTo>
                  <a:lnTo>
                    <a:pt x="402" y="1206"/>
                  </a:lnTo>
                  <a:lnTo>
                    <a:pt x="402" y="1194"/>
                  </a:lnTo>
                  <a:lnTo>
                    <a:pt x="390" y="1182"/>
                  </a:lnTo>
                  <a:lnTo>
                    <a:pt x="384" y="1182"/>
                  </a:lnTo>
                  <a:lnTo>
                    <a:pt x="402" y="1170"/>
                  </a:lnTo>
                  <a:lnTo>
                    <a:pt x="420" y="1170"/>
                  </a:lnTo>
                  <a:lnTo>
                    <a:pt x="462" y="1164"/>
                  </a:lnTo>
                  <a:lnTo>
                    <a:pt x="510" y="1146"/>
                  </a:lnTo>
                  <a:lnTo>
                    <a:pt x="528" y="1134"/>
                  </a:lnTo>
                  <a:lnTo>
                    <a:pt x="552" y="1110"/>
                  </a:lnTo>
                  <a:lnTo>
                    <a:pt x="552" y="1092"/>
                  </a:lnTo>
                  <a:lnTo>
                    <a:pt x="588" y="1068"/>
                  </a:lnTo>
                  <a:lnTo>
                    <a:pt x="594" y="1038"/>
                  </a:lnTo>
                  <a:lnTo>
                    <a:pt x="648" y="1008"/>
                  </a:lnTo>
                  <a:lnTo>
                    <a:pt x="672" y="1008"/>
                  </a:lnTo>
                  <a:lnTo>
                    <a:pt x="672" y="996"/>
                  </a:lnTo>
                  <a:lnTo>
                    <a:pt x="684" y="996"/>
                  </a:lnTo>
                  <a:lnTo>
                    <a:pt x="684" y="990"/>
                  </a:lnTo>
                  <a:lnTo>
                    <a:pt x="678" y="984"/>
                  </a:lnTo>
                  <a:lnTo>
                    <a:pt x="666" y="966"/>
                  </a:lnTo>
                  <a:lnTo>
                    <a:pt x="654" y="960"/>
                  </a:lnTo>
                  <a:lnTo>
                    <a:pt x="648" y="960"/>
                  </a:lnTo>
                  <a:lnTo>
                    <a:pt x="642" y="936"/>
                  </a:lnTo>
                  <a:lnTo>
                    <a:pt x="660" y="930"/>
                  </a:lnTo>
                  <a:lnTo>
                    <a:pt x="642" y="918"/>
                  </a:lnTo>
                  <a:lnTo>
                    <a:pt x="642" y="876"/>
                  </a:lnTo>
                  <a:lnTo>
                    <a:pt x="636" y="870"/>
                  </a:lnTo>
                  <a:lnTo>
                    <a:pt x="624" y="870"/>
                  </a:lnTo>
                  <a:lnTo>
                    <a:pt x="618" y="876"/>
                  </a:lnTo>
                  <a:lnTo>
                    <a:pt x="606" y="876"/>
                  </a:lnTo>
                  <a:lnTo>
                    <a:pt x="600" y="870"/>
                  </a:lnTo>
                  <a:lnTo>
                    <a:pt x="600" y="852"/>
                  </a:lnTo>
                  <a:lnTo>
                    <a:pt x="606" y="840"/>
                  </a:lnTo>
                  <a:lnTo>
                    <a:pt x="618" y="834"/>
                  </a:lnTo>
                  <a:lnTo>
                    <a:pt x="630" y="822"/>
                  </a:lnTo>
                  <a:lnTo>
                    <a:pt x="630" y="810"/>
                  </a:lnTo>
                  <a:lnTo>
                    <a:pt x="618" y="786"/>
                  </a:lnTo>
                  <a:lnTo>
                    <a:pt x="612" y="780"/>
                  </a:lnTo>
                  <a:lnTo>
                    <a:pt x="630" y="762"/>
                  </a:lnTo>
                  <a:lnTo>
                    <a:pt x="648" y="750"/>
                  </a:lnTo>
                  <a:lnTo>
                    <a:pt x="642" y="732"/>
                  </a:lnTo>
                  <a:lnTo>
                    <a:pt x="636" y="708"/>
                  </a:lnTo>
                  <a:lnTo>
                    <a:pt x="648" y="708"/>
                  </a:lnTo>
                  <a:lnTo>
                    <a:pt x="648" y="690"/>
                  </a:lnTo>
                  <a:lnTo>
                    <a:pt x="660" y="678"/>
                  </a:lnTo>
                  <a:lnTo>
                    <a:pt x="672" y="672"/>
                  </a:lnTo>
                  <a:lnTo>
                    <a:pt x="678" y="666"/>
                  </a:lnTo>
                  <a:lnTo>
                    <a:pt x="678" y="660"/>
                  </a:lnTo>
                  <a:lnTo>
                    <a:pt x="672" y="654"/>
                  </a:lnTo>
                  <a:lnTo>
                    <a:pt x="672" y="642"/>
                  </a:lnTo>
                  <a:lnTo>
                    <a:pt x="666" y="636"/>
                  </a:lnTo>
                  <a:lnTo>
                    <a:pt x="678" y="624"/>
                  </a:lnTo>
                  <a:close/>
                </a:path>
              </a:pathLst>
            </a:custGeom>
            <a:solidFill>
              <a:srgbClr val="692864"/>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86" name="Central African Republic" descr="© INSCALE GmbH, 05.05.2010&#10;http://www.presentationload.com/"/>
            <p:cNvSpPr>
              <a:spLocks/>
            </p:cNvSpPr>
            <p:nvPr/>
          </p:nvSpPr>
          <p:spPr bwMode="gray">
            <a:xfrm>
              <a:off x="4625978" y="3722688"/>
              <a:ext cx="368301" cy="280988"/>
            </a:xfrm>
            <a:custGeom>
              <a:avLst/>
              <a:gdLst>
                <a:gd name="T0" fmla="*/ 2147483647 w 912"/>
                <a:gd name="T1" fmla="*/ 2147483647 h 702"/>
                <a:gd name="T2" fmla="*/ 2147483647 w 912"/>
                <a:gd name="T3" fmla="*/ 2147483647 h 702"/>
                <a:gd name="T4" fmla="*/ 2147483647 w 912"/>
                <a:gd name="T5" fmla="*/ 2147483647 h 702"/>
                <a:gd name="T6" fmla="*/ 2147483647 w 912"/>
                <a:gd name="T7" fmla="*/ 2147483647 h 702"/>
                <a:gd name="T8" fmla="*/ 2147483647 w 912"/>
                <a:gd name="T9" fmla="*/ 2147483647 h 702"/>
                <a:gd name="T10" fmla="*/ 2147483647 w 912"/>
                <a:gd name="T11" fmla="*/ 2147483647 h 702"/>
                <a:gd name="T12" fmla="*/ 2147483647 w 912"/>
                <a:gd name="T13" fmla="*/ 2147483647 h 702"/>
                <a:gd name="T14" fmla="*/ 2147483647 w 912"/>
                <a:gd name="T15" fmla="*/ 2147483647 h 702"/>
                <a:gd name="T16" fmla="*/ 2147483647 w 912"/>
                <a:gd name="T17" fmla="*/ 2147483647 h 702"/>
                <a:gd name="T18" fmla="*/ 2147483647 w 912"/>
                <a:gd name="T19" fmla="*/ 2147483647 h 702"/>
                <a:gd name="T20" fmla="*/ 2147483647 w 912"/>
                <a:gd name="T21" fmla="*/ 2147483647 h 702"/>
                <a:gd name="T22" fmla="*/ 2147483647 w 912"/>
                <a:gd name="T23" fmla="*/ 2147483647 h 702"/>
                <a:gd name="T24" fmla="*/ 2147483647 w 912"/>
                <a:gd name="T25" fmla="*/ 2147483647 h 702"/>
                <a:gd name="T26" fmla="*/ 2147483647 w 912"/>
                <a:gd name="T27" fmla="*/ 2147483647 h 702"/>
                <a:gd name="T28" fmla="*/ 2147483647 w 912"/>
                <a:gd name="T29" fmla="*/ 2147483647 h 702"/>
                <a:gd name="T30" fmla="*/ 2147483647 w 912"/>
                <a:gd name="T31" fmla="*/ 0 h 702"/>
                <a:gd name="T32" fmla="*/ 2147483647 w 912"/>
                <a:gd name="T33" fmla="*/ 2147483647 h 702"/>
                <a:gd name="T34" fmla="*/ 2147483647 w 912"/>
                <a:gd name="T35" fmla="*/ 2147483647 h 702"/>
                <a:gd name="T36" fmla="*/ 2147483647 w 912"/>
                <a:gd name="T37" fmla="*/ 2147483647 h 702"/>
                <a:gd name="T38" fmla="*/ 2147483647 w 912"/>
                <a:gd name="T39" fmla="*/ 2147483647 h 702"/>
                <a:gd name="T40" fmla="*/ 2147483647 w 912"/>
                <a:gd name="T41" fmla="*/ 2147483647 h 702"/>
                <a:gd name="T42" fmla="*/ 2147483647 w 912"/>
                <a:gd name="T43" fmla="*/ 2147483647 h 702"/>
                <a:gd name="T44" fmla="*/ 2147483647 w 912"/>
                <a:gd name="T45" fmla="*/ 2147483647 h 702"/>
                <a:gd name="T46" fmla="*/ 2147483647 w 912"/>
                <a:gd name="T47" fmla="*/ 2147483647 h 702"/>
                <a:gd name="T48" fmla="*/ 2147483647 w 912"/>
                <a:gd name="T49" fmla="*/ 2147483647 h 702"/>
                <a:gd name="T50" fmla="*/ 2147483647 w 912"/>
                <a:gd name="T51" fmla="*/ 2147483647 h 702"/>
                <a:gd name="T52" fmla="*/ 2147483647 w 912"/>
                <a:gd name="T53" fmla="*/ 2147483647 h 702"/>
                <a:gd name="T54" fmla="*/ 2147483647 w 912"/>
                <a:gd name="T55" fmla="*/ 2147483647 h 702"/>
                <a:gd name="T56" fmla="*/ 2147483647 w 912"/>
                <a:gd name="T57" fmla="*/ 2147483647 h 702"/>
                <a:gd name="T58" fmla="*/ 2147483647 w 912"/>
                <a:gd name="T59" fmla="*/ 2147483647 h 702"/>
                <a:gd name="T60" fmla="*/ 0 w 912"/>
                <a:gd name="T61" fmla="*/ 2147483647 h 702"/>
                <a:gd name="T62" fmla="*/ 2147483647 w 912"/>
                <a:gd name="T63" fmla="*/ 2147483647 h 702"/>
                <a:gd name="T64" fmla="*/ 2147483647 w 912"/>
                <a:gd name="T65" fmla="*/ 2147483647 h 702"/>
                <a:gd name="T66" fmla="*/ 2147483647 w 912"/>
                <a:gd name="T67" fmla="*/ 2147483647 h 702"/>
                <a:gd name="T68" fmla="*/ 2147483647 w 912"/>
                <a:gd name="T69" fmla="*/ 2147483647 h 702"/>
                <a:gd name="T70" fmla="*/ 2147483647 w 912"/>
                <a:gd name="T71" fmla="*/ 2147483647 h 702"/>
                <a:gd name="T72" fmla="*/ 2147483647 w 912"/>
                <a:gd name="T73" fmla="*/ 2147483647 h 702"/>
                <a:gd name="T74" fmla="*/ 2147483647 w 912"/>
                <a:gd name="T75" fmla="*/ 2147483647 h 702"/>
                <a:gd name="T76" fmla="*/ 2147483647 w 912"/>
                <a:gd name="T77" fmla="*/ 2147483647 h 702"/>
                <a:gd name="T78" fmla="*/ 2147483647 w 912"/>
                <a:gd name="T79" fmla="*/ 2147483647 h 702"/>
                <a:gd name="T80" fmla="*/ 2147483647 w 912"/>
                <a:gd name="T81" fmla="*/ 2147483647 h 702"/>
                <a:gd name="T82" fmla="*/ 2147483647 w 912"/>
                <a:gd name="T83" fmla="*/ 2147483647 h 702"/>
                <a:gd name="T84" fmla="*/ 2147483647 w 912"/>
                <a:gd name="T85" fmla="*/ 2147483647 h 702"/>
                <a:gd name="T86" fmla="*/ 2147483647 w 912"/>
                <a:gd name="T87" fmla="*/ 2147483647 h 702"/>
                <a:gd name="T88" fmla="*/ 2147483647 w 912"/>
                <a:gd name="T89" fmla="*/ 2147483647 h 702"/>
                <a:gd name="T90" fmla="*/ 2147483647 w 912"/>
                <a:gd name="T91" fmla="*/ 2147483647 h 702"/>
                <a:gd name="T92" fmla="*/ 2147483647 w 912"/>
                <a:gd name="T93" fmla="*/ 2147483647 h 702"/>
                <a:gd name="T94" fmla="*/ 2147483647 w 912"/>
                <a:gd name="T95" fmla="*/ 2147483647 h 702"/>
                <a:gd name="T96" fmla="*/ 2147483647 w 912"/>
                <a:gd name="T97" fmla="*/ 2147483647 h 702"/>
                <a:gd name="T98" fmla="*/ 2147483647 w 912"/>
                <a:gd name="T99" fmla="*/ 2147483647 h 702"/>
                <a:gd name="T100" fmla="*/ 2147483647 w 912"/>
                <a:gd name="T101" fmla="*/ 2147483647 h 702"/>
                <a:gd name="T102" fmla="*/ 2147483647 w 912"/>
                <a:gd name="T103" fmla="*/ 2147483647 h 702"/>
                <a:gd name="T104" fmla="*/ 2147483647 w 912"/>
                <a:gd name="T105" fmla="*/ 2147483647 h 702"/>
                <a:gd name="T106" fmla="*/ 2147483647 w 912"/>
                <a:gd name="T107" fmla="*/ 2147483647 h 702"/>
                <a:gd name="T108" fmla="*/ 2147483647 w 912"/>
                <a:gd name="T109" fmla="*/ 2147483647 h 702"/>
                <a:gd name="T110" fmla="*/ 2147483647 w 912"/>
                <a:gd name="T111" fmla="*/ 2147483647 h 702"/>
                <a:gd name="T112" fmla="*/ 2147483647 w 912"/>
                <a:gd name="T113" fmla="*/ 2147483647 h 702"/>
                <a:gd name="T114" fmla="*/ 2147483647 w 912"/>
                <a:gd name="T115" fmla="*/ 2147483647 h 702"/>
                <a:gd name="T116" fmla="*/ 2147483647 w 912"/>
                <a:gd name="T117" fmla="*/ 2147483647 h 702"/>
                <a:gd name="T118" fmla="*/ 2147483647 w 912"/>
                <a:gd name="T119" fmla="*/ 2147483647 h 702"/>
                <a:gd name="T120" fmla="*/ 2147483647 w 912"/>
                <a:gd name="T121" fmla="*/ 2147483647 h 70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12"/>
                <a:gd name="T184" fmla="*/ 0 h 702"/>
                <a:gd name="T185" fmla="*/ 912 w 912"/>
                <a:gd name="T186" fmla="*/ 702 h 70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12" h="702">
                  <a:moveTo>
                    <a:pt x="906" y="420"/>
                  </a:moveTo>
                  <a:lnTo>
                    <a:pt x="900" y="414"/>
                  </a:lnTo>
                  <a:lnTo>
                    <a:pt x="888" y="408"/>
                  </a:lnTo>
                  <a:lnTo>
                    <a:pt x="882" y="402"/>
                  </a:lnTo>
                  <a:lnTo>
                    <a:pt x="858" y="396"/>
                  </a:lnTo>
                  <a:lnTo>
                    <a:pt x="858" y="378"/>
                  </a:lnTo>
                  <a:lnTo>
                    <a:pt x="846" y="366"/>
                  </a:lnTo>
                  <a:lnTo>
                    <a:pt x="846" y="360"/>
                  </a:lnTo>
                  <a:lnTo>
                    <a:pt x="858" y="360"/>
                  </a:lnTo>
                  <a:lnTo>
                    <a:pt x="858" y="348"/>
                  </a:lnTo>
                  <a:lnTo>
                    <a:pt x="852" y="342"/>
                  </a:lnTo>
                  <a:lnTo>
                    <a:pt x="834" y="342"/>
                  </a:lnTo>
                  <a:lnTo>
                    <a:pt x="834" y="336"/>
                  </a:lnTo>
                  <a:lnTo>
                    <a:pt x="828" y="330"/>
                  </a:lnTo>
                  <a:lnTo>
                    <a:pt x="822" y="318"/>
                  </a:lnTo>
                  <a:lnTo>
                    <a:pt x="810" y="306"/>
                  </a:lnTo>
                  <a:lnTo>
                    <a:pt x="798" y="300"/>
                  </a:lnTo>
                  <a:lnTo>
                    <a:pt x="792" y="300"/>
                  </a:lnTo>
                  <a:lnTo>
                    <a:pt x="780" y="294"/>
                  </a:lnTo>
                  <a:lnTo>
                    <a:pt x="768" y="282"/>
                  </a:lnTo>
                  <a:lnTo>
                    <a:pt x="768" y="276"/>
                  </a:lnTo>
                  <a:lnTo>
                    <a:pt x="774" y="276"/>
                  </a:lnTo>
                  <a:lnTo>
                    <a:pt x="774" y="270"/>
                  </a:lnTo>
                  <a:lnTo>
                    <a:pt x="780" y="270"/>
                  </a:lnTo>
                  <a:lnTo>
                    <a:pt x="780" y="264"/>
                  </a:lnTo>
                  <a:lnTo>
                    <a:pt x="768" y="252"/>
                  </a:lnTo>
                  <a:lnTo>
                    <a:pt x="756" y="246"/>
                  </a:lnTo>
                  <a:lnTo>
                    <a:pt x="750" y="246"/>
                  </a:lnTo>
                  <a:lnTo>
                    <a:pt x="750" y="228"/>
                  </a:lnTo>
                  <a:lnTo>
                    <a:pt x="720" y="228"/>
                  </a:lnTo>
                  <a:lnTo>
                    <a:pt x="696" y="216"/>
                  </a:lnTo>
                  <a:lnTo>
                    <a:pt x="696" y="186"/>
                  </a:lnTo>
                  <a:lnTo>
                    <a:pt x="648" y="180"/>
                  </a:lnTo>
                  <a:lnTo>
                    <a:pt x="654" y="162"/>
                  </a:lnTo>
                  <a:lnTo>
                    <a:pt x="648" y="162"/>
                  </a:lnTo>
                  <a:lnTo>
                    <a:pt x="642" y="156"/>
                  </a:lnTo>
                  <a:lnTo>
                    <a:pt x="642" y="150"/>
                  </a:lnTo>
                  <a:lnTo>
                    <a:pt x="648" y="144"/>
                  </a:lnTo>
                  <a:lnTo>
                    <a:pt x="654" y="132"/>
                  </a:lnTo>
                  <a:lnTo>
                    <a:pt x="660" y="126"/>
                  </a:lnTo>
                  <a:lnTo>
                    <a:pt x="660" y="96"/>
                  </a:lnTo>
                  <a:lnTo>
                    <a:pt x="654" y="84"/>
                  </a:lnTo>
                  <a:lnTo>
                    <a:pt x="648" y="66"/>
                  </a:lnTo>
                  <a:lnTo>
                    <a:pt x="636" y="54"/>
                  </a:lnTo>
                  <a:lnTo>
                    <a:pt x="630" y="42"/>
                  </a:lnTo>
                  <a:lnTo>
                    <a:pt x="600" y="12"/>
                  </a:lnTo>
                  <a:lnTo>
                    <a:pt x="600" y="0"/>
                  </a:lnTo>
                  <a:lnTo>
                    <a:pt x="576" y="0"/>
                  </a:lnTo>
                  <a:lnTo>
                    <a:pt x="522" y="30"/>
                  </a:lnTo>
                  <a:lnTo>
                    <a:pt x="516" y="60"/>
                  </a:lnTo>
                  <a:lnTo>
                    <a:pt x="480" y="84"/>
                  </a:lnTo>
                  <a:lnTo>
                    <a:pt x="480" y="102"/>
                  </a:lnTo>
                  <a:lnTo>
                    <a:pt x="456" y="126"/>
                  </a:lnTo>
                  <a:lnTo>
                    <a:pt x="438" y="138"/>
                  </a:lnTo>
                  <a:lnTo>
                    <a:pt x="390" y="156"/>
                  </a:lnTo>
                  <a:lnTo>
                    <a:pt x="348" y="162"/>
                  </a:lnTo>
                  <a:lnTo>
                    <a:pt x="330" y="162"/>
                  </a:lnTo>
                  <a:lnTo>
                    <a:pt x="312" y="174"/>
                  </a:lnTo>
                  <a:lnTo>
                    <a:pt x="318" y="174"/>
                  </a:lnTo>
                  <a:lnTo>
                    <a:pt x="330" y="186"/>
                  </a:lnTo>
                  <a:lnTo>
                    <a:pt x="330" y="198"/>
                  </a:lnTo>
                  <a:lnTo>
                    <a:pt x="324" y="204"/>
                  </a:lnTo>
                  <a:lnTo>
                    <a:pt x="318" y="216"/>
                  </a:lnTo>
                  <a:lnTo>
                    <a:pt x="312" y="222"/>
                  </a:lnTo>
                  <a:lnTo>
                    <a:pt x="306" y="234"/>
                  </a:lnTo>
                  <a:lnTo>
                    <a:pt x="300" y="240"/>
                  </a:lnTo>
                  <a:lnTo>
                    <a:pt x="210" y="240"/>
                  </a:lnTo>
                  <a:lnTo>
                    <a:pt x="204" y="246"/>
                  </a:lnTo>
                  <a:lnTo>
                    <a:pt x="198" y="258"/>
                  </a:lnTo>
                  <a:lnTo>
                    <a:pt x="186" y="270"/>
                  </a:lnTo>
                  <a:lnTo>
                    <a:pt x="174" y="276"/>
                  </a:lnTo>
                  <a:lnTo>
                    <a:pt x="168" y="276"/>
                  </a:lnTo>
                  <a:lnTo>
                    <a:pt x="162" y="270"/>
                  </a:lnTo>
                  <a:lnTo>
                    <a:pt x="162" y="246"/>
                  </a:lnTo>
                  <a:lnTo>
                    <a:pt x="156" y="252"/>
                  </a:lnTo>
                  <a:lnTo>
                    <a:pt x="144" y="258"/>
                  </a:lnTo>
                  <a:lnTo>
                    <a:pt x="126" y="276"/>
                  </a:lnTo>
                  <a:lnTo>
                    <a:pt x="114" y="282"/>
                  </a:lnTo>
                  <a:lnTo>
                    <a:pt x="96" y="282"/>
                  </a:lnTo>
                  <a:lnTo>
                    <a:pt x="90" y="276"/>
                  </a:lnTo>
                  <a:lnTo>
                    <a:pt x="78" y="276"/>
                  </a:lnTo>
                  <a:lnTo>
                    <a:pt x="66" y="288"/>
                  </a:lnTo>
                  <a:lnTo>
                    <a:pt x="60" y="300"/>
                  </a:lnTo>
                  <a:lnTo>
                    <a:pt x="54" y="306"/>
                  </a:lnTo>
                  <a:lnTo>
                    <a:pt x="54" y="324"/>
                  </a:lnTo>
                  <a:lnTo>
                    <a:pt x="48" y="336"/>
                  </a:lnTo>
                  <a:lnTo>
                    <a:pt x="42" y="336"/>
                  </a:lnTo>
                  <a:lnTo>
                    <a:pt x="36" y="372"/>
                  </a:lnTo>
                  <a:lnTo>
                    <a:pt x="30" y="372"/>
                  </a:lnTo>
                  <a:lnTo>
                    <a:pt x="24" y="378"/>
                  </a:lnTo>
                  <a:lnTo>
                    <a:pt x="12" y="384"/>
                  </a:lnTo>
                  <a:lnTo>
                    <a:pt x="0" y="396"/>
                  </a:lnTo>
                  <a:lnTo>
                    <a:pt x="0" y="402"/>
                  </a:lnTo>
                  <a:lnTo>
                    <a:pt x="12" y="408"/>
                  </a:lnTo>
                  <a:lnTo>
                    <a:pt x="18" y="408"/>
                  </a:lnTo>
                  <a:lnTo>
                    <a:pt x="18" y="444"/>
                  </a:lnTo>
                  <a:lnTo>
                    <a:pt x="6" y="456"/>
                  </a:lnTo>
                  <a:lnTo>
                    <a:pt x="24" y="468"/>
                  </a:lnTo>
                  <a:lnTo>
                    <a:pt x="24" y="516"/>
                  </a:lnTo>
                  <a:lnTo>
                    <a:pt x="30" y="516"/>
                  </a:lnTo>
                  <a:lnTo>
                    <a:pt x="48" y="534"/>
                  </a:lnTo>
                  <a:lnTo>
                    <a:pt x="54" y="534"/>
                  </a:lnTo>
                  <a:lnTo>
                    <a:pt x="54" y="576"/>
                  </a:lnTo>
                  <a:lnTo>
                    <a:pt x="60" y="582"/>
                  </a:lnTo>
                  <a:lnTo>
                    <a:pt x="72" y="606"/>
                  </a:lnTo>
                  <a:lnTo>
                    <a:pt x="84" y="618"/>
                  </a:lnTo>
                  <a:lnTo>
                    <a:pt x="96" y="624"/>
                  </a:lnTo>
                  <a:lnTo>
                    <a:pt x="102" y="636"/>
                  </a:lnTo>
                  <a:lnTo>
                    <a:pt x="114" y="642"/>
                  </a:lnTo>
                  <a:lnTo>
                    <a:pt x="120" y="660"/>
                  </a:lnTo>
                  <a:lnTo>
                    <a:pt x="120" y="690"/>
                  </a:lnTo>
                  <a:lnTo>
                    <a:pt x="132" y="702"/>
                  </a:lnTo>
                  <a:lnTo>
                    <a:pt x="138" y="696"/>
                  </a:lnTo>
                  <a:lnTo>
                    <a:pt x="144" y="684"/>
                  </a:lnTo>
                  <a:lnTo>
                    <a:pt x="150" y="678"/>
                  </a:lnTo>
                  <a:lnTo>
                    <a:pt x="156" y="666"/>
                  </a:lnTo>
                  <a:lnTo>
                    <a:pt x="156" y="642"/>
                  </a:lnTo>
                  <a:lnTo>
                    <a:pt x="144" y="630"/>
                  </a:lnTo>
                  <a:lnTo>
                    <a:pt x="162" y="600"/>
                  </a:lnTo>
                  <a:lnTo>
                    <a:pt x="192" y="600"/>
                  </a:lnTo>
                  <a:lnTo>
                    <a:pt x="210" y="582"/>
                  </a:lnTo>
                  <a:lnTo>
                    <a:pt x="228" y="582"/>
                  </a:lnTo>
                  <a:lnTo>
                    <a:pt x="264" y="600"/>
                  </a:lnTo>
                  <a:lnTo>
                    <a:pt x="276" y="600"/>
                  </a:lnTo>
                  <a:lnTo>
                    <a:pt x="288" y="588"/>
                  </a:lnTo>
                  <a:lnTo>
                    <a:pt x="300" y="570"/>
                  </a:lnTo>
                  <a:lnTo>
                    <a:pt x="300" y="552"/>
                  </a:lnTo>
                  <a:lnTo>
                    <a:pt x="294" y="552"/>
                  </a:lnTo>
                  <a:lnTo>
                    <a:pt x="294" y="540"/>
                  </a:lnTo>
                  <a:lnTo>
                    <a:pt x="306" y="528"/>
                  </a:lnTo>
                  <a:lnTo>
                    <a:pt x="312" y="528"/>
                  </a:lnTo>
                  <a:lnTo>
                    <a:pt x="324" y="516"/>
                  </a:lnTo>
                  <a:lnTo>
                    <a:pt x="330" y="504"/>
                  </a:lnTo>
                  <a:lnTo>
                    <a:pt x="330" y="498"/>
                  </a:lnTo>
                  <a:lnTo>
                    <a:pt x="336" y="486"/>
                  </a:lnTo>
                  <a:lnTo>
                    <a:pt x="336" y="480"/>
                  </a:lnTo>
                  <a:lnTo>
                    <a:pt x="342" y="474"/>
                  </a:lnTo>
                  <a:lnTo>
                    <a:pt x="354" y="468"/>
                  </a:lnTo>
                  <a:lnTo>
                    <a:pt x="366" y="468"/>
                  </a:lnTo>
                  <a:lnTo>
                    <a:pt x="384" y="474"/>
                  </a:lnTo>
                  <a:lnTo>
                    <a:pt x="396" y="474"/>
                  </a:lnTo>
                  <a:lnTo>
                    <a:pt x="408" y="480"/>
                  </a:lnTo>
                  <a:lnTo>
                    <a:pt x="408" y="492"/>
                  </a:lnTo>
                  <a:lnTo>
                    <a:pt x="426" y="492"/>
                  </a:lnTo>
                  <a:lnTo>
                    <a:pt x="432" y="498"/>
                  </a:lnTo>
                  <a:lnTo>
                    <a:pt x="432" y="528"/>
                  </a:lnTo>
                  <a:lnTo>
                    <a:pt x="474" y="528"/>
                  </a:lnTo>
                  <a:lnTo>
                    <a:pt x="480" y="534"/>
                  </a:lnTo>
                  <a:lnTo>
                    <a:pt x="492" y="540"/>
                  </a:lnTo>
                  <a:lnTo>
                    <a:pt x="540" y="540"/>
                  </a:lnTo>
                  <a:lnTo>
                    <a:pt x="552" y="546"/>
                  </a:lnTo>
                  <a:lnTo>
                    <a:pt x="558" y="552"/>
                  </a:lnTo>
                  <a:lnTo>
                    <a:pt x="570" y="558"/>
                  </a:lnTo>
                  <a:lnTo>
                    <a:pt x="576" y="552"/>
                  </a:lnTo>
                  <a:lnTo>
                    <a:pt x="582" y="540"/>
                  </a:lnTo>
                  <a:lnTo>
                    <a:pt x="588" y="534"/>
                  </a:lnTo>
                  <a:lnTo>
                    <a:pt x="588" y="522"/>
                  </a:lnTo>
                  <a:lnTo>
                    <a:pt x="606" y="504"/>
                  </a:lnTo>
                  <a:lnTo>
                    <a:pt x="612" y="492"/>
                  </a:lnTo>
                  <a:lnTo>
                    <a:pt x="636" y="516"/>
                  </a:lnTo>
                  <a:lnTo>
                    <a:pt x="642" y="516"/>
                  </a:lnTo>
                  <a:lnTo>
                    <a:pt x="648" y="510"/>
                  </a:lnTo>
                  <a:lnTo>
                    <a:pt x="660" y="504"/>
                  </a:lnTo>
                  <a:lnTo>
                    <a:pt x="672" y="492"/>
                  </a:lnTo>
                  <a:lnTo>
                    <a:pt x="690" y="492"/>
                  </a:lnTo>
                  <a:lnTo>
                    <a:pt x="714" y="474"/>
                  </a:lnTo>
                  <a:lnTo>
                    <a:pt x="726" y="486"/>
                  </a:lnTo>
                  <a:lnTo>
                    <a:pt x="750" y="486"/>
                  </a:lnTo>
                  <a:lnTo>
                    <a:pt x="756" y="480"/>
                  </a:lnTo>
                  <a:lnTo>
                    <a:pt x="768" y="480"/>
                  </a:lnTo>
                  <a:lnTo>
                    <a:pt x="768" y="468"/>
                  </a:lnTo>
                  <a:lnTo>
                    <a:pt x="786" y="450"/>
                  </a:lnTo>
                  <a:lnTo>
                    <a:pt x="792" y="450"/>
                  </a:lnTo>
                  <a:lnTo>
                    <a:pt x="792" y="456"/>
                  </a:lnTo>
                  <a:lnTo>
                    <a:pt x="804" y="468"/>
                  </a:lnTo>
                  <a:lnTo>
                    <a:pt x="840" y="462"/>
                  </a:lnTo>
                  <a:lnTo>
                    <a:pt x="840" y="468"/>
                  </a:lnTo>
                  <a:lnTo>
                    <a:pt x="852" y="480"/>
                  </a:lnTo>
                  <a:lnTo>
                    <a:pt x="876" y="480"/>
                  </a:lnTo>
                  <a:lnTo>
                    <a:pt x="894" y="474"/>
                  </a:lnTo>
                  <a:lnTo>
                    <a:pt x="912" y="456"/>
                  </a:lnTo>
                  <a:lnTo>
                    <a:pt x="912" y="432"/>
                  </a:lnTo>
                  <a:lnTo>
                    <a:pt x="906" y="420"/>
                  </a:lnTo>
                  <a:close/>
                </a:path>
              </a:pathLst>
            </a:custGeom>
            <a:solidFill>
              <a:srgbClr val="692864"/>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87" name="Canada" descr="© INSCALE GmbH, 05.05.2010&#10;http://www.presentationload.com/"/>
            <p:cNvSpPr>
              <a:spLocks noEditPoints="1"/>
            </p:cNvSpPr>
            <p:nvPr/>
          </p:nvSpPr>
          <p:spPr bwMode="gray">
            <a:xfrm>
              <a:off x="1035050" y="1557338"/>
              <a:ext cx="2243139" cy="1160463"/>
            </a:xfrm>
            <a:custGeom>
              <a:avLst/>
              <a:gdLst>
                <a:gd name="T0" fmla="*/ 2147483647 w 5574"/>
                <a:gd name="T1" fmla="*/ 2147483647 h 2886"/>
                <a:gd name="T2" fmla="*/ 2147483647 w 5574"/>
                <a:gd name="T3" fmla="*/ 2147483647 h 2886"/>
                <a:gd name="T4" fmla="*/ 2147483647 w 5574"/>
                <a:gd name="T5" fmla="*/ 2147483647 h 2886"/>
                <a:gd name="T6" fmla="*/ 2147483647 w 5574"/>
                <a:gd name="T7" fmla="*/ 2147483647 h 2886"/>
                <a:gd name="T8" fmla="*/ 2147483647 w 5574"/>
                <a:gd name="T9" fmla="*/ 2147483647 h 2886"/>
                <a:gd name="T10" fmla="*/ 2147483647 w 5574"/>
                <a:gd name="T11" fmla="*/ 2147483647 h 2886"/>
                <a:gd name="T12" fmla="*/ 2147483647 w 5574"/>
                <a:gd name="T13" fmla="*/ 2147483647 h 2886"/>
                <a:gd name="T14" fmla="*/ 2147483647 w 5574"/>
                <a:gd name="T15" fmla="*/ 2147483647 h 2886"/>
                <a:gd name="T16" fmla="*/ 2147483647 w 5574"/>
                <a:gd name="T17" fmla="*/ 2147483647 h 2886"/>
                <a:gd name="T18" fmla="*/ 2147483647 w 5574"/>
                <a:gd name="T19" fmla="*/ 2147483647 h 2886"/>
                <a:gd name="T20" fmla="*/ 2147483647 w 5574"/>
                <a:gd name="T21" fmla="*/ 2147483647 h 2886"/>
                <a:gd name="T22" fmla="*/ 2147483647 w 5574"/>
                <a:gd name="T23" fmla="*/ 2147483647 h 2886"/>
                <a:gd name="T24" fmla="*/ 2147483647 w 5574"/>
                <a:gd name="T25" fmla="*/ 2147483647 h 2886"/>
                <a:gd name="T26" fmla="*/ 2147483647 w 5574"/>
                <a:gd name="T27" fmla="*/ 2147483647 h 2886"/>
                <a:gd name="T28" fmla="*/ 2147483647 w 5574"/>
                <a:gd name="T29" fmla="*/ 2147483647 h 2886"/>
                <a:gd name="T30" fmla="*/ 2147483647 w 5574"/>
                <a:gd name="T31" fmla="*/ 2147483647 h 2886"/>
                <a:gd name="T32" fmla="*/ 2147483647 w 5574"/>
                <a:gd name="T33" fmla="*/ 2147483647 h 2886"/>
                <a:gd name="T34" fmla="*/ 2147483647 w 5574"/>
                <a:gd name="T35" fmla="*/ 2147483647 h 2886"/>
                <a:gd name="T36" fmla="*/ 2147483647 w 5574"/>
                <a:gd name="T37" fmla="*/ 2147483647 h 2886"/>
                <a:gd name="T38" fmla="*/ 2147483647 w 5574"/>
                <a:gd name="T39" fmla="*/ 2147483647 h 2886"/>
                <a:gd name="T40" fmla="*/ 2147483647 w 5574"/>
                <a:gd name="T41" fmla="*/ 2147483647 h 2886"/>
                <a:gd name="T42" fmla="*/ 2147483647 w 5574"/>
                <a:gd name="T43" fmla="*/ 2147483647 h 2886"/>
                <a:gd name="T44" fmla="*/ 2147483647 w 5574"/>
                <a:gd name="T45" fmla="*/ 2147483647 h 2886"/>
                <a:gd name="T46" fmla="*/ 2147483647 w 5574"/>
                <a:gd name="T47" fmla="*/ 2147483647 h 2886"/>
                <a:gd name="T48" fmla="*/ 2147483647 w 5574"/>
                <a:gd name="T49" fmla="*/ 2147483647 h 2886"/>
                <a:gd name="T50" fmla="*/ 2147483647 w 5574"/>
                <a:gd name="T51" fmla="*/ 2147483647 h 2886"/>
                <a:gd name="T52" fmla="*/ 2147483647 w 5574"/>
                <a:gd name="T53" fmla="*/ 2147483647 h 2886"/>
                <a:gd name="T54" fmla="*/ 2147483647 w 5574"/>
                <a:gd name="T55" fmla="*/ 2147483647 h 2886"/>
                <a:gd name="T56" fmla="*/ 2147483647 w 5574"/>
                <a:gd name="T57" fmla="*/ 2147483647 h 2886"/>
                <a:gd name="T58" fmla="*/ 2147483647 w 5574"/>
                <a:gd name="T59" fmla="*/ 2147483647 h 2886"/>
                <a:gd name="T60" fmla="*/ 2147483647 w 5574"/>
                <a:gd name="T61" fmla="*/ 2147483647 h 2886"/>
                <a:gd name="T62" fmla="*/ 2147483647 w 5574"/>
                <a:gd name="T63" fmla="*/ 2147483647 h 2886"/>
                <a:gd name="T64" fmla="*/ 2147483647 w 5574"/>
                <a:gd name="T65" fmla="*/ 2147483647 h 2886"/>
                <a:gd name="T66" fmla="*/ 2147483647 w 5574"/>
                <a:gd name="T67" fmla="*/ 2147483647 h 2886"/>
                <a:gd name="T68" fmla="*/ 2147483647 w 5574"/>
                <a:gd name="T69" fmla="*/ 2147483647 h 2886"/>
                <a:gd name="T70" fmla="*/ 2147483647 w 5574"/>
                <a:gd name="T71" fmla="*/ 2147483647 h 2886"/>
                <a:gd name="T72" fmla="*/ 2147483647 w 5574"/>
                <a:gd name="T73" fmla="*/ 2147483647 h 2886"/>
                <a:gd name="T74" fmla="*/ 2147483647 w 5574"/>
                <a:gd name="T75" fmla="*/ 2147483647 h 2886"/>
                <a:gd name="T76" fmla="*/ 2147483647 w 5574"/>
                <a:gd name="T77" fmla="*/ 2147483647 h 2886"/>
                <a:gd name="T78" fmla="*/ 2147483647 w 5574"/>
                <a:gd name="T79" fmla="*/ 2147483647 h 2886"/>
                <a:gd name="T80" fmla="*/ 2147483647 w 5574"/>
                <a:gd name="T81" fmla="*/ 2147483647 h 2886"/>
                <a:gd name="T82" fmla="*/ 2147483647 w 5574"/>
                <a:gd name="T83" fmla="*/ 2147483647 h 2886"/>
                <a:gd name="T84" fmla="*/ 2147483647 w 5574"/>
                <a:gd name="T85" fmla="*/ 2147483647 h 2886"/>
                <a:gd name="T86" fmla="*/ 2147483647 w 5574"/>
                <a:gd name="T87" fmla="*/ 2147483647 h 2886"/>
                <a:gd name="T88" fmla="*/ 2147483647 w 5574"/>
                <a:gd name="T89" fmla="*/ 2147483647 h 2886"/>
                <a:gd name="T90" fmla="*/ 2147483647 w 5574"/>
                <a:gd name="T91" fmla="*/ 2147483647 h 2886"/>
                <a:gd name="T92" fmla="*/ 2147483647 w 5574"/>
                <a:gd name="T93" fmla="*/ 2147483647 h 2886"/>
                <a:gd name="T94" fmla="*/ 2147483647 w 5574"/>
                <a:gd name="T95" fmla="*/ 2147483647 h 2886"/>
                <a:gd name="T96" fmla="*/ 2147483647 w 5574"/>
                <a:gd name="T97" fmla="*/ 2147483647 h 2886"/>
                <a:gd name="T98" fmla="*/ 2147483647 w 5574"/>
                <a:gd name="T99" fmla="*/ 2147483647 h 2886"/>
                <a:gd name="T100" fmla="*/ 2147483647 w 5574"/>
                <a:gd name="T101" fmla="*/ 2147483647 h 2886"/>
                <a:gd name="T102" fmla="*/ 2147483647 w 5574"/>
                <a:gd name="T103" fmla="*/ 2147483647 h 2886"/>
                <a:gd name="T104" fmla="*/ 2147483647 w 5574"/>
                <a:gd name="T105" fmla="*/ 2147483647 h 2886"/>
                <a:gd name="T106" fmla="*/ 2147483647 w 5574"/>
                <a:gd name="T107" fmla="*/ 2147483647 h 2886"/>
                <a:gd name="T108" fmla="*/ 2147483647 w 5574"/>
                <a:gd name="T109" fmla="*/ 2147483647 h 2886"/>
                <a:gd name="T110" fmla="*/ 2147483647 w 5574"/>
                <a:gd name="T111" fmla="*/ 2147483647 h 2886"/>
                <a:gd name="T112" fmla="*/ 2147483647 w 5574"/>
                <a:gd name="T113" fmla="*/ 2147483647 h 2886"/>
                <a:gd name="T114" fmla="*/ 2147483647 w 5574"/>
                <a:gd name="T115" fmla="*/ 2147483647 h 2886"/>
                <a:gd name="T116" fmla="*/ 2147483647 w 5574"/>
                <a:gd name="T117" fmla="*/ 2147483647 h 2886"/>
                <a:gd name="T118" fmla="*/ 2147483647 w 5574"/>
                <a:gd name="T119" fmla="*/ 2147483647 h 2886"/>
                <a:gd name="T120" fmla="*/ 2147483647 w 5574"/>
                <a:gd name="T121" fmla="*/ 2147483647 h 2886"/>
                <a:gd name="T122" fmla="*/ 2147483647 w 5574"/>
                <a:gd name="T123" fmla="*/ 2147483647 h 2886"/>
                <a:gd name="T124" fmla="*/ 2147483647 w 5574"/>
                <a:gd name="T125" fmla="*/ 2147483647 h 288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574"/>
                <a:gd name="T190" fmla="*/ 0 h 2886"/>
                <a:gd name="T191" fmla="*/ 5574 w 5574"/>
                <a:gd name="T192" fmla="*/ 2886 h 288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574" h="2886">
                  <a:moveTo>
                    <a:pt x="3114" y="252"/>
                  </a:moveTo>
                  <a:lnTo>
                    <a:pt x="3138" y="252"/>
                  </a:lnTo>
                  <a:lnTo>
                    <a:pt x="3150" y="258"/>
                  </a:lnTo>
                  <a:lnTo>
                    <a:pt x="3168" y="258"/>
                  </a:lnTo>
                  <a:lnTo>
                    <a:pt x="3174" y="252"/>
                  </a:lnTo>
                  <a:lnTo>
                    <a:pt x="3174" y="246"/>
                  </a:lnTo>
                  <a:lnTo>
                    <a:pt x="3168" y="234"/>
                  </a:lnTo>
                  <a:lnTo>
                    <a:pt x="3156" y="228"/>
                  </a:lnTo>
                  <a:lnTo>
                    <a:pt x="3108" y="228"/>
                  </a:lnTo>
                  <a:lnTo>
                    <a:pt x="3066" y="234"/>
                  </a:lnTo>
                  <a:lnTo>
                    <a:pt x="3036" y="246"/>
                  </a:lnTo>
                  <a:lnTo>
                    <a:pt x="3018" y="246"/>
                  </a:lnTo>
                  <a:lnTo>
                    <a:pt x="3060" y="246"/>
                  </a:lnTo>
                  <a:lnTo>
                    <a:pt x="3096" y="252"/>
                  </a:lnTo>
                  <a:lnTo>
                    <a:pt x="3114" y="252"/>
                  </a:lnTo>
                  <a:close/>
                  <a:moveTo>
                    <a:pt x="2988" y="318"/>
                  </a:moveTo>
                  <a:lnTo>
                    <a:pt x="3036" y="318"/>
                  </a:lnTo>
                  <a:lnTo>
                    <a:pt x="3048" y="312"/>
                  </a:lnTo>
                  <a:lnTo>
                    <a:pt x="3060" y="312"/>
                  </a:lnTo>
                  <a:lnTo>
                    <a:pt x="3072" y="300"/>
                  </a:lnTo>
                  <a:lnTo>
                    <a:pt x="3072" y="294"/>
                  </a:lnTo>
                  <a:lnTo>
                    <a:pt x="3066" y="282"/>
                  </a:lnTo>
                  <a:lnTo>
                    <a:pt x="3138" y="270"/>
                  </a:lnTo>
                  <a:lnTo>
                    <a:pt x="3120" y="264"/>
                  </a:lnTo>
                  <a:lnTo>
                    <a:pt x="3054" y="264"/>
                  </a:lnTo>
                  <a:lnTo>
                    <a:pt x="3042" y="276"/>
                  </a:lnTo>
                  <a:lnTo>
                    <a:pt x="3030" y="276"/>
                  </a:lnTo>
                  <a:lnTo>
                    <a:pt x="2994" y="270"/>
                  </a:lnTo>
                  <a:lnTo>
                    <a:pt x="2958" y="270"/>
                  </a:lnTo>
                  <a:lnTo>
                    <a:pt x="2940" y="282"/>
                  </a:lnTo>
                  <a:lnTo>
                    <a:pt x="2940" y="294"/>
                  </a:lnTo>
                  <a:lnTo>
                    <a:pt x="2946" y="300"/>
                  </a:lnTo>
                  <a:lnTo>
                    <a:pt x="2970" y="312"/>
                  </a:lnTo>
                  <a:lnTo>
                    <a:pt x="2976" y="318"/>
                  </a:lnTo>
                  <a:lnTo>
                    <a:pt x="2988" y="318"/>
                  </a:lnTo>
                  <a:close/>
                  <a:moveTo>
                    <a:pt x="2682" y="384"/>
                  </a:moveTo>
                  <a:lnTo>
                    <a:pt x="2628" y="408"/>
                  </a:lnTo>
                  <a:lnTo>
                    <a:pt x="2634" y="408"/>
                  </a:lnTo>
                  <a:lnTo>
                    <a:pt x="2646" y="414"/>
                  </a:lnTo>
                  <a:lnTo>
                    <a:pt x="2652" y="414"/>
                  </a:lnTo>
                  <a:lnTo>
                    <a:pt x="2658" y="420"/>
                  </a:lnTo>
                  <a:lnTo>
                    <a:pt x="2658" y="426"/>
                  </a:lnTo>
                  <a:lnTo>
                    <a:pt x="2622" y="426"/>
                  </a:lnTo>
                  <a:lnTo>
                    <a:pt x="2586" y="432"/>
                  </a:lnTo>
                  <a:lnTo>
                    <a:pt x="2556" y="438"/>
                  </a:lnTo>
                  <a:lnTo>
                    <a:pt x="2544" y="438"/>
                  </a:lnTo>
                  <a:lnTo>
                    <a:pt x="2520" y="456"/>
                  </a:lnTo>
                  <a:lnTo>
                    <a:pt x="2580" y="450"/>
                  </a:lnTo>
                  <a:lnTo>
                    <a:pt x="2586" y="450"/>
                  </a:lnTo>
                  <a:lnTo>
                    <a:pt x="2592" y="456"/>
                  </a:lnTo>
                  <a:lnTo>
                    <a:pt x="2610" y="456"/>
                  </a:lnTo>
                  <a:lnTo>
                    <a:pt x="2628" y="462"/>
                  </a:lnTo>
                  <a:lnTo>
                    <a:pt x="2658" y="462"/>
                  </a:lnTo>
                  <a:lnTo>
                    <a:pt x="2694" y="450"/>
                  </a:lnTo>
                  <a:lnTo>
                    <a:pt x="2730" y="444"/>
                  </a:lnTo>
                  <a:lnTo>
                    <a:pt x="2742" y="438"/>
                  </a:lnTo>
                  <a:lnTo>
                    <a:pt x="2742" y="450"/>
                  </a:lnTo>
                  <a:lnTo>
                    <a:pt x="2760" y="450"/>
                  </a:lnTo>
                  <a:lnTo>
                    <a:pt x="2796" y="444"/>
                  </a:lnTo>
                  <a:lnTo>
                    <a:pt x="2856" y="444"/>
                  </a:lnTo>
                  <a:lnTo>
                    <a:pt x="2850" y="444"/>
                  </a:lnTo>
                  <a:lnTo>
                    <a:pt x="2844" y="450"/>
                  </a:lnTo>
                  <a:lnTo>
                    <a:pt x="2832" y="450"/>
                  </a:lnTo>
                  <a:lnTo>
                    <a:pt x="2790" y="456"/>
                  </a:lnTo>
                  <a:lnTo>
                    <a:pt x="2730" y="468"/>
                  </a:lnTo>
                  <a:lnTo>
                    <a:pt x="2706" y="468"/>
                  </a:lnTo>
                  <a:lnTo>
                    <a:pt x="2688" y="474"/>
                  </a:lnTo>
                  <a:lnTo>
                    <a:pt x="2670" y="474"/>
                  </a:lnTo>
                  <a:lnTo>
                    <a:pt x="2652" y="480"/>
                  </a:lnTo>
                  <a:lnTo>
                    <a:pt x="2646" y="486"/>
                  </a:lnTo>
                  <a:lnTo>
                    <a:pt x="2640" y="486"/>
                  </a:lnTo>
                  <a:lnTo>
                    <a:pt x="2658" y="486"/>
                  </a:lnTo>
                  <a:lnTo>
                    <a:pt x="2694" y="492"/>
                  </a:lnTo>
                  <a:lnTo>
                    <a:pt x="2760" y="498"/>
                  </a:lnTo>
                  <a:lnTo>
                    <a:pt x="2808" y="492"/>
                  </a:lnTo>
                  <a:lnTo>
                    <a:pt x="2850" y="480"/>
                  </a:lnTo>
                  <a:lnTo>
                    <a:pt x="2874" y="474"/>
                  </a:lnTo>
                  <a:lnTo>
                    <a:pt x="2886" y="468"/>
                  </a:lnTo>
                  <a:lnTo>
                    <a:pt x="2958" y="450"/>
                  </a:lnTo>
                  <a:lnTo>
                    <a:pt x="3000" y="450"/>
                  </a:lnTo>
                  <a:lnTo>
                    <a:pt x="3054" y="444"/>
                  </a:lnTo>
                  <a:lnTo>
                    <a:pt x="3096" y="438"/>
                  </a:lnTo>
                  <a:lnTo>
                    <a:pt x="3120" y="432"/>
                  </a:lnTo>
                  <a:lnTo>
                    <a:pt x="3138" y="420"/>
                  </a:lnTo>
                  <a:lnTo>
                    <a:pt x="3156" y="414"/>
                  </a:lnTo>
                  <a:lnTo>
                    <a:pt x="3168" y="408"/>
                  </a:lnTo>
                  <a:lnTo>
                    <a:pt x="3168" y="396"/>
                  </a:lnTo>
                  <a:lnTo>
                    <a:pt x="3156" y="384"/>
                  </a:lnTo>
                  <a:lnTo>
                    <a:pt x="3144" y="378"/>
                  </a:lnTo>
                  <a:lnTo>
                    <a:pt x="3120" y="378"/>
                  </a:lnTo>
                  <a:lnTo>
                    <a:pt x="3114" y="384"/>
                  </a:lnTo>
                  <a:lnTo>
                    <a:pt x="3108" y="384"/>
                  </a:lnTo>
                  <a:lnTo>
                    <a:pt x="3108" y="396"/>
                  </a:lnTo>
                  <a:lnTo>
                    <a:pt x="3072" y="396"/>
                  </a:lnTo>
                  <a:lnTo>
                    <a:pt x="3078" y="390"/>
                  </a:lnTo>
                  <a:lnTo>
                    <a:pt x="3078" y="378"/>
                  </a:lnTo>
                  <a:lnTo>
                    <a:pt x="3102" y="354"/>
                  </a:lnTo>
                  <a:lnTo>
                    <a:pt x="3102" y="342"/>
                  </a:lnTo>
                  <a:lnTo>
                    <a:pt x="3096" y="342"/>
                  </a:lnTo>
                  <a:lnTo>
                    <a:pt x="3054" y="348"/>
                  </a:lnTo>
                  <a:lnTo>
                    <a:pt x="2988" y="372"/>
                  </a:lnTo>
                  <a:lnTo>
                    <a:pt x="2976" y="378"/>
                  </a:lnTo>
                  <a:lnTo>
                    <a:pt x="3024" y="378"/>
                  </a:lnTo>
                  <a:lnTo>
                    <a:pt x="3018" y="408"/>
                  </a:lnTo>
                  <a:lnTo>
                    <a:pt x="2898" y="420"/>
                  </a:lnTo>
                  <a:lnTo>
                    <a:pt x="2898" y="414"/>
                  </a:lnTo>
                  <a:lnTo>
                    <a:pt x="2892" y="408"/>
                  </a:lnTo>
                  <a:lnTo>
                    <a:pt x="2892" y="372"/>
                  </a:lnTo>
                  <a:lnTo>
                    <a:pt x="2886" y="366"/>
                  </a:lnTo>
                  <a:lnTo>
                    <a:pt x="2874" y="366"/>
                  </a:lnTo>
                  <a:lnTo>
                    <a:pt x="2856" y="360"/>
                  </a:lnTo>
                  <a:lnTo>
                    <a:pt x="2814" y="360"/>
                  </a:lnTo>
                  <a:lnTo>
                    <a:pt x="2682" y="384"/>
                  </a:lnTo>
                  <a:close/>
                  <a:moveTo>
                    <a:pt x="2832" y="342"/>
                  </a:moveTo>
                  <a:lnTo>
                    <a:pt x="2844" y="330"/>
                  </a:lnTo>
                  <a:lnTo>
                    <a:pt x="2844" y="318"/>
                  </a:lnTo>
                  <a:lnTo>
                    <a:pt x="2838" y="312"/>
                  </a:lnTo>
                  <a:lnTo>
                    <a:pt x="2814" y="312"/>
                  </a:lnTo>
                  <a:lnTo>
                    <a:pt x="2802" y="318"/>
                  </a:lnTo>
                  <a:lnTo>
                    <a:pt x="2796" y="324"/>
                  </a:lnTo>
                  <a:lnTo>
                    <a:pt x="2796" y="330"/>
                  </a:lnTo>
                  <a:lnTo>
                    <a:pt x="2802" y="336"/>
                  </a:lnTo>
                  <a:lnTo>
                    <a:pt x="2814" y="336"/>
                  </a:lnTo>
                  <a:lnTo>
                    <a:pt x="2820" y="342"/>
                  </a:lnTo>
                  <a:lnTo>
                    <a:pt x="2832" y="342"/>
                  </a:lnTo>
                  <a:close/>
                  <a:moveTo>
                    <a:pt x="3012" y="564"/>
                  </a:moveTo>
                  <a:lnTo>
                    <a:pt x="2988" y="540"/>
                  </a:lnTo>
                  <a:lnTo>
                    <a:pt x="2958" y="540"/>
                  </a:lnTo>
                  <a:lnTo>
                    <a:pt x="2952" y="534"/>
                  </a:lnTo>
                  <a:lnTo>
                    <a:pt x="2946" y="534"/>
                  </a:lnTo>
                  <a:lnTo>
                    <a:pt x="2934" y="528"/>
                  </a:lnTo>
                  <a:lnTo>
                    <a:pt x="2916" y="528"/>
                  </a:lnTo>
                  <a:lnTo>
                    <a:pt x="2898" y="534"/>
                  </a:lnTo>
                  <a:lnTo>
                    <a:pt x="2892" y="540"/>
                  </a:lnTo>
                  <a:lnTo>
                    <a:pt x="2892" y="552"/>
                  </a:lnTo>
                  <a:lnTo>
                    <a:pt x="2928" y="570"/>
                  </a:lnTo>
                  <a:lnTo>
                    <a:pt x="2934" y="576"/>
                  </a:lnTo>
                  <a:lnTo>
                    <a:pt x="2946" y="582"/>
                  </a:lnTo>
                  <a:lnTo>
                    <a:pt x="3012" y="564"/>
                  </a:lnTo>
                  <a:close/>
                  <a:moveTo>
                    <a:pt x="2460" y="414"/>
                  </a:moveTo>
                  <a:lnTo>
                    <a:pt x="2442" y="420"/>
                  </a:lnTo>
                  <a:lnTo>
                    <a:pt x="2430" y="426"/>
                  </a:lnTo>
                  <a:lnTo>
                    <a:pt x="2430" y="438"/>
                  </a:lnTo>
                  <a:lnTo>
                    <a:pt x="2442" y="438"/>
                  </a:lnTo>
                  <a:lnTo>
                    <a:pt x="2472" y="432"/>
                  </a:lnTo>
                  <a:lnTo>
                    <a:pt x="2490" y="426"/>
                  </a:lnTo>
                  <a:lnTo>
                    <a:pt x="2502" y="420"/>
                  </a:lnTo>
                  <a:lnTo>
                    <a:pt x="2502" y="414"/>
                  </a:lnTo>
                  <a:lnTo>
                    <a:pt x="2496" y="408"/>
                  </a:lnTo>
                  <a:lnTo>
                    <a:pt x="2484" y="408"/>
                  </a:lnTo>
                  <a:lnTo>
                    <a:pt x="2460" y="414"/>
                  </a:lnTo>
                  <a:close/>
                  <a:moveTo>
                    <a:pt x="2970" y="858"/>
                  </a:moveTo>
                  <a:lnTo>
                    <a:pt x="2988" y="858"/>
                  </a:lnTo>
                  <a:lnTo>
                    <a:pt x="3006" y="864"/>
                  </a:lnTo>
                  <a:lnTo>
                    <a:pt x="3018" y="870"/>
                  </a:lnTo>
                  <a:lnTo>
                    <a:pt x="3036" y="876"/>
                  </a:lnTo>
                  <a:lnTo>
                    <a:pt x="3060" y="882"/>
                  </a:lnTo>
                  <a:lnTo>
                    <a:pt x="3096" y="882"/>
                  </a:lnTo>
                  <a:lnTo>
                    <a:pt x="3126" y="876"/>
                  </a:lnTo>
                  <a:lnTo>
                    <a:pt x="3138" y="876"/>
                  </a:lnTo>
                  <a:lnTo>
                    <a:pt x="3120" y="810"/>
                  </a:lnTo>
                  <a:lnTo>
                    <a:pt x="3018" y="792"/>
                  </a:lnTo>
                  <a:lnTo>
                    <a:pt x="2988" y="828"/>
                  </a:lnTo>
                  <a:lnTo>
                    <a:pt x="2958" y="828"/>
                  </a:lnTo>
                  <a:lnTo>
                    <a:pt x="2952" y="834"/>
                  </a:lnTo>
                  <a:lnTo>
                    <a:pt x="2952" y="846"/>
                  </a:lnTo>
                  <a:lnTo>
                    <a:pt x="2958" y="852"/>
                  </a:lnTo>
                  <a:lnTo>
                    <a:pt x="2970" y="858"/>
                  </a:lnTo>
                  <a:close/>
                  <a:moveTo>
                    <a:pt x="168" y="2034"/>
                  </a:moveTo>
                  <a:lnTo>
                    <a:pt x="168" y="2040"/>
                  </a:lnTo>
                  <a:lnTo>
                    <a:pt x="174" y="2046"/>
                  </a:lnTo>
                  <a:lnTo>
                    <a:pt x="192" y="2046"/>
                  </a:lnTo>
                  <a:lnTo>
                    <a:pt x="186" y="2070"/>
                  </a:lnTo>
                  <a:lnTo>
                    <a:pt x="216" y="2052"/>
                  </a:lnTo>
                  <a:lnTo>
                    <a:pt x="216" y="2028"/>
                  </a:lnTo>
                  <a:lnTo>
                    <a:pt x="174" y="2028"/>
                  </a:lnTo>
                  <a:lnTo>
                    <a:pt x="168" y="2034"/>
                  </a:lnTo>
                  <a:close/>
                  <a:moveTo>
                    <a:pt x="252" y="2298"/>
                  </a:moveTo>
                  <a:lnTo>
                    <a:pt x="252" y="2292"/>
                  </a:lnTo>
                  <a:lnTo>
                    <a:pt x="246" y="2286"/>
                  </a:lnTo>
                  <a:lnTo>
                    <a:pt x="246" y="2268"/>
                  </a:lnTo>
                  <a:lnTo>
                    <a:pt x="252" y="2256"/>
                  </a:lnTo>
                  <a:lnTo>
                    <a:pt x="252" y="2238"/>
                  </a:lnTo>
                  <a:lnTo>
                    <a:pt x="246" y="2226"/>
                  </a:lnTo>
                  <a:lnTo>
                    <a:pt x="228" y="2226"/>
                  </a:lnTo>
                  <a:lnTo>
                    <a:pt x="216" y="2220"/>
                  </a:lnTo>
                  <a:lnTo>
                    <a:pt x="204" y="2220"/>
                  </a:lnTo>
                  <a:lnTo>
                    <a:pt x="192" y="2214"/>
                  </a:lnTo>
                  <a:lnTo>
                    <a:pt x="186" y="2208"/>
                  </a:lnTo>
                  <a:lnTo>
                    <a:pt x="174" y="2202"/>
                  </a:lnTo>
                  <a:lnTo>
                    <a:pt x="150" y="2178"/>
                  </a:lnTo>
                  <a:lnTo>
                    <a:pt x="138" y="2172"/>
                  </a:lnTo>
                  <a:lnTo>
                    <a:pt x="126" y="2172"/>
                  </a:lnTo>
                  <a:lnTo>
                    <a:pt x="102" y="2184"/>
                  </a:lnTo>
                  <a:lnTo>
                    <a:pt x="96" y="2196"/>
                  </a:lnTo>
                  <a:lnTo>
                    <a:pt x="96" y="2202"/>
                  </a:lnTo>
                  <a:lnTo>
                    <a:pt x="108" y="2208"/>
                  </a:lnTo>
                  <a:lnTo>
                    <a:pt x="114" y="2214"/>
                  </a:lnTo>
                  <a:lnTo>
                    <a:pt x="120" y="2214"/>
                  </a:lnTo>
                  <a:lnTo>
                    <a:pt x="132" y="2202"/>
                  </a:lnTo>
                  <a:lnTo>
                    <a:pt x="144" y="2208"/>
                  </a:lnTo>
                  <a:lnTo>
                    <a:pt x="132" y="2220"/>
                  </a:lnTo>
                  <a:lnTo>
                    <a:pt x="120" y="2220"/>
                  </a:lnTo>
                  <a:lnTo>
                    <a:pt x="114" y="2226"/>
                  </a:lnTo>
                  <a:lnTo>
                    <a:pt x="102" y="2232"/>
                  </a:lnTo>
                  <a:lnTo>
                    <a:pt x="102" y="2244"/>
                  </a:lnTo>
                  <a:lnTo>
                    <a:pt x="108" y="2250"/>
                  </a:lnTo>
                  <a:lnTo>
                    <a:pt x="126" y="2250"/>
                  </a:lnTo>
                  <a:lnTo>
                    <a:pt x="138" y="2244"/>
                  </a:lnTo>
                  <a:lnTo>
                    <a:pt x="132" y="2262"/>
                  </a:lnTo>
                  <a:lnTo>
                    <a:pt x="150" y="2262"/>
                  </a:lnTo>
                  <a:lnTo>
                    <a:pt x="132" y="2280"/>
                  </a:lnTo>
                  <a:lnTo>
                    <a:pt x="168" y="2274"/>
                  </a:lnTo>
                  <a:lnTo>
                    <a:pt x="156" y="2280"/>
                  </a:lnTo>
                  <a:lnTo>
                    <a:pt x="144" y="2292"/>
                  </a:lnTo>
                  <a:lnTo>
                    <a:pt x="138" y="2292"/>
                  </a:lnTo>
                  <a:lnTo>
                    <a:pt x="138" y="2298"/>
                  </a:lnTo>
                  <a:lnTo>
                    <a:pt x="150" y="2298"/>
                  </a:lnTo>
                  <a:lnTo>
                    <a:pt x="162" y="2286"/>
                  </a:lnTo>
                  <a:lnTo>
                    <a:pt x="168" y="2286"/>
                  </a:lnTo>
                  <a:lnTo>
                    <a:pt x="174" y="2292"/>
                  </a:lnTo>
                  <a:lnTo>
                    <a:pt x="174" y="2304"/>
                  </a:lnTo>
                  <a:lnTo>
                    <a:pt x="162" y="2316"/>
                  </a:lnTo>
                  <a:lnTo>
                    <a:pt x="162" y="2328"/>
                  </a:lnTo>
                  <a:lnTo>
                    <a:pt x="210" y="2328"/>
                  </a:lnTo>
                  <a:lnTo>
                    <a:pt x="228" y="2316"/>
                  </a:lnTo>
                  <a:lnTo>
                    <a:pt x="210" y="2340"/>
                  </a:lnTo>
                  <a:lnTo>
                    <a:pt x="192" y="2340"/>
                  </a:lnTo>
                  <a:lnTo>
                    <a:pt x="186" y="2346"/>
                  </a:lnTo>
                  <a:lnTo>
                    <a:pt x="186" y="2352"/>
                  </a:lnTo>
                  <a:lnTo>
                    <a:pt x="210" y="2364"/>
                  </a:lnTo>
                  <a:lnTo>
                    <a:pt x="216" y="2364"/>
                  </a:lnTo>
                  <a:lnTo>
                    <a:pt x="228" y="2370"/>
                  </a:lnTo>
                  <a:lnTo>
                    <a:pt x="234" y="2376"/>
                  </a:lnTo>
                  <a:lnTo>
                    <a:pt x="246" y="2376"/>
                  </a:lnTo>
                  <a:lnTo>
                    <a:pt x="258" y="2382"/>
                  </a:lnTo>
                  <a:lnTo>
                    <a:pt x="270" y="2376"/>
                  </a:lnTo>
                  <a:lnTo>
                    <a:pt x="288" y="2358"/>
                  </a:lnTo>
                  <a:lnTo>
                    <a:pt x="294" y="2346"/>
                  </a:lnTo>
                  <a:lnTo>
                    <a:pt x="294" y="2340"/>
                  </a:lnTo>
                  <a:lnTo>
                    <a:pt x="288" y="2334"/>
                  </a:lnTo>
                  <a:lnTo>
                    <a:pt x="282" y="2322"/>
                  </a:lnTo>
                  <a:lnTo>
                    <a:pt x="270" y="2316"/>
                  </a:lnTo>
                  <a:lnTo>
                    <a:pt x="264" y="2304"/>
                  </a:lnTo>
                  <a:lnTo>
                    <a:pt x="252" y="2298"/>
                  </a:lnTo>
                  <a:close/>
                  <a:moveTo>
                    <a:pt x="2304" y="372"/>
                  </a:moveTo>
                  <a:lnTo>
                    <a:pt x="2316" y="372"/>
                  </a:lnTo>
                  <a:lnTo>
                    <a:pt x="2328" y="366"/>
                  </a:lnTo>
                  <a:lnTo>
                    <a:pt x="2376" y="366"/>
                  </a:lnTo>
                  <a:lnTo>
                    <a:pt x="2388" y="378"/>
                  </a:lnTo>
                  <a:lnTo>
                    <a:pt x="2388" y="390"/>
                  </a:lnTo>
                  <a:lnTo>
                    <a:pt x="2424" y="390"/>
                  </a:lnTo>
                  <a:lnTo>
                    <a:pt x="2442" y="384"/>
                  </a:lnTo>
                  <a:lnTo>
                    <a:pt x="2454" y="384"/>
                  </a:lnTo>
                  <a:lnTo>
                    <a:pt x="2466" y="390"/>
                  </a:lnTo>
                  <a:lnTo>
                    <a:pt x="2472" y="396"/>
                  </a:lnTo>
                  <a:lnTo>
                    <a:pt x="2490" y="396"/>
                  </a:lnTo>
                  <a:lnTo>
                    <a:pt x="2514" y="384"/>
                  </a:lnTo>
                  <a:lnTo>
                    <a:pt x="2520" y="372"/>
                  </a:lnTo>
                  <a:lnTo>
                    <a:pt x="2520" y="354"/>
                  </a:lnTo>
                  <a:lnTo>
                    <a:pt x="2550" y="354"/>
                  </a:lnTo>
                  <a:lnTo>
                    <a:pt x="2616" y="336"/>
                  </a:lnTo>
                  <a:lnTo>
                    <a:pt x="2580" y="366"/>
                  </a:lnTo>
                  <a:lnTo>
                    <a:pt x="2634" y="378"/>
                  </a:lnTo>
                  <a:lnTo>
                    <a:pt x="2688" y="354"/>
                  </a:lnTo>
                  <a:lnTo>
                    <a:pt x="2784" y="312"/>
                  </a:lnTo>
                  <a:lnTo>
                    <a:pt x="2778" y="312"/>
                  </a:lnTo>
                  <a:lnTo>
                    <a:pt x="2772" y="306"/>
                  </a:lnTo>
                  <a:lnTo>
                    <a:pt x="2754" y="300"/>
                  </a:lnTo>
                  <a:lnTo>
                    <a:pt x="2736" y="300"/>
                  </a:lnTo>
                  <a:lnTo>
                    <a:pt x="2724" y="294"/>
                  </a:lnTo>
                  <a:lnTo>
                    <a:pt x="2706" y="288"/>
                  </a:lnTo>
                  <a:lnTo>
                    <a:pt x="2676" y="288"/>
                  </a:lnTo>
                  <a:lnTo>
                    <a:pt x="2646" y="282"/>
                  </a:lnTo>
                  <a:lnTo>
                    <a:pt x="2604" y="282"/>
                  </a:lnTo>
                  <a:lnTo>
                    <a:pt x="2526" y="294"/>
                  </a:lnTo>
                  <a:lnTo>
                    <a:pt x="2526" y="318"/>
                  </a:lnTo>
                  <a:lnTo>
                    <a:pt x="2406" y="324"/>
                  </a:lnTo>
                  <a:lnTo>
                    <a:pt x="2400" y="324"/>
                  </a:lnTo>
                  <a:lnTo>
                    <a:pt x="2394" y="318"/>
                  </a:lnTo>
                  <a:lnTo>
                    <a:pt x="2334" y="318"/>
                  </a:lnTo>
                  <a:lnTo>
                    <a:pt x="2322" y="324"/>
                  </a:lnTo>
                  <a:lnTo>
                    <a:pt x="2310" y="324"/>
                  </a:lnTo>
                  <a:lnTo>
                    <a:pt x="2304" y="330"/>
                  </a:lnTo>
                  <a:lnTo>
                    <a:pt x="2304" y="372"/>
                  </a:lnTo>
                  <a:close/>
                  <a:moveTo>
                    <a:pt x="150" y="1980"/>
                  </a:moveTo>
                  <a:lnTo>
                    <a:pt x="162" y="2004"/>
                  </a:lnTo>
                  <a:lnTo>
                    <a:pt x="174" y="2010"/>
                  </a:lnTo>
                  <a:lnTo>
                    <a:pt x="186" y="1980"/>
                  </a:lnTo>
                  <a:lnTo>
                    <a:pt x="180" y="1974"/>
                  </a:lnTo>
                  <a:lnTo>
                    <a:pt x="174" y="1974"/>
                  </a:lnTo>
                  <a:lnTo>
                    <a:pt x="162" y="1968"/>
                  </a:lnTo>
                  <a:lnTo>
                    <a:pt x="156" y="1968"/>
                  </a:lnTo>
                  <a:lnTo>
                    <a:pt x="150" y="1974"/>
                  </a:lnTo>
                  <a:lnTo>
                    <a:pt x="150" y="1980"/>
                  </a:lnTo>
                  <a:close/>
                  <a:moveTo>
                    <a:pt x="126" y="1932"/>
                  </a:moveTo>
                  <a:lnTo>
                    <a:pt x="120" y="1932"/>
                  </a:lnTo>
                  <a:lnTo>
                    <a:pt x="108" y="1938"/>
                  </a:lnTo>
                  <a:lnTo>
                    <a:pt x="96" y="1938"/>
                  </a:lnTo>
                  <a:lnTo>
                    <a:pt x="84" y="1944"/>
                  </a:lnTo>
                  <a:lnTo>
                    <a:pt x="78" y="1944"/>
                  </a:lnTo>
                  <a:lnTo>
                    <a:pt x="78" y="1950"/>
                  </a:lnTo>
                  <a:lnTo>
                    <a:pt x="72" y="1962"/>
                  </a:lnTo>
                  <a:lnTo>
                    <a:pt x="66" y="1968"/>
                  </a:lnTo>
                  <a:lnTo>
                    <a:pt x="48" y="1968"/>
                  </a:lnTo>
                  <a:lnTo>
                    <a:pt x="42" y="1962"/>
                  </a:lnTo>
                  <a:lnTo>
                    <a:pt x="48" y="1956"/>
                  </a:lnTo>
                  <a:lnTo>
                    <a:pt x="60" y="1956"/>
                  </a:lnTo>
                  <a:lnTo>
                    <a:pt x="66" y="1950"/>
                  </a:lnTo>
                  <a:lnTo>
                    <a:pt x="72" y="1950"/>
                  </a:lnTo>
                  <a:lnTo>
                    <a:pt x="78" y="1944"/>
                  </a:lnTo>
                  <a:lnTo>
                    <a:pt x="84" y="1944"/>
                  </a:lnTo>
                  <a:lnTo>
                    <a:pt x="78" y="1938"/>
                  </a:lnTo>
                  <a:lnTo>
                    <a:pt x="54" y="1938"/>
                  </a:lnTo>
                  <a:lnTo>
                    <a:pt x="48" y="1944"/>
                  </a:lnTo>
                  <a:lnTo>
                    <a:pt x="48" y="1932"/>
                  </a:lnTo>
                  <a:lnTo>
                    <a:pt x="36" y="1932"/>
                  </a:lnTo>
                  <a:lnTo>
                    <a:pt x="24" y="1944"/>
                  </a:lnTo>
                  <a:lnTo>
                    <a:pt x="6" y="1980"/>
                  </a:lnTo>
                  <a:lnTo>
                    <a:pt x="6" y="2004"/>
                  </a:lnTo>
                  <a:lnTo>
                    <a:pt x="12" y="2004"/>
                  </a:lnTo>
                  <a:lnTo>
                    <a:pt x="12" y="2010"/>
                  </a:lnTo>
                  <a:lnTo>
                    <a:pt x="18" y="2016"/>
                  </a:lnTo>
                  <a:lnTo>
                    <a:pt x="0" y="2022"/>
                  </a:lnTo>
                  <a:lnTo>
                    <a:pt x="12" y="2076"/>
                  </a:lnTo>
                  <a:lnTo>
                    <a:pt x="12" y="2082"/>
                  </a:lnTo>
                  <a:lnTo>
                    <a:pt x="6" y="2082"/>
                  </a:lnTo>
                  <a:lnTo>
                    <a:pt x="12" y="2088"/>
                  </a:lnTo>
                  <a:lnTo>
                    <a:pt x="12" y="2094"/>
                  </a:lnTo>
                  <a:lnTo>
                    <a:pt x="30" y="2094"/>
                  </a:lnTo>
                  <a:lnTo>
                    <a:pt x="30" y="2070"/>
                  </a:lnTo>
                  <a:lnTo>
                    <a:pt x="24" y="2058"/>
                  </a:lnTo>
                  <a:lnTo>
                    <a:pt x="24" y="2040"/>
                  </a:lnTo>
                  <a:lnTo>
                    <a:pt x="36" y="2028"/>
                  </a:lnTo>
                  <a:lnTo>
                    <a:pt x="42" y="2028"/>
                  </a:lnTo>
                  <a:lnTo>
                    <a:pt x="48" y="2016"/>
                  </a:lnTo>
                  <a:lnTo>
                    <a:pt x="54" y="2010"/>
                  </a:lnTo>
                  <a:lnTo>
                    <a:pt x="54" y="1986"/>
                  </a:lnTo>
                  <a:lnTo>
                    <a:pt x="84" y="1956"/>
                  </a:lnTo>
                  <a:lnTo>
                    <a:pt x="108" y="1944"/>
                  </a:lnTo>
                  <a:lnTo>
                    <a:pt x="114" y="1944"/>
                  </a:lnTo>
                  <a:lnTo>
                    <a:pt x="126" y="1938"/>
                  </a:lnTo>
                  <a:lnTo>
                    <a:pt x="126" y="1932"/>
                  </a:lnTo>
                  <a:close/>
                  <a:moveTo>
                    <a:pt x="1896" y="678"/>
                  </a:moveTo>
                  <a:lnTo>
                    <a:pt x="1896" y="690"/>
                  </a:lnTo>
                  <a:lnTo>
                    <a:pt x="1884" y="702"/>
                  </a:lnTo>
                  <a:lnTo>
                    <a:pt x="1884" y="714"/>
                  </a:lnTo>
                  <a:lnTo>
                    <a:pt x="1902" y="714"/>
                  </a:lnTo>
                  <a:lnTo>
                    <a:pt x="1926" y="708"/>
                  </a:lnTo>
                  <a:lnTo>
                    <a:pt x="1944" y="708"/>
                  </a:lnTo>
                  <a:lnTo>
                    <a:pt x="1980" y="696"/>
                  </a:lnTo>
                  <a:lnTo>
                    <a:pt x="1986" y="690"/>
                  </a:lnTo>
                  <a:lnTo>
                    <a:pt x="1992" y="690"/>
                  </a:lnTo>
                  <a:lnTo>
                    <a:pt x="2034" y="702"/>
                  </a:lnTo>
                  <a:lnTo>
                    <a:pt x="2112" y="642"/>
                  </a:lnTo>
                  <a:lnTo>
                    <a:pt x="2244" y="600"/>
                  </a:lnTo>
                  <a:lnTo>
                    <a:pt x="2370" y="564"/>
                  </a:lnTo>
                  <a:lnTo>
                    <a:pt x="2466" y="546"/>
                  </a:lnTo>
                  <a:lnTo>
                    <a:pt x="2454" y="540"/>
                  </a:lnTo>
                  <a:lnTo>
                    <a:pt x="2448" y="528"/>
                  </a:lnTo>
                  <a:lnTo>
                    <a:pt x="2436" y="522"/>
                  </a:lnTo>
                  <a:lnTo>
                    <a:pt x="2424" y="510"/>
                  </a:lnTo>
                  <a:lnTo>
                    <a:pt x="2412" y="504"/>
                  </a:lnTo>
                  <a:lnTo>
                    <a:pt x="2400" y="492"/>
                  </a:lnTo>
                  <a:lnTo>
                    <a:pt x="2352" y="492"/>
                  </a:lnTo>
                  <a:lnTo>
                    <a:pt x="2340" y="498"/>
                  </a:lnTo>
                  <a:lnTo>
                    <a:pt x="2328" y="498"/>
                  </a:lnTo>
                  <a:lnTo>
                    <a:pt x="2262" y="504"/>
                  </a:lnTo>
                  <a:lnTo>
                    <a:pt x="2226" y="480"/>
                  </a:lnTo>
                  <a:lnTo>
                    <a:pt x="2142" y="486"/>
                  </a:lnTo>
                  <a:lnTo>
                    <a:pt x="2094" y="504"/>
                  </a:lnTo>
                  <a:lnTo>
                    <a:pt x="2076" y="522"/>
                  </a:lnTo>
                  <a:lnTo>
                    <a:pt x="2064" y="552"/>
                  </a:lnTo>
                  <a:lnTo>
                    <a:pt x="2010" y="564"/>
                  </a:lnTo>
                  <a:lnTo>
                    <a:pt x="1944" y="588"/>
                  </a:lnTo>
                  <a:lnTo>
                    <a:pt x="1962" y="600"/>
                  </a:lnTo>
                  <a:lnTo>
                    <a:pt x="1842" y="654"/>
                  </a:lnTo>
                  <a:lnTo>
                    <a:pt x="1854" y="654"/>
                  </a:lnTo>
                  <a:lnTo>
                    <a:pt x="1890" y="672"/>
                  </a:lnTo>
                  <a:lnTo>
                    <a:pt x="1896" y="678"/>
                  </a:lnTo>
                  <a:close/>
                  <a:moveTo>
                    <a:pt x="198" y="1968"/>
                  </a:moveTo>
                  <a:lnTo>
                    <a:pt x="192" y="1992"/>
                  </a:lnTo>
                  <a:lnTo>
                    <a:pt x="192" y="2010"/>
                  </a:lnTo>
                  <a:lnTo>
                    <a:pt x="216" y="1998"/>
                  </a:lnTo>
                  <a:lnTo>
                    <a:pt x="198" y="1968"/>
                  </a:lnTo>
                  <a:close/>
                  <a:moveTo>
                    <a:pt x="4182" y="600"/>
                  </a:moveTo>
                  <a:lnTo>
                    <a:pt x="4194" y="606"/>
                  </a:lnTo>
                  <a:lnTo>
                    <a:pt x="4206" y="600"/>
                  </a:lnTo>
                  <a:lnTo>
                    <a:pt x="4218" y="600"/>
                  </a:lnTo>
                  <a:lnTo>
                    <a:pt x="4242" y="588"/>
                  </a:lnTo>
                  <a:lnTo>
                    <a:pt x="4308" y="588"/>
                  </a:lnTo>
                  <a:lnTo>
                    <a:pt x="4314" y="594"/>
                  </a:lnTo>
                  <a:lnTo>
                    <a:pt x="4350" y="594"/>
                  </a:lnTo>
                  <a:lnTo>
                    <a:pt x="4356" y="588"/>
                  </a:lnTo>
                  <a:lnTo>
                    <a:pt x="4356" y="582"/>
                  </a:lnTo>
                  <a:lnTo>
                    <a:pt x="4344" y="558"/>
                  </a:lnTo>
                  <a:lnTo>
                    <a:pt x="4338" y="552"/>
                  </a:lnTo>
                  <a:lnTo>
                    <a:pt x="4326" y="546"/>
                  </a:lnTo>
                  <a:lnTo>
                    <a:pt x="4230" y="546"/>
                  </a:lnTo>
                  <a:lnTo>
                    <a:pt x="4224" y="540"/>
                  </a:lnTo>
                  <a:lnTo>
                    <a:pt x="4212" y="540"/>
                  </a:lnTo>
                  <a:lnTo>
                    <a:pt x="4200" y="534"/>
                  </a:lnTo>
                  <a:lnTo>
                    <a:pt x="4188" y="534"/>
                  </a:lnTo>
                  <a:lnTo>
                    <a:pt x="4176" y="540"/>
                  </a:lnTo>
                  <a:lnTo>
                    <a:pt x="4158" y="558"/>
                  </a:lnTo>
                  <a:lnTo>
                    <a:pt x="4158" y="564"/>
                  </a:lnTo>
                  <a:lnTo>
                    <a:pt x="4176" y="576"/>
                  </a:lnTo>
                  <a:lnTo>
                    <a:pt x="4170" y="582"/>
                  </a:lnTo>
                  <a:lnTo>
                    <a:pt x="4170" y="594"/>
                  </a:lnTo>
                  <a:lnTo>
                    <a:pt x="4176" y="594"/>
                  </a:lnTo>
                  <a:lnTo>
                    <a:pt x="4182" y="600"/>
                  </a:lnTo>
                  <a:close/>
                  <a:moveTo>
                    <a:pt x="3708" y="516"/>
                  </a:moveTo>
                  <a:lnTo>
                    <a:pt x="3678" y="516"/>
                  </a:lnTo>
                  <a:lnTo>
                    <a:pt x="3624" y="510"/>
                  </a:lnTo>
                  <a:lnTo>
                    <a:pt x="3564" y="504"/>
                  </a:lnTo>
                  <a:lnTo>
                    <a:pt x="3468" y="504"/>
                  </a:lnTo>
                  <a:lnTo>
                    <a:pt x="3468" y="516"/>
                  </a:lnTo>
                  <a:lnTo>
                    <a:pt x="3462" y="522"/>
                  </a:lnTo>
                  <a:lnTo>
                    <a:pt x="3426" y="540"/>
                  </a:lnTo>
                  <a:lnTo>
                    <a:pt x="3396" y="546"/>
                  </a:lnTo>
                  <a:lnTo>
                    <a:pt x="3378" y="552"/>
                  </a:lnTo>
                  <a:lnTo>
                    <a:pt x="3372" y="552"/>
                  </a:lnTo>
                  <a:lnTo>
                    <a:pt x="3372" y="558"/>
                  </a:lnTo>
                  <a:lnTo>
                    <a:pt x="3384" y="570"/>
                  </a:lnTo>
                  <a:lnTo>
                    <a:pt x="3390" y="582"/>
                  </a:lnTo>
                  <a:lnTo>
                    <a:pt x="3390" y="594"/>
                  </a:lnTo>
                  <a:lnTo>
                    <a:pt x="3372" y="618"/>
                  </a:lnTo>
                  <a:lnTo>
                    <a:pt x="3402" y="636"/>
                  </a:lnTo>
                  <a:lnTo>
                    <a:pt x="3480" y="606"/>
                  </a:lnTo>
                  <a:lnTo>
                    <a:pt x="3474" y="600"/>
                  </a:lnTo>
                  <a:lnTo>
                    <a:pt x="3468" y="600"/>
                  </a:lnTo>
                  <a:lnTo>
                    <a:pt x="3468" y="594"/>
                  </a:lnTo>
                  <a:lnTo>
                    <a:pt x="3474" y="588"/>
                  </a:lnTo>
                  <a:lnTo>
                    <a:pt x="3486" y="582"/>
                  </a:lnTo>
                  <a:lnTo>
                    <a:pt x="3522" y="582"/>
                  </a:lnTo>
                  <a:lnTo>
                    <a:pt x="3546" y="594"/>
                  </a:lnTo>
                  <a:lnTo>
                    <a:pt x="3552" y="600"/>
                  </a:lnTo>
                  <a:lnTo>
                    <a:pt x="3606" y="594"/>
                  </a:lnTo>
                  <a:lnTo>
                    <a:pt x="3600" y="570"/>
                  </a:lnTo>
                  <a:lnTo>
                    <a:pt x="3630" y="570"/>
                  </a:lnTo>
                  <a:lnTo>
                    <a:pt x="3648" y="564"/>
                  </a:lnTo>
                  <a:lnTo>
                    <a:pt x="3666" y="564"/>
                  </a:lnTo>
                  <a:lnTo>
                    <a:pt x="3690" y="552"/>
                  </a:lnTo>
                  <a:lnTo>
                    <a:pt x="3696" y="546"/>
                  </a:lnTo>
                  <a:lnTo>
                    <a:pt x="3702" y="534"/>
                  </a:lnTo>
                  <a:lnTo>
                    <a:pt x="3714" y="522"/>
                  </a:lnTo>
                  <a:lnTo>
                    <a:pt x="3720" y="522"/>
                  </a:lnTo>
                  <a:lnTo>
                    <a:pt x="3714" y="516"/>
                  </a:lnTo>
                  <a:lnTo>
                    <a:pt x="3708" y="516"/>
                  </a:lnTo>
                  <a:close/>
                  <a:moveTo>
                    <a:pt x="3792" y="150"/>
                  </a:moveTo>
                  <a:lnTo>
                    <a:pt x="3738" y="156"/>
                  </a:lnTo>
                  <a:lnTo>
                    <a:pt x="3756" y="180"/>
                  </a:lnTo>
                  <a:lnTo>
                    <a:pt x="3792" y="150"/>
                  </a:lnTo>
                  <a:close/>
                  <a:moveTo>
                    <a:pt x="3612" y="480"/>
                  </a:moveTo>
                  <a:lnTo>
                    <a:pt x="3636" y="468"/>
                  </a:lnTo>
                  <a:lnTo>
                    <a:pt x="3642" y="456"/>
                  </a:lnTo>
                  <a:lnTo>
                    <a:pt x="3654" y="450"/>
                  </a:lnTo>
                  <a:lnTo>
                    <a:pt x="3660" y="438"/>
                  </a:lnTo>
                  <a:lnTo>
                    <a:pt x="3660" y="432"/>
                  </a:lnTo>
                  <a:lnTo>
                    <a:pt x="3654" y="426"/>
                  </a:lnTo>
                  <a:lnTo>
                    <a:pt x="3642" y="426"/>
                  </a:lnTo>
                  <a:lnTo>
                    <a:pt x="3630" y="420"/>
                  </a:lnTo>
                  <a:lnTo>
                    <a:pt x="3588" y="420"/>
                  </a:lnTo>
                  <a:lnTo>
                    <a:pt x="3570" y="426"/>
                  </a:lnTo>
                  <a:lnTo>
                    <a:pt x="3552" y="426"/>
                  </a:lnTo>
                  <a:lnTo>
                    <a:pt x="3534" y="438"/>
                  </a:lnTo>
                  <a:lnTo>
                    <a:pt x="3516" y="444"/>
                  </a:lnTo>
                  <a:lnTo>
                    <a:pt x="3504" y="450"/>
                  </a:lnTo>
                  <a:lnTo>
                    <a:pt x="3504" y="462"/>
                  </a:lnTo>
                  <a:lnTo>
                    <a:pt x="3528" y="468"/>
                  </a:lnTo>
                  <a:lnTo>
                    <a:pt x="3600" y="480"/>
                  </a:lnTo>
                  <a:lnTo>
                    <a:pt x="3612" y="480"/>
                  </a:lnTo>
                  <a:close/>
                  <a:moveTo>
                    <a:pt x="3954" y="180"/>
                  </a:moveTo>
                  <a:lnTo>
                    <a:pt x="3900" y="192"/>
                  </a:lnTo>
                  <a:lnTo>
                    <a:pt x="3936" y="210"/>
                  </a:lnTo>
                  <a:lnTo>
                    <a:pt x="3924" y="216"/>
                  </a:lnTo>
                  <a:lnTo>
                    <a:pt x="3918" y="222"/>
                  </a:lnTo>
                  <a:lnTo>
                    <a:pt x="3918" y="228"/>
                  </a:lnTo>
                  <a:lnTo>
                    <a:pt x="3924" y="234"/>
                  </a:lnTo>
                  <a:lnTo>
                    <a:pt x="3936" y="240"/>
                  </a:lnTo>
                  <a:lnTo>
                    <a:pt x="3966" y="240"/>
                  </a:lnTo>
                  <a:lnTo>
                    <a:pt x="3942" y="252"/>
                  </a:lnTo>
                  <a:lnTo>
                    <a:pt x="3954" y="252"/>
                  </a:lnTo>
                  <a:lnTo>
                    <a:pt x="4002" y="276"/>
                  </a:lnTo>
                  <a:lnTo>
                    <a:pt x="4014" y="276"/>
                  </a:lnTo>
                  <a:lnTo>
                    <a:pt x="4026" y="270"/>
                  </a:lnTo>
                  <a:lnTo>
                    <a:pt x="4032" y="264"/>
                  </a:lnTo>
                  <a:lnTo>
                    <a:pt x="4044" y="258"/>
                  </a:lnTo>
                  <a:lnTo>
                    <a:pt x="4050" y="252"/>
                  </a:lnTo>
                  <a:lnTo>
                    <a:pt x="4074" y="246"/>
                  </a:lnTo>
                  <a:lnTo>
                    <a:pt x="4086" y="258"/>
                  </a:lnTo>
                  <a:lnTo>
                    <a:pt x="4092" y="270"/>
                  </a:lnTo>
                  <a:lnTo>
                    <a:pt x="4098" y="276"/>
                  </a:lnTo>
                  <a:lnTo>
                    <a:pt x="4104" y="270"/>
                  </a:lnTo>
                  <a:lnTo>
                    <a:pt x="4116" y="270"/>
                  </a:lnTo>
                  <a:lnTo>
                    <a:pt x="4128" y="264"/>
                  </a:lnTo>
                  <a:lnTo>
                    <a:pt x="4134" y="258"/>
                  </a:lnTo>
                  <a:lnTo>
                    <a:pt x="4146" y="258"/>
                  </a:lnTo>
                  <a:lnTo>
                    <a:pt x="4152" y="252"/>
                  </a:lnTo>
                  <a:lnTo>
                    <a:pt x="4158" y="252"/>
                  </a:lnTo>
                  <a:lnTo>
                    <a:pt x="4170" y="246"/>
                  </a:lnTo>
                  <a:lnTo>
                    <a:pt x="4176" y="234"/>
                  </a:lnTo>
                  <a:lnTo>
                    <a:pt x="4182" y="228"/>
                  </a:lnTo>
                  <a:lnTo>
                    <a:pt x="4194" y="246"/>
                  </a:lnTo>
                  <a:lnTo>
                    <a:pt x="4218" y="222"/>
                  </a:lnTo>
                  <a:lnTo>
                    <a:pt x="4218" y="216"/>
                  </a:lnTo>
                  <a:lnTo>
                    <a:pt x="4236" y="210"/>
                  </a:lnTo>
                  <a:lnTo>
                    <a:pt x="4326" y="210"/>
                  </a:lnTo>
                  <a:lnTo>
                    <a:pt x="4332" y="204"/>
                  </a:lnTo>
                  <a:lnTo>
                    <a:pt x="4332" y="192"/>
                  </a:lnTo>
                  <a:lnTo>
                    <a:pt x="4266" y="186"/>
                  </a:lnTo>
                  <a:lnTo>
                    <a:pt x="4302" y="174"/>
                  </a:lnTo>
                  <a:lnTo>
                    <a:pt x="4302" y="132"/>
                  </a:lnTo>
                  <a:lnTo>
                    <a:pt x="4278" y="132"/>
                  </a:lnTo>
                  <a:lnTo>
                    <a:pt x="4266" y="138"/>
                  </a:lnTo>
                  <a:lnTo>
                    <a:pt x="4260" y="144"/>
                  </a:lnTo>
                  <a:lnTo>
                    <a:pt x="4248" y="150"/>
                  </a:lnTo>
                  <a:lnTo>
                    <a:pt x="4242" y="126"/>
                  </a:lnTo>
                  <a:lnTo>
                    <a:pt x="4194" y="132"/>
                  </a:lnTo>
                  <a:lnTo>
                    <a:pt x="4194" y="120"/>
                  </a:lnTo>
                  <a:lnTo>
                    <a:pt x="4176" y="84"/>
                  </a:lnTo>
                  <a:lnTo>
                    <a:pt x="4140" y="84"/>
                  </a:lnTo>
                  <a:lnTo>
                    <a:pt x="4122" y="90"/>
                  </a:lnTo>
                  <a:lnTo>
                    <a:pt x="4110" y="96"/>
                  </a:lnTo>
                  <a:lnTo>
                    <a:pt x="4104" y="102"/>
                  </a:lnTo>
                  <a:lnTo>
                    <a:pt x="4098" y="102"/>
                  </a:lnTo>
                  <a:lnTo>
                    <a:pt x="4020" y="108"/>
                  </a:lnTo>
                  <a:lnTo>
                    <a:pt x="4044" y="126"/>
                  </a:lnTo>
                  <a:lnTo>
                    <a:pt x="3996" y="126"/>
                  </a:lnTo>
                  <a:lnTo>
                    <a:pt x="3984" y="132"/>
                  </a:lnTo>
                  <a:lnTo>
                    <a:pt x="3972" y="132"/>
                  </a:lnTo>
                  <a:lnTo>
                    <a:pt x="3966" y="138"/>
                  </a:lnTo>
                  <a:lnTo>
                    <a:pt x="3984" y="156"/>
                  </a:lnTo>
                  <a:lnTo>
                    <a:pt x="3972" y="156"/>
                  </a:lnTo>
                  <a:lnTo>
                    <a:pt x="3936" y="150"/>
                  </a:lnTo>
                  <a:lnTo>
                    <a:pt x="3906" y="156"/>
                  </a:lnTo>
                  <a:lnTo>
                    <a:pt x="3888" y="168"/>
                  </a:lnTo>
                  <a:lnTo>
                    <a:pt x="3888" y="174"/>
                  </a:lnTo>
                  <a:lnTo>
                    <a:pt x="3894" y="180"/>
                  </a:lnTo>
                  <a:lnTo>
                    <a:pt x="3954" y="180"/>
                  </a:lnTo>
                  <a:close/>
                  <a:moveTo>
                    <a:pt x="3972" y="294"/>
                  </a:moveTo>
                  <a:lnTo>
                    <a:pt x="3954" y="300"/>
                  </a:lnTo>
                  <a:lnTo>
                    <a:pt x="3942" y="306"/>
                  </a:lnTo>
                  <a:lnTo>
                    <a:pt x="3936" y="312"/>
                  </a:lnTo>
                  <a:lnTo>
                    <a:pt x="3936" y="318"/>
                  </a:lnTo>
                  <a:lnTo>
                    <a:pt x="3966" y="324"/>
                  </a:lnTo>
                  <a:lnTo>
                    <a:pt x="3972" y="324"/>
                  </a:lnTo>
                  <a:lnTo>
                    <a:pt x="3990" y="306"/>
                  </a:lnTo>
                  <a:lnTo>
                    <a:pt x="3990" y="300"/>
                  </a:lnTo>
                  <a:lnTo>
                    <a:pt x="3984" y="294"/>
                  </a:lnTo>
                  <a:lnTo>
                    <a:pt x="3972" y="294"/>
                  </a:lnTo>
                  <a:close/>
                  <a:moveTo>
                    <a:pt x="3738" y="336"/>
                  </a:moveTo>
                  <a:lnTo>
                    <a:pt x="3726" y="336"/>
                  </a:lnTo>
                  <a:lnTo>
                    <a:pt x="3720" y="330"/>
                  </a:lnTo>
                  <a:lnTo>
                    <a:pt x="3672" y="330"/>
                  </a:lnTo>
                  <a:lnTo>
                    <a:pt x="3636" y="336"/>
                  </a:lnTo>
                  <a:lnTo>
                    <a:pt x="3624" y="342"/>
                  </a:lnTo>
                  <a:lnTo>
                    <a:pt x="3642" y="360"/>
                  </a:lnTo>
                  <a:lnTo>
                    <a:pt x="3654" y="360"/>
                  </a:lnTo>
                  <a:lnTo>
                    <a:pt x="3660" y="378"/>
                  </a:lnTo>
                  <a:lnTo>
                    <a:pt x="3768" y="378"/>
                  </a:lnTo>
                  <a:lnTo>
                    <a:pt x="3768" y="390"/>
                  </a:lnTo>
                  <a:lnTo>
                    <a:pt x="3762" y="396"/>
                  </a:lnTo>
                  <a:lnTo>
                    <a:pt x="3762" y="408"/>
                  </a:lnTo>
                  <a:lnTo>
                    <a:pt x="3708" y="450"/>
                  </a:lnTo>
                  <a:lnTo>
                    <a:pt x="3732" y="456"/>
                  </a:lnTo>
                  <a:lnTo>
                    <a:pt x="3720" y="468"/>
                  </a:lnTo>
                  <a:lnTo>
                    <a:pt x="3714" y="468"/>
                  </a:lnTo>
                  <a:lnTo>
                    <a:pt x="3708" y="474"/>
                  </a:lnTo>
                  <a:lnTo>
                    <a:pt x="3708" y="480"/>
                  </a:lnTo>
                  <a:lnTo>
                    <a:pt x="3726" y="480"/>
                  </a:lnTo>
                  <a:lnTo>
                    <a:pt x="3738" y="474"/>
                  </a:lnTo>
                  <a:lnTo>
                    <a:pt x="3744" y="474"/>
                  </a:lnTo>
                  <a:lnTo>
                    <a:pt x="3756" y="468"/>
                  </a:lnTo>
                  <a:lnTo>
                    <a:pt x="3756" y="480"/>
                  </a:lnTo>
                  <a:lnTo>
                    <a:pt x="3792" y="480"/>
                  </a:lnTo>
                  <a:lnTo>
                    <a:pt x="3810" y="474"/>
                  </a:lnTo>
                  <a:lnTo>
                    <a:pt x="3822" y="468"/>
                  </a:lnTo>
                  <a:lnTo>
                    <a:pt x="3840" y="468"/>
                  </a:lnTo>
                  <a:lnTo>
                    <a:pt x="3846" y="462"/>
                  </a:lnTo>
                  <a:lnTo>
                    <a:pt x="3852" y="462"/>
                  </a:lnTo>
                  <a:lnTo>
                    <a:pt x="3858" y="486"/>
                  </a:lnTo>
                  <a:lnTo>
                    <a:pt x="3924" y="480"/>
                  </a:lnTo>
                  <a:lnTo>
                    <a:pt x="4002" y="498"/>
                  </a:lnTo>
                  <a:lnTo>
                    <a:pt x="4098" y="486"/>
                  </a:lnTo>
                  <a:lnTo>
                    <a:pt x="4128" y="468"/>
                  </a:lnTo>
                  <a:lnTo>
                    <a:pt x="4122" y="474"/>
                  </a:lnTo>
                  <a:lnTo>
                    <a:pt x="4122" y="486"/>
                  </a:lnTo>
                  <a:lnTo>
                    <a:pt x="4260" y="486"/>
                  </a:lnTo>
                  <a:lnTo>
                    <a:pt x="4272" y="468"/>
                  </a:lnTo>
                  <a:lnTo>
                    <a:pt x="4338" y="438"/>
                  </a:lnTo>
                  <a:lnTo>
                    <a:pt x="4320" y="432"/>
                  </a:lnTo>
                  <a:lnTo>
                    <a:pt x="4320" y="420"/>
                  </a:lnTo>
                  <a:lnTo>
                    <a:pt x="4314" y="420"/>
                  </a:lnTo>
                  <a:lnTo>
                    <a:pt x="4308" y="414"/>
                  </a:lnTo>
                  <a:lnTo>
                    <a:pt x="4290" y="414"/>
                  </a:lnTo>
                  <a:lnTo>
                    <a:pt x="4278" y="408"/>
                  </a:lnTo>
                  <a:lnTo>
                    <a:pt x="4260" y="408"/>
                  </a:lnTo>
                  <a:lnTo>
                    <a:pt x="4242" y="402"/>
                  </a:lnTo>
                  <a:lnTo>
                    <a:pt x="4206" y="402"/>
                  </a:lnTo>
                  <a:lnTo>
                    <a:pt x="4164" y="414"/>
                  </a:lnTo>
                  <a:lnTo>
                    <a:pt x="4116" y="420"/>
                  </a:lnTo>
                  <a:lnTo>
                    <a:pt x="4074" y="426"/>
                  </a:lnTo>
                  <a:lnTo>
                    <a:pt x="4038" y="438"/>
                  </a:lnTo>
                  <a:lnTo>
                    <a:pt x="4026" y="438"/>
                  </a:lnTo>
                  <a:lnTo>
                    <a:pt x="4014" y="432"/>
                  </a:lnTo>
                  <a:lnTo>
                    <a:pt x="4008" y="426"/>
                  </a:lnTo>
                  <a:lnTo>
                    <a:pt x="3996" y="420"/>
                  </a:lnTo>
                  <a:lnTo>
                    <a:pt x="3984" y="420"/>
                  </a:lnTo>
                  <a:lnTo>
                    <a:pt x="3972" y="426"/>
                  </a:lnTo>
                  <a:lnTo>
                    <a:pt x="3960" y="426"/>
                  </a:lnTo>
                  <a:lnTo>
                    <a:pt x="3948" y="432"/>
                  </a:lnTo>
                  <a:lnTo>
                    <a:pt x="3942" y="438"/>
                  </a:lnTo>
                  <a:lnTo>
                    <a:pt x="3936" y="438"/>
                  </a:lnTo>
                  <a:lnTo>
                    <a:pt x="3912" y="414"/>
                  </a:lnTo>
                  <a:lnTo>
                    <a:pt x="3894" y="426"/>
                  </a:lnTo>
                  <a:lnTo>
                    <a:pt x="3864" y="420"/>
                  </a:lnTo>
                  <a:lnTo>
                    <a:pt x="3894" y="408"/>
                  </a:lnTo>
                  <a:lnTo>
                    <a:pt x="3876" y="396"/>
                  </a:lnTo>
                  <a:lnTo>
                    <a:pt x="3822" y="408"/>
                  </a:lnTo>
                  <a:lnTo>
                    <a:pt x="3858" y="396"/>
                  </a:lnTo>
                  <a:lnTo>
                    <a:pt x="3858" y="390"/>
                  </a:lnTo>
                  <a:lnTo>
                    <a:pt x="3924" y="384"/>
                  </a:lnTo>
                  <a:lnTo>
                    <a:pt x="3888" y="372"/>
                  </a:lnTo>
                  <a:lnTo>
                    <a:pt x="3870" y="372"/>
                  </a:lnTo>
                  <a:lnTo>
                    <a:pt x="3876" y="366"/>
                  </a:lnTo>
                  <a:lnTo>
                    <a:pt x="3876" y="360"/>
                  </a:lnTo>
                  <a:lnTo>
                    <a:pt x="3870" y="354"/>
                  </a:lnTo>
                  <a:lnTo>
                    <a:pt x="3840" y="354"/>
                  </a:lnTo>
                  <a:lnTo>
                    <a:pt x="3822" y="360"/>
                  </a:lnTo>
                  <a:lnTo>
                    <a:pt x="3804" y="360"/>
                  </a:lnTo>
                  <a:lnTo>
                    <a:pt x="3786" y="366"/>
                  </a:lnTo>
                  <a:lnTo>
                    <a:pt x="3774" y="354"/>
                  </a:lnTo>
                  <a:lnTo>
                    <a:pt x="3762" y="348"/>
                  </a:lnTo>
                  <a:lnTo>
                    <a:pt x="3756" y="342"/>
                  </a:lnTo>
                  <a:lnTo>
                    <a:pt x="3744" y="336"/>
                  </a:lnTo>
                  <a:lnTo>
                    <a:pt x="3738" y="336"/>
                  </a:lnTo>
                  <a:close/>
                  <a:moveTo>
                    <a:pt x="3264" y="420"/>
                  </a:moveTo>
                  <a:lnTo>
                    <a:pt x="3282" y="420"/>
                  </a:lnTo>
                  <a:lnTo>
                    <a:pt x="3300" y="426"/>
                  </a:lnTo>
                  <a:lnTo>
                    <a:pt x="3318" y="426"/>
                  </a:lnTo>
                  <a:lnTo>
                    <a:pt x="3330" y="432"/>
                  </a:lnTo>
                  <a:lnTo>
                    <a:pt x="3342" y="432"/>
                  </a:lnTo>
                  <a:lnTo>
                    <a:pt x="3330" y="444"/>
                  </a:lnTo>
                  <a:lnTo>
                    <a:pt x="3324" y="444"/>
                  </a:lnTo>
                  <a:lnTo>
                    <a:pt x="3324" y="456"/>
                  </a:lnTo>
                  <a:lnTo>
                    <a:pt x="3438" y="456"/>
                  </a:lnTo>
                  <a:lnTo>
                    <a:pt x="3462" y="444"/>
                  </a:lnTo>
                  <a:lnTo>
                    <a:pt x="3462" y="432"/>
                  </a:lnTo>
                  <a:lnTo>
                    <a:pt x="3468" y="426"/>
                  </a:lnTo>
                  <a:lnTo>
                    <a:pt x="3480" y="426"/>
                  </a:lnTo>
                  <a:lnTo>
                    <a:pt x="3492" y="420"/>
                  </a:lnTo>
                  <a:lnTo>
                    <a:pt x="3504" y="420"/>
                  </a:lnTo>
                  <a:lnTo>
                    <a:pt x="3510" y="414"/>
                  </a:lnTo>
                  <a:lnTo>
                    <a:pt x="3510" y="408"/>
                  </a:lnTo>
                  <a:lnTo>
                    <a:pt x="3522" y="396"/>
                  </a:lnTo>
                  <a:lnTo>
                    <a:pt x="3534" y="390"/>
                  </a:lnTo>
                  <a:lnTo>
                    <a:pt x="3540" y="384"/>
                  </a:lnTo>
                  <a:lnTo>
                    <a:pt x="3552" y="378"/>
                  </a:lnTo>
                  <a:lnTo>
                    <a:pt x="3552" y="372"/>
                  </a:lnTo>
                  <a:lnTo>
                    <a:pt x="3546" y="366"/>
                  </a:lnTo>
                  <a:lnTo>
                    <a:pt x="3534" y="360"/>
                  </a:lnTo>
                  <a:lnTo>
                    <a:pt x="3510" y="360"/>
                  </a:lnTo>
                  <a:lnTo>
                    <a:pt x="3504" y="366"/>
                  </a:lnTo>
                  <a:lnTo>
                    <a:pt x="3492" y="366"/>
                  </a:lnTo>
                  <a:lnTo>
                    <a:pt x="3486" y="360"/>
                  </a:lnTo>
                  <a:lnTo>
                    <a:pt x="3474" y="360"/>
                  </a:lnTo>
                  <a:lnTo>
                    <a:pt x="3462" y="354"/>
                  </a:lnTo>
                  <a:lnTo>
                    <a:pt x="3450" y="354"/>
                  </a:lnTo>
                  <a:lnTo>
                    <a:pt x="3432" y="348"/>
                  </a:lnTo>
                  <a:lnTo>
                    <a:pt x="3426" y="354"/>
                  </a:lnTo>
                  <a:lnTo>
                    <a:pt x="3420" y="354"/>
                  </a:lnTo>
                  <a:lnTo>
                    <a:pt x="3414" y="366"/>
                  </a:lnTo>
                  <a:lnTo>
                    <a:pt x="3414" y="396"/>
                  </a:lnTo>
                  <a:lnTo>
                    <a:pt x="3396" y="378"/>
                  </a:lnTo>
                  <a:lnTo>
                    <a:pt x="3384" y="372"/>
                  </a:lnTo>
                  <a:lnTo>
                    <a:pt x="3366" y="372"/>
                  </a:lnTo>
                  <a:lnTo>
                    <a:pt x="3354" y="384"/>
                  </a:lnTo>
                  <a:lnTo>
                    <a:pt x="3348" y="396"/>
                  </a:lnTo>
                  <a:lnTo>
                    <a:pt x="3330" y="414"/>
                  </a:lnTo>
                  <a:lnTo>
                    <a:pt x="3324" y="414"/>
                  </a:lnTo>
                  <a:lnTo>
                    <a:pt x="3300" y="366"/>
                  </a:lnTo>
                  <a:lnTo>
                    <a:pt x="3288" y="360"/>
                  </a:lnTo>
                  <a:lnTo>
                    <a:pt x="3258" y="360"/>
                  </a:lnTo>
                  <a:lnTo>
                    <a:pt x="3246" y="366"/>
                  </a:lnTo>
                  <a:lnTo>
                    <a:pt x="3240" y="372"/>
                  </a:lnTo>
                  <a:lnTo>
                    <a:pt x="3240" y="396"/>
                  </a:lnTo>
                  <a:lnTo>
                    <a:pt x="3246" y="408"/>
                  </a:lnTo>
                  <a:lnTo>
                    <a:pt x="3258" y="414"/>
                  </a:lnTo>
                  <a:lnTo>
                    <a:pt x="3264" y="420"/>
                  </a:lnTo>
                  <a:close/>
                  <a:moveTo>
                    <a:pt x="3720" y="288"/>
                  </a:moveTo>
                  <a:lnTo>
                    <a:pt x="3726" y="288"/>
                  </a:lnTo>
                  <a:lnTo>
                    <a:pt x="3732" y="294"/>
                  </a:lnTo>
                  <a:lnTo>
                    <a:pt x="3738" y="306"/>
                  </a:lnTo>
                  <a:lnTo>
                    <a:pt x="3768" y="306"/>
                  </a:lnTo>
                  <a:lnTo>
                    <a:pt x="3780" y="300"/>
                  </a:lnTo>
                  <a:lnTo>
                    <a:pt x="3834" y="300"/>
                  </a:lnTo>
                  <a:lnTo>
                    <a:pt x="3834" y="294"/>
                  </a:lnTo>
                  <a:lnTo>
                    <a:pt x="3828" y="294"/>
                  </a:lnTo>
                  <a:lnTo>
                    <a:pt x="3822" y="288"/>
                  </a:lnTo>
                  <a:lnTo>
                    <a:pt x="3810" y="288"/>
                  </a:lnTo>
                  <a:lnTo>
                    <a:pt x="3804" y="282"/>
                  </a:lnTo>
                  <a:lnTo>
                    <a:pt x="3792" y="282"/>
                  </a:lnTo>
                  <a:lnTo>
                    <a:pt x="3804" y="270"/>
                  </a:lnTo>
                  <a:lnTo>
                    <a:pt x="3816" y="264"/>
                  </a:lnTo>
                  <a:lnTo>
                    <a:pt x="3822" y="264"/>
                  </a:lnTo>
                  <a:lnTo>
                    <a:pt x="3828" y="258"/>
                  </a:lnTo>
                  <a:lnTo>
                    <a:pt x="3822" y="258"/>
                  </a:lnTo>
                  <a:lnTo>
                    <a:pt x="3810" y="252"/>
                  </a:lnTo>
                  <a:lnTo>
                    <a:pt x="3738" y="228"/>
                  </a:lnTo>
                  <a:lnTo>
                    <a:pt x="3732" y="228"/>
                  </a:lnTo>
                  <a:lnTo>
                    <a:pt x="3726" y="234"/>
                  </a:lnTo>
                  <a:lnTo>
                    <a:pt x="3714" y="240"/>
                  </a:lnTo>
                  <a:lnTo>
                    <a:pt x="3702" y="240"/>
                  </a:lnTo>
                  <a:lnTo>
                    <a:pt x="3690" y="252"/>
                  </a:lnTo>
                  <a:lnTo>
                    <a:pt x="3690" y="258"/>
                  </a:lnTo>
                  <a:lnTo>
                    <a:pt x="3696" y="264"/>
                  </a:lnTo>
                  <a:lnTo>
                    <a:pt x="3702" y="276"/>
                  </a:lnTo>
                  <a:lnTo>
                    <a:pt x="3714" y="282"/>
                  </a:lnTo>
                  <a:lnTo>
                    <a:pt x="3720" y="288"/>
                  </a:lnTo>
                  <a:close/>
                  <a:moveTo>
                    <a:pt x="3288" y="504"/>
                  </a:moveTo>
                  <a:lnTo>
                    <a:pt x="3270" y="504"/>
                  </a:lnTo>
                  <a:lnTo>
                    <a:pt x="3234" y="510"/>
                  </a:lnTo>
                  <a:lnTo>
                    <a:pt x="3186" y="516"/>
                  </a:lnTo>
                  <a:lnTo>
                    <a:pt x="3144" y="528"/>
                  </a:lnTo>
                  <a:lnTo>
                    <a:pt x="3132" y="534"/>
                  </a:lnTo>
                  <a:lnTo>
                    <a:pt x="3126" y="540"/>
                  </a:lnTo>
                  <a:lnTo>
                    <a:pt x="3132" y="540"/>
                  </a:lnTo>
                  <a:lnTo>
                    <a:pt x="3150" y="558"/>
                  </a:lnTo>
                  <a:lnTo>
                    <a:pt x="3156" y="570"/>
                  </a:lnTo>
                  <a:lnTo>
                    <a:pt x="3156" y="576"/>
                  </a:lnTo>
                  <a:lnTo>
                    <a:pt x="3138" y="582"/>
                  </a:lnTo>
                  <a:lnTo>
                    <a:pt x="3120" y="570"/>
                  </a:lnTo>
                  <a:lnTo>
                    <a:pt x="3090" y="564"/>
                  </a:lnTo>
                  <a:lnTo>
                    <a:pt x="3048" y="570"/>
                  </a:lnTo>
                  <a:lnTo>
                    <a:pt x="3066" y="606"/>
                  </a:lnTo>
                  <a:lnTo>
                    <a:pt x="3072" y="612"/>
                  </a:lnTo>
                  <a:lnTo>
                    <a:pt x="3084" y="618"/>
                  </a:lnTo>
                  <a:lnTo>
                    <a:pt x="3102" y="624"/>
                  </a:lnTo>
                  <a:lnTo>
                    <a:pt x="3114" y="630"/>
                  </a:lnTo>
                  <a:lnTo>
                    <a:pt x="3120" y="642"/>
                  </a:lnTo>
                  <a:lnTo>
                    <a:pt x="3120" y="654"/>
                  </a:lnTo>
                  <a:lnTo>
                    <a:pt x="3126" y="666"/>
                  </a:lnTo>
                  <a:lnTo>
                    <a:pt x="3126" y="678"/>
                  </a:lnTo>
                  <a:lnTo>
                    <a:pt x="3144" y="678"/>
                  </a:lnTo>
                  <a:lnTo>
                    <a:pt x="3228" y="666"/>
                  </a:lnTo>
                  <a:lnTo>
                    <a:pt x="3264" y="660"/>
                  </a:lnTo>
                  <a:lnTo>
                    <a:pt x="3276" y="654"/>
                  </a:lnTo>
                  <a:lnTo>
                    <a:pt x="3282" y="642"/>
                  </a:lnTo>
                  <a:lnTo>
                    <a:pt x="3288" y="624"/>
                  </a:lnTo>
                  <a:lnTo>
                    <a:pt x="3300" y="600"/>
                  </a:lnTo>
                  <a:lnTo>
                    <a:pt x="3300" y="588"/>
                  </a:lnTo>
                  <a:lnTo>
                    <a:pt x="3228" y="576"/>
                  </a:lnTo>
                  <a:lnTo>
                    <a:pt x="3240" y="570"/>
                  </a:lnTo>
                  <a:lnTo>
                    <a:pt x="3348" y="534"/>
                  </a:lnTo>
                  <a:lnTo>
                    <a:pt x="3360" y="528"/>
                  </a:lnTo>
                  <a:lnTo>
                    <a:pt x="3354" y="522"/>
                  </a:lnTo>
                  <a:lnTo>
                    <a:pt x="3342" y="516"/>
                  </a:lnTo>
                  <a:lnTo>
                    <a:pt x="3324" y="510"/>
                  </a:lnTo>
                  <a:lnTo>
                    <a:pt x="3312" y="510"/>
                  </a:lnTo>
                  <a:lnTo>
                    <a:pt x="3300" y="504"/>
                  </a:lnTo>
                  <a:lnTo>
                    <a:pt x="3288" y="504"/>
                  </a:lnTo>
                  <a:close/>
                  <a:moveTo>
                    <a:pt x="2898" y="744"/>
                  </a:moveTo>
                  <a:lnTo>
                    <a:pt x="2880" y="738"/>
                  </a:lnTo>
                  <a:lnTo>
                    <a:pt x="2796" y="738"/>
                  </a:lnTo>
                  <a:lnTo>
                    <a:pt x="2874" y="696"/>
                  </a:lnTo>
                  <a:lnTo>
                    <a:pt x="2880" y="684"/>
                  </a:lnTo>
                  <a:lnTo>
                    <a:pt x="2886" y="654"/>
                  </a:lnTo>
                  <a:lnTo>
                    <a:pt x="2898" y="624"/>
                  </a:lnTo>
                  <a:lnTo>
                    <a:pt x="2898" y="588"/>
                  </a:lnTo>
                  <a:lnTo>
                    <a:pt x="2880" y="570"/>
                  </a:lnTo>
                  <a:lnTo>
                    <a:pt x="2850" y="570"/>
                  </a:lnTo>
                  <a:lnTo>
                    <a:pt x="2814" y="576"/>
                  </a:lnTo>
                  <a:lnTo>
                    <a:pt x="2796" y="582"/>
                  </a:lnTo>
                  <a:lnTo>
                    <a:pt x="2784" y="588"/>
                  </a:lnTo>
                  <a:lnTo>
                    <a:pt x="2784" y="594"/>
                  </a:lnTo>
                  <a:lnTo>
                    <a:pt x="2766" y="612"/>
                  </a:lnTo>
                  <a:lnTo>
                    <a:pt x="2760" y="630"/>
                  </a:lnTo>
                  <a:lnTo>
                    <a:pt x="2736" y="654"/>
                  </a:lnTo>
                  <a:lnTo>
                    <a:pt x="2718" y="666"/>
                  </a:lnTo>
                  <a:lnTo>
                    <a:pt x="2706" y="672"/>
                  </a:lnTo>
                  <a:lnTo>
                    <a:pt x="2700" y="672"/>
                  </a:lnTo>
                  <a:lnTo>
                    <a:pt x="2694" y="666"/>
                  </a:lnTo>
                  <a:lnTo>
                    <a:pt x="2694" y="660"/>
                  </a:lnTo>
                  <a:lnTo>
                    <a:pt x="2700" y="654"/>
                  </a:lnTo>
                  <a:lnTo>
                    <a:pt x="2706" y="642"/>
                  </a:lnTo>
                  <a:lnTo>
                    <a:pt x="2712" y="636"/>
                  </a:lnTo>
                  <a:lnTo>
                    <a:pt x="2718" y="624"/>
                  </a:lnTo>
                  <a:lnTo>
                    <a:pt x="2718" y="612"/>
                  </a:lnTo>
                  <a:lnTo>
                    <a:pt x="2724" y="606"/>
                  </a:lnTo>
                  <a:lnTo>
                    <a:pt x="2724" y="600"/>
                  </a:lnTo>
                  <a:lnTo>
                    <a:pt x="2706" y="594"/>
                  </a:lnTo>
                  <a:lnTo>
                    <a:pt x="2676" y="588"/>
                  </a:lnTo>
                  <a:lnTo>
                    <a:pt x="2628" y="588"/>
                  </a:lnTo>
                  <a:lnTo>
                    <a:pt x="2622" y="606"/>
                  </a:lnTo>
                  <a:lnTo>
                    <a:pt x="2610" y="612"/>
                  </a:lnTo>
                  <a:lnTo>
                    <a:pt x="2586" y="618"/>
                  </a:lnTo>
                  <a:lnTo>
                    <a:pt x="2550" y="624"/>
                  </a:lnTo>
                  <a:lnTo>
                    <a:pt x="2508" y="630"/>
                  </a:lnTo>
                  <a:lnTo>
                    <a:pt x="2490" y="630"/>
                  </a:lnTo>
                  <a:lnTo>
                    <a:pt x="2496" y="624"/>
                  </a:lnTo>
                  <a:lnTo>
                    <a:pt x="2508" y="618"/>
                  </a:lnTo>
                  <a:lnTo>
                    <a:pt x="2520" y="618"/>
                  </a:lnTo>
                  <a:lnTo>
                    <a:pt x="2538" y="612"/>
                  </a:lnTo>
                  <a:lnTo>
                    <a:pt x="2550" y="606"/>
                  </a:lnTo>
                  <a:lnTo>
                    <a:pt x="2586" y="594"/>
                  </a:lnTo>
                  <a:lnTo>
                    <a:pt x="2598" y="588"/>
                  </a:lnTo>
                  <a:lnTo>
                    <a:pt x="2604" y="588"/>
                  </a:lnTo>
                  <a:lnTo>
                    <a:pt x="2604" y="582"/>
                  </a:lnTo>
                  <a:lnTo>
                    <a:pt x="2592" y="576"/>
                  </a:lnTo>
                  <a:lnTo>
                    <a:pt x="2556" y="576"/>
                  </a:lnTo>
                  <a:lnTo>
                    <a:pt x="2496" y="594"/>
                  </a:lnTo>
                  <a:lnTo>
                    <a:pt x="2460" y="600"/>
                  </a:lnTo>
                  <a:lnTo>
                    <a:pt x="2466" y="594"/>
                  </a:lnTo>
                  <a:lnTo>
                    <a:pt x="2478" y="588"/>
                  </a:lnTo>
                  <a:lnTo>
                    <a:pt x="2490" y="576"/>
                  </a:lnTo>
                  <a:lnTo>
                    <a:pt x="2502" y="570"/>
                  </a:lnTo>
                  <a:lnTo>
                    <a:pt x="2514" y="558"/>
                  </a:lnTo>
                  <a:lnTo>
                    <a:pt x="2508" y="558"/>
                  </a:lnTo>
                  <a:lnTo>
                    <a:pt x="2508" y="552"/>
                  </a:lnTo>
                  <a:lnTo>
                    <a:pt x="2496" y="552"/>
                  </a:lnTo>
                  <a:lnTo>
                    <a:pt x="2346" y="600"/>
                  </a:lnTo>
                  <a:lnTo>
                    <a:pt x="2328" y="600"/>
                  </a:lnTo>
                  <a:lnTo>
                    <a:pt x="2244" y="624"/>
                  </a:lnTo>
                  <a:lnTo>
                    <a:pt x="2250" y="642"/>
                  </a:lnTo>
                  <a:lnTo>
                    <a:pt x="2190" y="660"/>
                  </a:lnTo>
                  <a:lnTo>
                    <a:pt x="2172" y="678"/>
                  </a:lnTo>
                  <a:lnTo>
                    <a:pt x="2202" y="690"/>
                  </a:lnTo>
                  <a:lnTo>
                    <a:pt x="2208" y="684"/>
                  </a:lnTo>
                  <a:lnTo>
                    <a:pt x="2220" y="678"/>
                  </a:lnTo>
                  <a:lnTo>
                    <a:pt x="2238" y="678"/>
                  </a:lnTo>
                  <a:lnTo>
                    <a:pt x="2244" y="684"/>
                  </a:lnTo>
                  <a:lnTo>
                    <a:pt x="2244" y="690"/>
                  </a:lnTo>
                  <a:lnTo>
                    <a:pt x="2238" y="696"/>
                  </a:lnTo>
                  <a:lnTo>
                    <a:pt x="2226" y="696"/>
                  </a:lnTo>
                  <a:lnTo>
                    <a:pt x="2208" y="702"/>
                  </a:lnTo>
                  <a:lnTo>
                    <a:pt x="2196" y="702"/>
                  </a:lnTo>
                  <a:lnTo>
                    <a:pt x="2160" y="720"/>
                  </a:lnTo>
                  <a:lnTo>
                    <a:pt x="2166" y="732"/>
                  </a:lnTo>
                  <a:lnTo>
                    <a:pt x="2196" y="732"/>
                  </a:lnTo>
                  <a:lnTo>
                    <a:pt x="2238" y="738"/>
                  </a:lnTo>
                  <a:lnTo>
                    <a:pt x="2322" y="738"/>
                  </a:lnTo>
                  <a:lnTo>
                    <a:pt x="2352" y="744"/>
                  </a:lnTo>
                  <a:lnTo>
                    <a:pt x="2352" y="750"/>
                  </a:lnTo>
                  <a:lnTo>
                    <a:pt x="2322" y="762"/>
                  </a:lnTo>
                  <a:lnTo>
                    <a:pt x="2280" y="762"/>
                  </a:lnTo>
                  <a:lnTo>
                    <a:pt x="2172" y="774"/>
                  </a:lnTo>
                  <a:lnTo>
                    <a:pt x="2136" y="774"/>
                  </a:lnTo>
                  <a:lnTo>
                    <a:pt x="2112" y="786"/>
                  </a:lnTo>
                  <a:lnTo>
                    <a:pt x="2106" y="792"/>
                  </a:lnTo>
                  <a:lnTo>
                    <a:pt x="2118" y="804"/>
                  </a:lnTo>
                  <a:lnTo>
                    <a:pt x="2130" y="810"/>
                  </a:lnTo>
                  <a:lnTo>
                    <a:pt x="2148" y="810"/>
                  </a:lnTo>
                  <a:lnTo>
                    <a:pt x="2160" y="816"/>
                  </a:lnTo>
                  <a:lnTo>
                    <a:pt x="2178" y="822"/>
                  </a:lnTo>
                  <a:lnTo>
                    <a:pt x="2190" y="828"/>
                  </a:lnTo>
                  <a:lnTo>
                    <a:pt x="2190" y="834"/>
                  </a:lnTo>
                  <a:lnTo>
                    <a:pt x="2184" y="840"/>
                  </a:lnTo>
                  <a:lnTo>
                    <a:pt x="2172" y="840"/>
                  </a:lnTo>
                  <a:lnTo>
                    <a:pt x="2154" y="858"/>
                  </a:lnTo>
                  <a:lnTo>
                    <a:pt x="2166" y="870"/>
                  </a:lnTo>
                  <a:lnTo>
                    <a:pt x="2322" y="870"/>
                  </a:lnTo>
                  <a:lnTo>
                    <a:pt x="2370" y="864"/>
                  </a:lnTo>
                  <a:lnTo>
                    <a:pt x="2436" y="858"/>
                  </a:lnTo>
                  <a:lnTo>
                    <a:pt x="2508" y="846"/>
                  </a:lnTo>
                  <a:lnTo>
                    <a:pt x="2574" y="840"/>
                  </a:lnTo>
                  <a:lnTo>
                    <a:pt x="2616" y="828"/>
                  </a:lnTo>
                  <a:lnTo>
                    <a:pt x="2652" y="828"/>
                  </a:lnTo>
                  <a:lnTo>
                    <a:pt x="2736" y="864"/>
                  </a:lnTo>
                  <a:lnTo>
                    <a:pt x="2778" y="876"/>
                  </a:lnTo>
                  <a:lnTo>
                    <a:pt x="2796" y="876"/>
                  </a:lnTo>
                  <a:lnTo>
                    <a:pt x="2814" y="870"/>
                  </a:lnTo>
                  <a:lnTo>
                    <a:pt x="2832" y="852"/>
                  </a:lnTo>
                  <a:lnTo>
                    <a:pt x="2838" y="840"/>
                  </a:lnTo>
                  <a:lnTo>
                    <a:pt x="2844" y="834"/>
                  </a:lnTo>
                  <a:lnTo>
                    <a:pt x="2844" y="822"/>
                  </a:lnTo>
                  <a:lnTo>
                    <a:pt x="2766" y="822"/>
                  </a:lnTo>
                  <a:lnTo>
                    <a:pt x="2802" y="798"/>
                  </a:lnTo>
                  <a:lnTo>
                    <a:pt x="2850" y="798"/>
                  </a:lnTo>
                  <a:lnTo>
                    <a:pt x="2898" y="792"/>
                  </a:lnTo>
                  <a:lnTo>
                    <a:pt x="2910" y="786"/>
                  </a:lnTo>
                  <a:lnTo>
                    <a:pt x="2916" y="786"/>
                  </a:lnTo>
                  <a:lnTo>
                    <a:pt x="2922" y="780"/>
                  </a:lnTo>
                  <a:lnTo>
                    <a:pt x="2916" y="768"/>
                  </a:lnTo>
                  <a:lnTo>
                    <a:pt x="2898" y="750"/>
                  </a:lnTo>
                  <a:lnTo>
                    <a:pt x="2898" y="744"/>
                  </a:lnTo>
                  <a:close/>
                  <a:moveTo>
                    <a:pt x="2868" y="882"/>
                  </a:moveTo>
                  <a:lnTo>
                    <a:pt x="2886" y="882"/>
                  </a:lnTo>
                  <a:lnTo>
                    <a:pt x="2904" y="876"/>
                  </a:lnTo>
                  <a:lnTo>
                    <a:pt x="2910" y="870"/>
                  </a:lnTo>
                  <a:lnTo>
                    <a:pt x="2910" y="864"/>
                  </a:lnTo>
                  <a:lnTo>
                    <a:pt x="2904" y="858"/>
                  </a:lnTo>
                  <a:lnTo>
                    <a:pt x="2880" y="858"/>
                  </a:lnTo>
                  <a:lnTo>
                    <a:pt x="2868" y="870"/>
                  </a:lnTo>
                  <a:lnTo>
                    <a:pt x="2868" y="882"/>
                  </a:lnTo>
                  <a:close/>
                  <a:moveTo>
                    <a:pt x="3276" y="330"/>
                  </a:moveTo>
                  <a:lnTo>
                    <a:pt x="3288" y="330"/>
                  </a:lnTo>
                  <a:lnTo>
                    <a:pt x="3294" y="324"/>
                  </a:lnTo>
                  <a:lnTo>
                    <a:pt x="3300" y="312"/>
                  </a:lnTo>
                  <a:lnTo>
                    <a:pt x="3300" y="306"/>
                  </a:lnTo>
                  <a:lnTo>
                    <a:pt x="3294" y="294"/>
                  </a:lnTo>
                  <a:lnTo>
                    <a:pt x="3288" y="288"/>
                  </a:lnTo>
                  <a:lnTo>
                    <a:pt x="3276" y="288"/>
                  </a:lnTo>
                  <a:lnTo>
                    <a:pt x="3270" y="300"/>
                  </a:lnTo>
                  <a:lnTo>
                    <a:pt x="3264" y="306"/>
                  </a:lnTo>
                  <a:lnTo>
                    <a:pt x="3264" y="324"/>
                  </a:lnTo>
                  <a:lnTo>
                    <a:pt x="3270" y="330"/>
                  </a:lnTo>
                  <a:lnTo>
                    <a:pt x="3276" y="330"/>
                  </a:lnTo>
                  <a:close/>
                  <a:moveTo>
                    <a:pt x="3462" y="228"/>
                  </a:moveTo>
                  <a:lnTo>
                    <a:pt x="3450" y="240"/>
                  </a:lnTo>
                  <a:lnTo>
                    <a:pt x="3450" y="252"/>
                  </a:lnTo>
                  <a:lnTo>
                    <a:pt x="3456" y="258"/>
                  </a:lnTo>
                  <a:lnTo>
                    <a:pt x="3528" y="258"/>
                  </a:lnTo>
                  <a:lnTo>
                    <a:pt x="3546" y="276"/>
                  </a:lnTo>
                  <a:lnTo>
                    <a:pt x="3558" y="282"/>
                  </a:lnTo>
                  <a:lnTo>
                    <a:pt x="3588" y="282"/>
                  </a:lnTo>
                  <a:lnTo>
                    <a:pt x="3612" y="270"/>
                  </a:lnTo>
                  <a:lnTo>
                    <a:pt x="3618" y="264"/>
                  </a:lnTo>
                  <a:lnTo>
                    <a:pt x="3606" y="252"/>
                  </a:lnTo>
                  <a:lnTo>
                    <a:pt x="3636" y="246"/>
                  </a:lnTo>
                  <a:lnTo>
                    <a:pt x="3594" y="210"/>
                  </a:lnTo>
                  <a:lnTo>
                    <a:pt x="3552" y="216"/>
                  </a:lnTo>
                  <a:lnTo>
                    <a:pt x="3534" y="198"/>
                  </a:lnTo>
                  <a:lnTo>
                    <a:pt x="3450" y="198"/>
                  </a:lnTo>
                  <a:lnTo>
                    <a:pt x="3438" y="204"/>
                  </a:lnTo>
                  <a:lnTo>
                    <a:pt x="3426" y="204"/>
                  </a:lnTo>
                  <a:lnTo>
                    <a:pt x="3420" y="210"/>
                  </a:lnTo>
                  <a:lnTo>
                    <a:pt x="3438" y="228"/>
                  </a:lnTo>
                  <a:lnTo>
                    <a:pt x="3462" y="228"/>
                  </a:lnTo>
                  <a:close/>
                  <a:moveTo>
                    <a:pt x="3432" y="1302"/>
                  </a:moveTo>
                  <a:lnTo>
                    <a:pt x="3408" y="1326"/>
                  </a:lnTo>
                  <a:lnTo>
                    <a:pt x="3408" y="1344"/>
                  </a:lnTo>
                  <a:lnTo>
                    <a:pt x="3438" y="1344"/>
                  </a:lnTo>
                  <a:lnTo>
                    <a:pt x="3462" y="1332"/>
                  </a:lnTo>
                  <a:lnTo>
                    <a:pt x="3468" y="1332"/>
                  </a:lnTo>
                  <a:lnTo>
                    <a:pt x="3480" y="1326"/>
                  </a:lnTo>
                  <a:lnTo>
                    <a:pt x="3486" y="1326"/>
                  </a:lnTo>
                  <a:lnTo>
                    <a:pt x="3504" y="1308"/>
                  </a:lnTo>
                  <a:lnTo>
                    <a:pt x="3516" y="1290"/>
                  </a:lnTo>
                  <a:lnTo>
                    <a:pt x="3516" y="1266"/>
                  </a:lnTo>
                  <a:lnTo>
                    <a:pt x="3510" y="1260"/>
                  </a:lnTo>
                  <a:lnTo>
                    <a:pt x="3498" y="1260"/>
                  </a:lnTo>
                  <a:lnTo>
                    <a:pt x="3480" y="1266"/>
                  </a:lnTo>
                  <a:lnTo>
                    <a:pt x="3432" y="1302"/>
                  </a:lnTo>
                  <a:close/>
                  <a:moveTo>
                    <a:pt x="4416" y="1392"/>
                  </a:moveTo>
                  <a:lnTo>
                    <a:pt x="4428" y="1380"/>
                  </a:lnTo>
                  <a:lnTo>
                    <a:pt x="4428" y="1374"/>
                  </a:lnTo>
                  <a:lnTo>
                    <a:pt x="4386" y="1374"/>
                  </a:lnTo>
                  <a:lnTo>
                    <a:pt x="4386" y="1380"/>
                  </a:lnTo>
                  <a:lnTo>
                    <a:pt x="4404" y="1398"/>
                  </a:lnTo>
                  <a:lnTo>
                    <a:pt x="4416" y="1392"/>
                  </a:lnTo>
                  <a:close/>
                  <a:moveTo>
                    <a:pt x="3120" y="2034"/>
                  </a:moveTo>
                  <a:lnTo>
                    <a:pt x="3132" y="2034"/>
                  </a:lnTo>
                  <a:lnTo>
                    <a:pt x="3138" y="2028"/>
                  </a:lnTo>
                  <a:lnTo>
                    <a:pt x="3132" y="2022"/>
                  </a:lnTo>
                  <a:lnTo>
                    <a:pt x="3120" y="2016"/>
                  </a:lnTo>
                  <a:lnTo>
                    <a:pt x="3114" y="2010"/>
                  </a:lnTo>
                  <a:lnTo>
                    <a:pt x="3108" y="2010"/>
                  </a:lnTo>
                  <a:lnTo>
                    <a:pt x="3090" y="2016"/>
                  </a:lnTo>
                  <a:lnTo>
                    <a:pt x="3078" y="2022"/>
                  </a:lnTo>
                  <a:lnTo>
                    <a:pt x="3072" y="2022"/>
                  </a:lnTo>
                  <a:lnTo>
                    <a:pt x="3072" y="2028"/>
                  </a:lnTo>
                  <a:lnTo>
                    <a:pt x="3078" y="2034"/>
                  </a:lnTo>
                  <a:lnTo>
                    <a:pt x="3120" y="2034"/>
                  </a:lnTo>
                  <a:close/>
                  <a:moveTo>
                    <a:pt x="4758" y="996"/>
                  </a:moveTo>
                  <a:lnTo>
                    <a:pt x="4746" y="996"/>
                  </a:lnTo>
                  <a:lnTo>
                    <a:pt x="4734" y="984"/>
                  </a:lnTo>
                  <a:lnTo>
                    <a:pt x="4704" y="1008"/>
                  </a:lnTo>
                  <a:lnTo>
                    <a:pt x="4704" y="978"/>
                  </a:lnTo>
                  <a:lnTo>
                    <a:pt x="4662" y="978"/>
                  </a:lnTo>
                  <a:lnTo>
                    <a:pt x="4668" y="978"/>
                  </a:lnTo>
                  <a:lnTo>
                    <a:pt x="4674" y="972"/>
                  </a:lnTo>
                  <a:lnTo>
                    <a:pt x="4686" y="972"/>
                  </a:lnTo>
                  <a:lnTo>
                    <a:pt x="4698" y="966"/>
                  </a:lnTo>
                  <a:lnTo>
                    <a:pt x="4704" y="954"/>
                  </a:lnTo>
                  <a:lnTo>
                    <a:pt x="4704" y="948"/>
                  </a:lnTo>
                  <a:lnTo>
                    <a:pt x="4698" y="942"/>
                  </a:lnTo>
                  <a:lnTo>
                    <a:pt x="4680" y="942"/>
                  </a:lnTo>
                  <a:lnTo>
                    <a:pt x="4668" y="936"/>
                  </a:lnTo>
                  <a:lnTo>
                    <a:pt x="4650" y="936"/>
                  </a:lnTo>
                  <a:lnTo>
                    <a:pt x="4632" y="930"/>
                  </a:lnTo>
                  <a:lnTo>
                    <a:pt x="4620" y="930"/>
                  </a:lnTo>
                  <a:lnTo>
                    <a:pt x="4614" y="918"/>
                  </a:lnTo>
                  <a:lnTo>
                    <a:pt x="4566" y="912"/>
                  </a:lnTo>
                  <a:lnTo>
                    <a:pt x="4500" y="870"/>
                  </a:lnTo>
                  <a:lnTo>
                    <a:pt x="4566" y="864"/>
                  </a:lnTo>
                  <a:lnTo>
                    <a:pt x="4536" y="840"/>
                  </a:lnTo>
                  <a:lnTo>
                    <a:pt x="4542" y="840"/>
                  </a:lnTo>
                  <a:lnTo>
                    <a:pt x="4548" y="834"/>
                  </a:lnTo>
                  <a:lnTo>
                    <a:pt x="4584" y="834"/>
                  </a:lnTo>
                  <a:lnTo>
                    <a:pt x="4596" y="840"/>
                  </a:lnTo>
                  <a:lnTo>
                    <a:pt x="4638" y="840"/>
                  </a:lnTo>
                  <a:lnTo>
                    <a:pt x="4638" y="834"/>
                  </a:lnTo>
                  <a:lnTo>
                    <a:pt x="4632" y="828"/>
                  </a:lnTo>
                  <a:lnTo>
                    <a:pt x="4614" y="822"/>
                  </a:lnTo>
                  <a:lnTo>
                    <a:pt x="4596" y="822"/>
                  </a:lnTo>
                  <a:lnTo>
                    <a:pt x="4578" y="816"/>
                  </a:lnTo>
                  <a:lnTo>
                    <a:pt x="4518" y="816"/>
                  </a:lnTo>
                  <a:lnTo>
                    <a:pt x="4536" y="816"/>
                  </a:lnTo>
                  <a:lnTo>
                    <a:pt x="4620" y="804"/>
                  </a:lnTo>
                  <a:lnTo>
                    <a:pt x="4638" y="798"/>
                  </a:lnTo>
                  <a:lnTo>
                    <a:pt x="4638" y="792"/>
                  </a:lnTo>
                  <a:lnTo>
                    <a:pt x="4632" y="792"/>
                  </a:lnTo>
                  <a:lnTo>
                    <a:pt x="4626" y="786"/>
                  </a:lnTo>
                  <a:lnTo>
                    <a:pt x="4608" y="786"/>
                  </a:lnTo>
                  <a:lnTo>
                    <a:pt x="4500" y="798"/>
                  </a:lnTo>
                  <a:lnTo>
                    <a:pt x="4560" y="762"/>
                  </a:lnTo>
                  <a:lnTo>
                    <a:pt x="4620" y="762"/>
                  </a:lnTo>
                  <a:lnTo>
                    <a:pt x="4626" y="756"/>
                  </a:lnTo>
                  <a:lnTo>
                    <a:pt x="4620" y="750"/>
                  </a:lnTo>
                  <a:lnTo>
                    <a:pt x="4584" y="738"/>
                  </a:lnTo>
                  <a:lnTo>
                    <a:pt x="4572" y="732"/>
                  </a:lnTo>
                  <a:lnTo>
                    <a:pt x="4554" y="732"/>
                  </a:lnTo>
                  <a:lnTo>
                    <a:pt x="4518" y="750"/>
                  </a:lnTo>
                  <a:lnTo>
                    <a:pt x="4500" y="744"/>
                  </a:lnTo>
                  <a:lnTo>
                    <a:pt x="4458" y="774"/>
                  </a:lnTo>
                  <a:lnTo>
                    <a:pt x="4464" y="756"/>
                  </a:lnTo>
                  <a:lnTo>
                    <a:pt x="4440" y="774"/>
                  </a:lnTo>
                  <a:lnTo>
                    <a:pt x="4464" y="744"/>
                  </a:lnTo>
                  <a:lnTo>
                    <a:pt x="4500" y="744"/>
                  </a:lnTo>
                  <a:lnTo>
                    <a:pt x="4506" y="738"/>
                  </a:lnTo>
                  <a:lnTo>
                    <a:pt x="4518" y="714"/>
                  </a:lnTo>
                  <a:lnTo>
                    <a:pt x="4518" y="708"/>
                  </a:lnTo>
                  <a:lnTo>
                    <a:pt x="4512" y="702"/>
                  </a:lnTo>
                  <a:lnTo>
                    <a:pt x="4506" y="708"/>
                  </a:lnTo>
                  <a:lnTo>
                    <a:pt x="4494" y="714"/>
                  </a:lnTo>
                  <a:lnTo>
                    <a:pt x="4488" y="726"/>
                  </a:lnTo>
                  <a:lnTo>
                    <a:pt x="4452" y="726"/>
                  </a:lnTo>
                  <a:lnTo>
                    <a:pt x="4428" y="738"/>
                  </a:lnTo>
                  <a:lnTo>
                    <a:pt x="4452" y="708"/>
                  </a:lnTo>
                  <a:lnTo>
                    <a:pt x="4482" y="708"/>
                  </a:lnTo>
                  <a:lnTo>
                    <a:pt x="4494" y="702"/>
                  </a:lnTo>
                  <a:lnTo>
                    <a:pt x="4500" y="702"/>
                  </a:lnTo>
                  <a:lnTo>
                    <a:pt x="4506" y="696"/>
                  </a:lnTo>
                  <a:lnTo>
                    <a:pt x="4506" y="690"/>
                  </a:lnTo>
                  <a:lnTo>
                    <a:pt x="4500" y="684"/>
                  </a:lnTo>
                  <a:lnTo>
                    <a:pt x="4458" y="684"/>
                  </a:lnTo>
                  <a:lnTo>
                    <a:pt x="4446" y="690"/>
                  </a:lnTo>
                  <a:lnTo>
                    <a:pt x="4428" y="696"/>
                  </a:lnTo>
                  <a:lnTo>
                    <a:pt x="4422" y="702"/>
                  </a:lnTo>
                  <a:lnTo>
                    <a:pt x="4416" y="702"/>
                  </a:lnTo>
                  <a:lnTo>
                    <a:pt x="4404" y="684"/>
                  </a:lnTo>
                  <a:lnTo>
                    <a:pt x="4380" y="702"/>
                  </a:lnTo>
                  <a:lnTo>
                    <a:pt x="4398" y="672"/>
                  </a:lnTo>
                  <a:lnTo>
                    <a:pt x="4344" y="696"/>
                  </a:lnTo>
                  <a:lnTo>
                    <a:pt x="4344" y="672"/>
                  </a:lnTo>
                  <a:lnTo>
                    <a:pt x="4350" y="672"/>
                  </a:lnTo>
                  <a:lnTo>
                    <a:pt x="4356" y="666"/>
                  </a:lnTo>
                  <a:lnTo>
                    <a:pt x="4368" y="666"/>
                  </a:lnTo>
                  <a:lnTo>
                    <a:pt x="4386" y="660"/>
                  </a:lnTo>
                  <a:lnTo>
                    <a:pt x="4392" y="660"/>
                  </a:lnTo>
                  <a:lnTo>
                    <a:pt x="4398" y="654"/>
                  </a:lnTo>
                  <a:lnTo>
                    <a:pt x="4356" y="654"/>
                  </a:lnTo>
                  <a:lnTo>
                    <a:pt x="4338" y="660"/>
                  </a:lnTo>
                  <a:lnTo>
                    <a:pt x="4326" y="660"/>
                  </a:lnTo>
                  <a:lnTo>
                    <a:pt x="4320" y="648"/>
                  </a:lnTo>
                  <a:lnTo>
                    <a:pt x="4332" y="648"/>
                  </a:lnTo>
                  <a:lnTo>
                    <a:pt x="4356" y="636"/>
                  </a:lnTo>
                  <a:lnTo>
                    <a:pt x="4368" y="636"/>
                  </a:lnTo>
                  <a:lnTo>
                    <a:pt x="4380" y="630"/>
                  </a:lnTo>
                  <a:lnTo>
                    <a:pt x="4386" y="624"/>
                  </a:lnTo>
                  <a:lnTo>
                    <a:pt x="4368" y="618"/>
                  </a:lnTo>
                  <a:lnTo>
                    <a:pt x="4326" y="612"/>
                  </a:lnTo>
                  <a:lnTo>
                    <a:pt x="4290" y="612"/>
                  </a:lnTo>
                  <a:lnTo>
                    <a:pt x="4266" y="606"/>
                  </a:lnTo>
                  <a:lnTo>
                    <a:pt x="4236" y="606"/>
                  </a:lnTo>
                  <a:lnTo>
                    <a:pt x="4230" y="612"/>
                  </a:lnTo>
                  <a:lnTo>
                    <a:pt x="4230" y="618"/>
                  </a:lnTo>
                  <a:lnTo>
                    <a:pt x="4236" y="624"/>
                  </a:lnTo>
                  <a:lnTo>
                    <a:pt x="4242" y="636"/>
                  </a:lnTo>
                  <a:lnTo>
                    <a:pt x="4206" y="630"/>
                  </a:lnTo>
                  <a:lnTo>
                    <a:pt x="4212" y="660"/>
                  </a:lnTo>
                  <a:lnTo>
                    <a:pt x="4194" y="636"/>
                  </a:lnTo>
                  <a:lnTo>
                    <a:pt x="4152" y="660"/>
                  </a:lnTo>
                  <a:lnTo>
                    <a:pt x="4158" y="654"/>
                  </a:lnTo>
                  <a:lnTo>
                    <a:pt x="4158" y="636"/>
                  </a:lnTo>
                  <a:lnTo>
                    <a:pt x="4152" y="630"/>
                  </a:lnTo>
                  <a:lnTo>
                    <a:pt x="4140" y="630"/>
                  </a:lnTo>
                  <a:lnTo>
                    <a:pt x="4122" y="636"/>
                  </a:lnTo>
                  <a:lnTo>
                    <a:pt x="4110" y="642"/>
                  </a:lnTo>
                  <a:lnTo>
                    <a:pt x="4098" y="642"/>
                  </a:lnTo>
                  <a:lnTo>
                    <a:pt x="4086" y="648"/>
                  </a:lnTo>
                  <a:lnTo>
                    <a:pt x="4080" y="654"/>
                  </a:lnTo>
                  <a:lnTo>
                    <a:pt x="4074" y="654"/>
                  </a:lnTo>
                  <a:lnTo>
                    <a:pt x="4092" y="618"/>
                  </a:lnTo>
                  <a:lnTo>
                    <a:pt x="4110" y="618"/>
                  </a:lnTo>
                  <a:lnTo>
                    <a:pt x="4122" y="612"/>
                  </a:lnTo>
                  <a:lnTo>
                    <a:pt x="4134" y="612"/>
                  </a:lnTo>
                  <a:lnTo>
                    <a:pt x="4146" y="606"/>
                  </a:lnTo>
                  <a:lnTo>
                    <a:pt x="4152" y="600"/>
                  </a:lnTo>
                  <a:lnTo>
                    <a:pt x="4152" y="594"/>
                  </a:lnTo>
                  <a:lnTo>
                    <a:pt x="4146" y="582"/>
                  </a:lnTo>
                  <a:lnTo>
                    <a:pt x="4134" y="570"/>
                  </a:lnTo>
                  <a:lnTo>
                    <a:pt x="4152" y="552"/>
                  </a:lnTo>
                  <a:lnTo>
                    <a:pt x="4152" y="540"/>
                  </a:lnTo>
                  <a:lnTo>
                    <a:pt x="4050" y="540"/>
                  </a:lnTo>
                  <a:lnTo>
                    <a:pt x="4026" y="558"/>
                  </a:lnTo>
                  <a:lnTo>
                    <a:pt x="3942" y="558"/>
                  </a:lnTo>
                  <a:lnTo>
                    <a:pt x="3948" y="576"/>
                  </a:lnTo>
                  <a:lnTo>
                    <a:pt x="3978" y="588"/>
                  </a:lnTo>
                  <a:lnTo>
                    <a:pt x="3936" y="576"/>
                  </a:lnTo>
                  <a:lnTo>
                    <a:pt x="3948" y="600"/>
                  </a:lnTo>
                  <a:lnTo>
                    <a:pt x="3936" y="594"/>
                  </a:lnTo>
                  <a:lnTo>
                    <a:pt x="3930" y="594"/>
                  </a:lnTo>
                  <a:lnTo>
                    <a:pt x="3918" y="588"/>
                  </a:lnTo>
                  <a:lnTo>
                    <a:pt x="3894" y="588"/>
                  </a:lnTo>
                  <a:lnTo>
                    <a:pt x="3882" y="594"/>
                  </a:lnTo>
                  <a:lnTo>
                    <a:pt x="3876" y="606"/>
                  </a:lnTo>
                  <a:lnTo>
                    <a:pt x="3882" y="612"/>
                  </a:lnTo>
                  <a:lnTo>
                    <a:pt x="3888" y="624"/>
                  </a:lnTo>
                  <a:lnTo>
                    <a:pt x="3894" y="630"/>
                  </a:lnTo>
                  <a:lnTo>
                    <a:pt x="3900" y="660"/>
                  </a:lnTo>
                  <a:lnTo>
                    <a:pt x="3894" y="660"/>
                  </a:lnTo>
                  <a:lnTo>
                    <a:pt x="3888" y="654"/>
                  </a:lnTo>
                  <a:lnTo>
                    <a:pt x="3864" y="642"/>
                  </a:lnTo>
                  <a:lnTo>
                    <a:pt x="3852" y="642"/>
                  </a:lnTo>
                  <a:lnTo>
                    <a:pt x="3828" y="666"/>
                  </a:lnTo>
                  <a:lnTo>
                    <a:pt x="3828" y="678"/>
                  </a:lnTo>
                  <a:lnTo>
                    <a:pt x="3846" y="678"/>
                  </a:lnTo>
                  <a:lnTo>
                    <a:pt x="3858" y="690"/>
                  </a:lnTo>
                  <a:lnTo>
                    <a:pt x="3810" y="714"/>
                  </a:lnTo>
                  <a:lnTo>
                    <a:pt x="3750" y="720"/>
                  </a:lnTo>
                  <a:lnTo>
                    <a:pt x="3762" y="720"/>
                  </a:lnTo>
                  <a:lnTo>
                    <a:pt x="3798" y="702"/>
                  </a:lnTo>
                  <a:lnTo>
                    <a:pt x="3810" y="690"/>
                  </a:lnTo>
                  <a:lnTo>
                    <a:pt x="3810" y="684"/>
                  </a:lnTo>
                  <a:lnTo>
                    <a:pt x="3804" y="684"/>
                  </a:lnTo>
                  <a:lnTo>
                    <a:pt x="3792" y="672"/>
                  </a:lnTo>
                  <a:lnTo>
                    <a:pt x="3786" y="672"/>
                  </a:lnTo>
                  <a:lnTo>
                    <a:pt x="3786" y="660"/>
                  </a:lnTo>
                  <a:lnTo>
                    <a:pt x="3804" y="642"/>
                  </a:lnTo>
                  <a:lnTo>
                    <a:pt x="3816" y="636"/>
                  </a:lnTo>
                  <a:lnTo>
                    <a:pt x="3828" y="636"/>
                  </a:lnTo>
                  <a:lnTo>
                    <a:pt x="3828" y="606"/>
                  </a:lnTo>
                  <a:lnTo>
                    <a:pt x="3840" y="600"/>
                  </a:lnTo>
                  <a:lnTo>
                    <a:pt x="3858" y="582"/>
                  </a:lnTo>
                  <a:lnTo>
                    <a:pt x="3876" y="576"/>
                  </a:lnTo>
                  <a:lnTo>
                    <a:pt x="3882" y="570"/>
                  </a:lnTo>
                  <a:lnTo>
                    <a:pt x="3894" y="564"/>
                  </a:lnTo>
                  <a:lnTo>
                    <a:pt x="3906" y="564"/>
                  </a:lnTo>
                  <a:lnTo>
                    <a:pt x="3918" y="558"/>
                  </a:lnTo>
                  <a:lnTo>
                    <a:pt x="3936" y="552"/>
                  </a:lnTo>
                  <a:lnTo>
                    <a:pt x="3954" y="552"/>
                  </a:lnTo>
                  <a:lnTo>
                    <a:pt x="3966" y="546"/>
                  </a:lnTo>
                  <a:lnTo>
                    <a:pt x="3972" y="540"/>
                  </a:lnTo>
                  <a:lnTo>
                    <a:pt x="3942" y="534"/>
                  </a:lnTo>
                  <a:lnTo>
                    <a:pt x="3852" y="534"/>
                  </a:lnTo>
                  <a:lnTo>
                    <a:pt x="3822" y="540"/>
                  </a:lnTo>
                  <a:lnTo>
                    <a:pt x="3786" y="558"/>
                  </a:lnTo>
                  <a:lnTo>
                    <a:pt x="3744" y="576"/>
                  </a:lnTo>
                  <a:lnTo>
                    <a:pt x="3720" y="594"/>
                  </a:lnTo>
                  <a:lnTo>
                    <a:pt x="3708" y="600"/>
                  </a:lnTo>
                  <a:lnTo>
                    <a:pt x="3702" y="600"/>
                  </a:lnTo>
                  <a:lnTo>
                    <a:pt x="3696" y="606"/>
                  </a:lnTo>
                  <a:lnTo>
                    <a:pt x="3684" y="606"/>
                  </a:lnTo>
                  <a:lnTo>
                    <a:pt x="3660" y="618"/>
                  </a:lnTo>
                  <a:lnTo>
                    <a:pt x="3654" y="618"/>
                  </a:lnTo>
                  <a:lnTo>
                    <a:pt x="3642" y="624"/>
                  </a:lnTo>
                  <a:lnTo>
                    <a:pt x="3630" y="636"/>
                  </a:lnTo>
                  <a:lnTo>
                    <a:pt x="3618" y="642"/>
                  </a:lnTo>
                  <a:lnTo>
                    <a:pt x="3600" y="660"/>
                  </a:lnTo>
                  <a:lnTo>
                    <a:pt x="3588" y="666"/>
                  </a:lnTo>
                  <a:lnTo>
                    <a:pt x="3582" y="678"/>
                  </a:lnTo>
                  <a:lnTo>
                    <a:pt x="3582" y="684"/>
                  </a:lnTo>
                  <a:lnTo>
                    <a:pt x="3588" y="690"/>
                  </a:lnTo>
                  <a:lnTo>
                    <a:pt x="3612" y="690"/>
                  </a:lnTo>
                  <a:lnTo>
                    <a:pt x="3648" y="696"/>
                  </a:lnTo>
                  <a:lnTo>
                    <a:pt x="3672" y="696"/>
                  </a:lnTo>
                  <a:lnTo>
                    <a:pt x="3684" y="708"/>
                  </a:lnTo>
                  <a:lnTo>
                    <a:pt x="3666" y="714"/>
                  </a:lnTo>
                  <a:lnTo>
                    <a:pt x="3594" y="726"/>
                  </a:lnTo>
                  <a:lnTo>
                    <a:pt x="3570" y="732"/>
                  </a:lnTo>
                  <a:lnTo>
                    <a:pt x="3576" y="738"/>
                  </a:lnTo>
                  <a:lnTo>
                    <a:pt x="3594" y="750"/>
                  </a:lnTo>
                  <a:lnTo>
                    <a:pt x="3630" y="762"/>
                  </a:lnTo>
                  <a:lnTo>
                    <a:pt x="3642" y="768"/>
                  </a:lnTo>
                  <a:lnTo>
                    <a:pt x="3648" y="768"/>
                  </a:lnTo>
                  <a:lnTo>
                    <a:pt x="3690" y="750"/>
                  </a:lnTo>
                  <a:lnTo>
                    <a:pt x="3690" y="762"/>
                  </a:lnTo>
                  <a:lnTo>
                    <a:pt x="3702" y="774"/>
                  </a:lnTo>
                  <a:lnTo>
                    <a:pt x="3744" y="774"/>
                  </a:lnTo>
                  <a:lnTo>
                    <a:pt x="3786" y="780"/>
                  </a:lnTo>
                  <a:lnTo>
                    <a:pt x="3834" y="786"/>
                  </a:lnTo>
                  <a:lnTo>
                    <a:pt x="3876" y="792"/>
                  </a:lnTo>
                  <a:lnTo>
                    <a:pt x="3894" y="792"/>
                  </a:lnTo>
                  <a:lnTo>
                    <a:pt x="3900" y="786"/>
                  </a:lnTo>
                  <a:lnTo>
                    <a:pt x="3894" y="780"/>
                  </a:lnTo>
                  <a:lnTo>
                    <a:pt x="3882" y="774"/>
                  </a:lnTo>
                  <a:lnTo>
                    <a:pt x="3876" y="768"/>
                  </a:lnTo>
                  <a:lnTo>
                    <a:pt x="3894" y="768"/>
                  </a:lnTo>
                  <a:lnTo>
                    <a:pt x="3930" y="774"/>
                  </a:lnTo>
                  <a:lnTo>
                    <a:pt x="3966" y="774"/>
                  </a:lnTo>
                  <a:lnTo>
                    <a:pt x="3990" y="780"/>
                  </a:lnTo>
                  <a:lnTo>
                    <a:pt x="4002" y="780"/>
                  </a:lnTo>
                  <a:lnTo>
                    <a:pt x="4020" y="786"/>
                  </a:lnTo>
                  <a:lnTo>
                    <a:pt x="4032" y="792"/>
                  </a:lnTo>
                  <a:lnTo>
                    <a:pt x="4050" y="792"/>
                  </a:lnTo>
                  <a:lnTo>
                    <a:pt x="4062" y="786"/>
                  </a:lnTo>
                  <a:lnTo>
                    <a:pt x="4062" y="774"/>
                  </a:lnTo>
                  <a:lnTo>
                    <a:pt x="4056" y="768"/>
                  </a:lnTo>
                  <a:lnTo>
                    <a:pt x="4050" y="756"/>
                  </a:lnTo>
                  <a:lnTo>
                    <a:pt x="4044" y="750"/>
                  </a:lnTo>
                  <a:lnTo>
                    <a:pt x="4092" y="738"/>
                  </a:lnTo>
                  <a:lnTo>
                    <a:pt x="4092" y="744"/>
                  </a:lnTo>
                  <a:lnTo>
                    <a:pt x="4098" y="750"/>
                  </a:lnTo>
                  <a:lnTo>
                    <a:pt x="4104" y="762"/>
                  </a:lnTo>
                  <a:lnTo>
                    <a:pt x="4104" y="768"/>
                  </a:lnTo>
                  <a:lnTo>
                    <a:pt x="4110" y="774"/>
                  </a:lnTo>
                  <a:lnTo>
                    <a:pt x="4116" y="774"/>
                  </a:lnTo>
                  <a:lnTo>
                    <a:pt x="4122" y="780"/>
                  </a:lnTo>
                  <a:lnTo>
                    <a:pt x="4134" y="786"/>
                  </a:lnTo>
                  <a:lnTo>
                    <a:pt x="4140" y="792"/>
                  </a:lnTo>
                  <a:lnTo>
                    <a:pt x="4170" y="786"/>
                  </a:lnTo>
                  <a:lnTo>
                    <a:pt x="4170" y="792"/>
                  </a:lnTo>
                  <a:lnTo>
                    <a:pt x="4164" y="798"/>
                  </a:lnTo>
                  <a:lnTo>
                    <a:pt x="4164" y="816"/>
                  </a:lnTo>
                  <a:lnTo>
                    <a:pt x="4170" y="816"/>
                  </a:lnTo>
                  <a:lnTo>
                    <a:pt x="4182" y="822"/>
                  </a:lnTo>
                  <a:lnTo>
                    <a:pt x="4200" y="822"/>
                  </a:lnTo>
                  <a:lnTo>
                    <a:pt x="4206" y="828"/>
                  </a:lnTo>
                  <a:lnTo>
                    <a:pt x="4212" y="828"/>
                  </a:lnTo>
                  <a:lnTo>
                    <a:pt x="4194" y="846"/>
                  </a:lnTo>
                  <a:lnTo>
                    <a:pt x="4194" y="858"/>
                  </a:lnTo>
                  <a:lnTo>
                    <a:pt x="4230" y="858"/>
                  </a:lnTo>
                  <a:lnTo>
                    <a:pt x="4224" y="882"/>
                  </a:lnTo>
                  <a:lnTo>
                    <a:pt x="4236" y="882"/>
                  </a:lnTo>
                  <a:lnTo>
                    <a:pt x="4248" y="888"/>
                  </a:lnTo>
                  <a:lnTo>
                    <a:pt x="4254" y="888"/>
                  </a:lnTo>
                  <a:lnTo>
                    <a:pt x="4278" y="900"/>
                  </a:lnTo>
                  <a:lnTo>
                    <a:pt x="4278" y="924"/>
                  </a:lnTo>
                  <a:lnTo>
                    <a:pt x="4266" y="948"/>
                  </a:lnTo>
                  <a:lnTo>
                    <a:pt x="4254" y="966"/>
                  </a:lnTo>
                  <a:lnTo>
                    <a:pt x="4248" y="978"/>
                  </a:lnTo>
                  <a:lnTo>
                    <a:pt x="4236" y="990"/>
                  </a:lnTo>
                  <a:lnTo>
                    <a:pt x="4218" y="996"/>
                  </a:lnTo>
                  <a:lnTo>
                    <a:pt x="4182" y="1014"/>
                  </a:lnTo>
                  <a:lnTo>
                    <a:pt x="4140" y="1026"/>
                  </a:lnTo>
                  <a:lnTo>
                    <a:pt x="4092" y="1050"/>
                  </a:lnTo>
                  <a:lnTo>
                    <a:pt x="4098" y="1056"/>
                  </a:lnTo>
                  <a:lnTo>
                    <a:pt x="4110" y="1062"/>
                  </a:lnTo>
                  <a:lnTo>
                    <a:pt x="4122" y="1074"/>
                  </a:lnTo>
                  <a:lnTo>
                    <a:pt x="4122" y="1080"/>
                  </a:lnTo>
                  <a:lnTo>
                    <a:pt x="4116" y="1086"/>
                  </a:lnTo>
                  <a:lnTo>
                    <a:pt x="4080" y="1098"/>
                  </a:lnTo>
                  <a:lnTo>
                    <a:pt x="4062" y="1098"/>
                  </a:lnTo>
                  <a:lnTo>
                    <a:pt x="3984" y="1110"/>
                  </a:lnTo>
                  <a:lnTo>
                    <a:pt x="3978" y="1128"/>
                  </a:lnTo>
                  <a:lnTo>
                    <a:pt x="3960" y="1110"/>
                  </a:lnTo>
                  <a:lnTo>
                    <a:pt x="3954" y="1110"/>
                  </a:lnTo>
                  <a:lnTo>
                    <a:pt x="3948" y="1104"/>
                  </a:lnTo>
                  <a:lnTo>
                    <a:pt x="3930" y="1104"/>
                  </a:lnTo>
                  <a:lnTo>
                    <a:pt x="3918" y="1098"/>
                  </a:lnTo>
                  <a:lnTo>
                    <a:pt x="3900" y="1098"/>
                  </a:lnTo>
                  <a:lnTo>
                    <a:pt x="3888" y="1104"/>
                  </a:lnTo>
                  <a:lnTo>
                    <a:pt x="3882" y="1110"/>
                  </a:lnTo>
                  <a:lnTo>
                    <a:pt x="3882" y="1122"/>
                  </a:lnTo>
                  <a:lnTo>
                    <a:pt x="3870" y="1122"/>
                  </a:lnTo>
                  <a:lnTo>
                    <a:pt x="3858" y="1128"/>
                  </a:lnTo>
                  <a:lnTo>
                    <a:pt x="3840" y="1134"/>
                  </a:lnTo>
                  <a:lnTo>
                    <a:pt x="3828" y="1140"/>
                  </a:lnTo>
                  <a:lnTo>
                    <a:pt x="3822" y="1146"/>
                  </a:lnTo>
                  <a:lnTo>
                    <a:pt x="3816" y="1158"/>
                  </a:lnTo>
                  <a:lnTo>
                    <a:pt x="3816" y="1170"/>
                  </a:lnTo>
                  <a:lnTo>
                    <a:pt x="3822" y="1182"/>
                  </a:lnTo>
                  <a:lnTo>
                    <a:pt x="3834" y="1188"/>
                  </a:lnTo>
                  <a:lnTo>
                    <a:pt x="3864" y="1188"/>
                  </a:lnTo>
                  <a:lnTo>
                    <a:pt x="3876" y="1182"/>
                  </a:lnTo>
                  <a:lnTo>
                    <a:pt x="3894" y="1182"/>
                  </a:lnTo>
                  <a:lnTo>
                    <a:pt x="3906" y="1176"/>
                  </a:lnTo>
                  <a:lnTo>
                    <a:pt x="3924" y="1170"/>
                  </a:lnTo>
                  <a:lnTo>
                    <a:pt x="3936" y="1164"/>
                  </a:lnTo>
                  <a:lnTo>
                    <a:pt x="3966" y="1164"/>
                  </a:lnTo>
                  <a:lnTo>
                    <a:pt x="3978" y="1176"/>
                  </a:lnTo>
                  <a:lnTo>
                    <a:pt x="3996" y="1176"/>
                  </a:lnTo>
                  <a:lnTo>
                    <a:pt x="4002" y="1170"/>
                  </a:lnTo>
                  <a:lnTo>
                    <a:pt x="4002" y="1152"/>
                  </a:lnTo>
                  <a:lnTo>
                    <a:pt x="4026" y="1128"/>
                  </a:lnTo>
                  <a:lnTo>
                    <a:pt x="4014" y="1140"/>
                  </a:lnTo>
                  <a:lnTo>
                    <a:pt x="4014" y="1146"/>
                  </a:lnTo>
                  <a:lnTo>
                    <a:pt x="4020" y="1152"/>
                  </a:lnTo>
                  <a:lnTo>
                    <a:pt x="4086" y="1152"/>
                  </a:lnTo>
                  <a:lnTo>
                    <a:pt x="4080" y="1158"/>
                  </a:lnTo>
                  <a:lnTo>
                    <a:pt x="4068" y="1164"/>
                  </a:lnTo>
                  <a:lnTo>
                    <a:pt x="4062" y="1170"/>
                  </a:lnTo>
                  <a:lnTo>
                    <a:pt x="4062" y="1176"/>
                  </a:lnTo>
                  <a:lnTo>
                    <a:pt x="4068" y="1182"/>
                  </a:lnTo>
                  <a:lnTo>
                    <a:pt x="4080" y="1182"/>
                  </a:lnTo>
                  <a:lnTo>
                    <a:pt x="4086" y="1188"/>
                  </a:lnTo>
                  <a:lnTo>
                    <a:pt x="4098" y="1188"/>
                  </a:lnTo>
                  <a:lnTo>
                    <a:pt x="4086" y="1200"/>
                  </a:lnTo>
                  <a:lnTo>
                    <a:pt x="4086" y="1206"/>
                  </a:lnTo>
                  <a:lnTo>
                    <a:pt x="4092" y="1212"/>
                  </a:lnTo>
                  <a:lnTo>
                    <a:pt x="4116" y="1224"/>
                  </a:lnTo>
                  <a:lnTo>
                    <a:pt x="4146" y="1224"/>
                  </a:lnTo>
                  <a:lnTo>
                    <a:pt x="4098" y="1242"/>
                  </a:lnTo>
                  <a:lnTo>
                    <a:pt x="4098" y="1248"/>
                  </a:lnTo>
                  <a:lnTo>
                    <a:pt x="4110" y="1260"/>
                  </a:lnTo>
                  <a:lnTo>
                    <a:pt x="4110" y="1266"/>
                  </a:lnTo>
                  <a:lnTo>
                    <a:pt x="4116" y="1272"/>
                  </a:lnTo>
                  <a:lnTo>
                    <a:pt x="4122" y="1266"/>
                  </a:lnTo>
                  <a:lnTo>
                    <a:pt x="4128" y="1266"/>
                  </a:lnTo>
                  <a:lnTo>
                    <a:pt x="4140" y="1260"/>
                  </a:lnTo>
                  <a:lnTo>
                    <a:pt x="4146" y="1272"/>
                  </a:lnTo>
                  <a:lnTo>
                    <a:pt x="4158" y="1284"/>
                  </a:lnTo>
                  <a:lnTo>
                    <a:pt x="4182" y="1284"/>
                  </a:lnTo>
                  <a:lnTo>
                    <a:pt x="4194" y="1290"/>
                  </a:lnTo>
                  <a:lnTo>
                    <a:pt x="4206" y="1290"/>
                  </a:lnTo>
                  <a:lnTo>
                    <a:pt x="4206" y="1308"/>
                  </a:lnTo>
                  <a:lnTo>
                    <a:pt x="4212" y="1314"/>
                  </a:lnTo>
                  <a:lnTo>
                    <a:pt x="4224" y="1320"/>
                  </a:lnTo>
                  <a:lnTo>
                    <a:pt x="4272" y="1320"/>
                  </a:lnTo>
                  <a:lnTo>
                    <a:pt x="4290" y="1326"/>
                  </a:lnTo>
                  <a:lnTo>
                    <a:pt x="4350" y="1356"/>
                  </a:lnTo>
                  <a:lnTo>
                    <a:pt x="4356" y="1362"/>
                  </a:lnTo>
                  <a:lnTo>
                    <a:pt x="4362" y="1362"/>
                  </a:lnTo>
                  <a:lnTo>
                    <a:pt x="4362" y="1356"/>
                  </a:lnTo>
                  <a:lnTo>
                    <a:pt x="4368" y="1350"/>
                  </a:lnTo>
                  <a:lnTo>
                    <a:pt x="4368" y="1320"/>
                  </a:lnTo>
                  <a:lnTo>
                    <a:pt x="4362" y="1308"/>
                  </a:lnTo>
                  <a:lnTo>
                    <a:pt x="4350" y="1296"/>
                  </a:lnTo>
                  <a:lnTo>
                    <a:pt x="4338" y="1290"/>
                  </a:lnTo>
                  <a:lnTo>
                    <a:pt x="4320" y="1272"/>
                  </a:lnTo>
                  <a:lnTo>
                    <a:pt x="4314" y="1272"/>
                  </a:lnTo>
                  <a:lnTo>
                    <a:pt x="4308" y="1260"/>
                  </a:lnTo>
                  <a:lnTo>
                    <a:pt x="4302" y="1254"/>
                  </a:lnTo>
                  <a:lnTo>
                    <a:pt x="4290" y="1230"/>
                  </a:lnTo>
                  <a:lnTo>
                    <a:pt x="4290" y="1224"/>
                  </a:lnTo>
                  <a:lnTo>
                    <a:pt x="4308" y="1224"/>
                  </a:lnTo>
                  <a:lnTo>
                    <a:pt x="4314" y="1230"/>
                  </a:lnTo>
                  <a:lnTo>
                    <a:pt x="4326" y="1236"/>
                  </a:lnTo>
                  <a:lnTo>
                    <a:pt x="4332" y="1242"/>
                  </a:lnTo>
                  <a:lnTo>
                    <a:pt x="4332" y="1212"/>
                  </a:lnTo>
                  <a:lnTo>
                    <a:pt x="4332" y="1218"/>
                  </a:lnTo>
                  <a:lnTo>
                    <a:pt x="4344" y="1230"/>
                  </a:lnTo>
                  <a:lnTo>
                    <a:pt x="4350" y="1242"/>
                  </a:lnTo>
                  <a:lnTo>
                    <a:pt x="4362" y="1254"/>
                  </a:lnTo>
                  <a:lnTo>
                    <a:pt x="4374" y="1254"/>
                  </a:lnTo>
                  <a:lnTo>
                    <a:pt x="4386" y="1248"/>
                  </a:lnTo>
                  <a:lnTo>
                    <a:pt x="4398" y="1248"/>
                  </a:lnTo>
                  <a:lnTo>
                    <a:pt x="4398" y="1272"/>
                  </a:lnTo>
                  <a:lnTo>
                    <a:pt x="4404" y="1278"/>
                  </a:lnTo>
                  <a:lnTo>
                    <a:pt x="4416" y="1278"/>
                  </a:lnTo>
                  <a:lnTo>
                    <a:pt x="4428" y="1290"/>
                  </a:lnTo>
                  <a:lnTo>
                    <a:pt x="4452" y="1272"/>
                  </a:lnTo>
                  <a:lnTo>
                    <a:pt x="4464" y="1284"/>
                  </a:lnTo>
                  <a:lnTo>
                    <a:pt x="4470" y="1284"/>
                  </a:lnTo>
                  <a:lnTo>
                    <a:pt x="4476" y="1278"/>
                  </a:lnTo>
                  <a:lnTo>
                    <a:pt x="4476" y="1260"/>
                  </a:lnTo>
                  <a:lnTo>
                    <a:pt x="4470" y="1254"/>
                  </a:lnTo>
                  <a:lnTo>
                    <a:pt x="4488" y="1212"/>
                  </a:lnTo>
                  <a:lnTo>
                    <a:pt x="4488" y="1236"/>
                  </a:lnTo>
                  <a:lnTo>
                    <a:pt x="4500" y="1248"/>
                  </a:lnTo>
                  <a:lnTo>
                    <a:pt x="4512" y="1236"/>
                  </a:lnTo>
                  <a:lnTo>
                    <a:pt x="4518" y="1218"/>
                  </a:lnTo>
                  <a:lnTo>
                    <a:pt x="4518" y="1206"/>
                  </a:lnTo>
                  <a:lnTo>
                    <a:pt x="4494" y="1182"/>
                  </a:lnTo>
                  <a:lnTo>
                    <a:pt x="4518" y="1176"/>
                  </a:lnTo>
                  <a:lnTo>
                    <a:pt x="4500" y="1164"/>
                  </a:lnTo>
                  <a:lnTo>
                    <a:pt x="4500" y="1146"/>
                  </a:lnTo>
                  <a:lnTo>
                    <a:pt x="4470" y="1146"/>
                  </a:lnTo>
                  <a:lnTo>
                    <a:pt x="4470" y="1134"/>
                  </a:lnTo>
                  <a:lnTo>
                    <a:pt x="4446" y="1134"/>
                  </a:lnTo>
                  <a:lnTo>
                    <a:pt x="4446" y="1080"/>
                  </a:lnTo>
                  <a:lnTo>
                    <a:pt x="4416" y="1086"/>
                  </a:lnTo>
                  <a:lnTo>
                    <a:pt x="4410" y="1080"/>
                  </a:lnTo>
                  <a:lnTo>
                    <a:pt x="4410" y="1056"/>
                  </a:lnTo>
                  <a:lnTo>
                    <a:pt x="4416" y="1050"/>
                  </a:lnTo>
                  <a:lnTo>
                    <a:pt x="4428" y="1050"/>
                  </a:lnTo>
                  <a:lnTo>
                    <a:pt x="4434" y="1056"/>
                  </a:lnTo>
                  <a:lnTo>
                    <a:pt x="4446" y="1062"/>
                  </a:lnTo>
                  <a:lnTo>
                    <a:pt x="4452" y="1068"/>
                  </a:lnTo>
                  <a:lnTo>
                    <a:pt x="4458" y="1068"/>
                  </a:lnTo>
                  <a:lnTo>
                    <a:pt x="4464" y="1062"/>
                  </a:lnTo>
                  <a:lnTo>
                    <a:pt x="4464" y="1026"/>
                  </a:lnTo>
                  <a:lnTo>
                    <a:pt x="4488" y="1032"/>
                  </a:lnTo>
                  <a:lnTo>
                    <a:pt x="4524" y="1014"/>
                  </a:lnTo>
                  <a:lnTo>
                    <a:pt x="4524" y="1026"/>
                  </a:lnTo>
                  <a:lnTo>
                    <a:pt x="4530" y="1038"/>
                  </a:lnTo>
                  <a:lnTo>
                    <a:pt x="4530" y="1044"/>
                  </a:lnTo>
                  <a:lnTo>
                    <a:pt x="4536" y="1050"/>
                  </a:lnTo>
                  <a:lnTo>
                    <a:pt x="4548" y="1044"/>
                  </a:lnTo>
                  <a:lnTo>
                    <a:pt x="4566" y="1044"/>
                  </a:lnTo>
                  <a:lnTo>
                    <a:pt x="4554" y="1062"/>
                  </a:lnTo>
                  <a:lnTo>
                    <a:pt x="4578" y="1062"/>
                  </a:lnTo>
                  <a:lnTo>
                    <a:pt x="4566" y="1092"/>
                  </a:lnTo>
                  <a:lnTo>
                    <a:pt x="4566" y="1098"/>
                  </a:lnTo>
                  <a:lnTo>
                    <a:pt x="4584" y="1116"/>
                  </a:lnTo>
                  <a:lnTo>
                    <a:pt x="4590" y="1128"/>
                  </a:lnTo>
                  <a:lnTo>
                    <a:pt x="4614" y="1140"/>
                  </a:lnTo>
                  <a:lnTo>
                    <a:pt x="4626" y="1134"/>
                  </a:lnTo>
                  <a:lnTo>
                    <a:pt x="4638" y="1122"/>
                  </a:lnTo>
                  <a:lnTo>
                    <a:pt x="4656" y="1086"/>
                  </a:lnTo>
                  <a:lnTo>
                    <a:pt x="4656" y="1080"/>
                  </a:lnTo>
                  <a:lnTo>
                    <a:pt x="4662" y="1068"/>
                  </a:lnTo>
                  <a:lnTo>
                    <a:pt x="4668" y="1074"/>
                  </a:lnTo>
                  <a:lnTo>
                    <a:pt x="4680" y="1080"/>
                  </a:lnTo>
                  <a:lnTo>
                    <a:pt x="4692" y="1080"/>
                  </a:lnTo>
                  <a:lnTo>
                    <a:pt x="4698" y="1086"/>
                  </a:lnTo>
                  <a:lnTo>
                    <a:pt x="4710" y="1080"/>
                  </a:lnTo>
                  <a:lnTo>
                    <a:pt x="4722" y="1068"/>
                  </a:lnTo>
                  <a:lnTo>
                    <a:pt x="4728" y="1056"/>
                  </a:lnTo>
                  <a:lnTo>
                    <a:pt x="4728" y="1038"/>
                  </a:lnTo>
                  <a:lnTo>
                    <a:pt x="4794" y="1038"/>
                  </a:lnTo>
                  <a:lnTo>
                    <a:pt x="4806" y="1026"/>
                  </a:lnTo>
                  <a:lnTo>
                    <a:pt x="4812" y="1014"/>
                  </a:lnTo>
                  <a:lnTo>
                    <a:pt x="4800" y="1002"/>
                  </a:lnTo>
                  <a:lnTo>
                    <a:pt x="4788" y="996"/>
                  </a:lnTo>
                  <a:lnTo>
                    <a:pt x="4758" y="996"/>
                  </a:lnTo>
                  <a:close/>
                  <a:moveTo>
                    <a:pt x="4476" y="1308"/>
                  </a:moveTo>
                  <a:lnTo>
                    <a:pt x="4446" y="1308"/>
                  </a:lnTo>
                  <a:lnTo>
                    <a:pt x="4440" y="1326"/>
                  </a:lnTo>
                  <a:lnTo>
                    <a:pt x="4476" y="1320"/>
                  </a:lnTo>
                  <a:lnTo>
                    <a:pt x="4476" y="1308"/>
                  </a:lnTo>
                  <a:close/>
                  <a:moveTo>
                    <a:pt x="4140" y="1290"/>
                  </a:moveTo>
                  <a:lnTo>
                    <a:pt x="4134" y="1290"/>
                  </a:lnTo>
                  <a:lnTo>
                    <a:pt x="4128" y="1296"/>
                  </a:lnTo>
                  <a:lnTo>
                    <a:pt x="4128" y="1308"/>
                  </a:lnTo>
                  <a:lnTo>
                    <a:pt x="4134" y="1314"/>
                  </a:lnTo>
                  <a:lnTo>
                    <a:pt x="4158" y="1314"/>
                  </a:lnTo>
                  <a:lnTo>
                    <a:pt x="4164" y="1308"/>
                  </a:lnTo>
                  <a:lnTo>
                    <a:pt x="4164" y="1296"/>
                  </a:lnTo>
                  <a:lnTo>
                    <a:pt x="4158" y="1290"/>
                  </a:lnTo>
                  <a:lnTo>
                    <a:pt x="4140" y="1290"/>
                  </a:lnTo>
                  <a:close/>
                  <a:moveTo>
                    <a:pt x="3834" y="1242"/>
                  </a:moveTo>
                  <a:lnTo>
                    <a:pt x="3840" y="1236"/>
                  </a:lnTo>
                  <a:lnTo>
                    <a:pt x="3834" y="1230"/>
                  </a:lnTo>
                  <a:lnTo>
                    <a:pt x="3828" y="1230"/>
                  </a:lnTo>
                  <a:lnTo>
                    <a:pt x="3822" y="1224"/>
                  </a:lnTo>
                  <a:lnTo>
                    <a:pt x="3810" y="1224"/>
                  </a:lnTo>
                  <a:lnTo>
                    <a:pt x="3810" y="1236"/>
                  </a:lnTo>
                  <a:lnTo>
                    <a:pt x="3816" y="1242"/>
                  </a:lnTo>
                  <a:lnTo>
                    <a:pt x="3816" y="1248"/>
                  </a:lnTo>
                  <a:lnTo>
                    <a:pt x="3828" y="1248"/>
                  </a:lnTo>
                  <a:lnTo>
                    <a:pt x="3834" y="1242"/>
                  </a:lnTo>
                  <a:close/>
                  <a:moveTo>
                    <a:pt x="4206" y="1452"/>
                  </a:moveTo>
                  <a:lnTo>
                    <a:pt x="4170" y="1452"/>
                  </a:lnTo>
                  <a:lnTo>
                    <a:pt x="4206" y="1476"/>
                  </a:lnTo>
                  <a:lnTo>
                    <a:pt x="4218" y="1470"/>
                  </a:lnTo>
                  <a:lnTo>
                    <a:pt x="4218" y="1458"/>
                  </a:lnTo>
                  <a:lnTo>
                    <a:pt x="4212" y="1458"/>
                  </a:lnTo>
                  <a:lnTo>
                    <a:pt x="4206" y="1452"/>
                  </a:lnTo>
                  <a:close/>
                  <a:moveTo>
                    <a:pt x="4170" y="870"/>
                  </a:moveTo>
                  <a:lnTo>
                    <a:pt x="4152" y="870"/>
                  </a:lnTo>
                  <a:lnTo>
                    <a:pt x="4152" y="876"/>
                  </a:lnTo>
                  <a:lnTo>
                    <a:pt x="4158" y="882"/>
                  </a:lnTo>
                  <a:lnTo>
                    <a:pt x="4164" y="882"/>
                  </a:lnTo>
                  <a:lnTo>
                    <a:pt x="4170" y="888"/>
                  </a:lnTo>
                  <a:lnTo>
                    <a:pt x="4182" y="882"/>
                  </a:lnTo>
                  <a:lnTo>
                    <a:pt x="4188" y="882"/>
                  </a:lnTo>
                  <a:lnTo>
                    <a:pt x="4194" y="876"/>
                  </a:lnTo>
                  <a:lnTo>
                    <a:pt x="4188" y="870"/>
                  </a:lnTo>
                  <a:lnTo>
                    <a:pt x="4170" y="870"/>
                  </a:lnTo>
                  <a:close/>
                  <a:moveTo>
                    <a:pt x="4170" y="936"/>
                  </a:moveTo>
                  <a:lnTo>
                    <a:pt x="4236" y="936"/>
                  </a:lnTo>
                  <a:lnTo>
                    <a:pt x="4236" y="918"/>
                  </a:lnTo>
                  <a:lnTo>
                    <a:pt x="4188" y="918"/>
                  </a:lnTo>
                  <a:lnTo>
                    <a:pt x="4170" y="936"/>
                  </a:lnTo>
                  <a:close/>
                  <a:moveTo>
                    <a:pt x="5574" y="36"/>
                  </a:moveTo>
                  <a:lnTo>
                    <a:pt x="5490" y="36"/>
                  </a:lnTo>
                  <a:lnTo>
                    <a:pt x="5496" y="24"/>
                  </a:lnTo>
                  <a:lnTo>
                    <a:pt x="5490" y="24"/>
                  </a:lnTo>
                  <a:lnTo>
                    <a:pt x="5484" y="18"/>
                  </a:lnTo>
                  <a:lnTo>
                    <a:pt x="5448" y="18"/>
                  </a:lnTo>
                  <a:lnTo>
                    <a:pt x="5430" y="12"/>
                  </a:lnTo>
                  <a:lnTo>
                    <a:pt x="5400" y="12"/>
                  </a:lnTo>
                  <a:lnTo>
                    <a:pt x="5364" y="18"/>
                  </a:lnTo>
                  <a:lnTo>
                    <a:pt x="5334" y="30"/>
                  </a:lnTo>
                  <a:lnTo>
                    <a:pt x="5304" y="36"/>
                  </a:lnTo>
                  <a:lnTo>
                    <a:pt x="5292" y="36"/>
                  </a:lnTo>
                  <a:lnTo>
                    <a:pt x="5346" y="12"/>
                  </a:lnTo>
                  <a:lnTo>
                    <a:pt x="5274" y="18"/>
                  </a:lnTo>
                  <a:lnTo>
                    <a:pt x="5268" y="18"/>
                  </a:lnTo>
                  <a:lnTo>
                    <a:pt x="5262" y="12"/>
                  </a:lnTo>
                  <a:lnTo>
                    <a:pt x="5250" y="12"/>
                  </a:lnTo>
                  <a:lnTo>
                    <a:pt x="5226" y="0"/>
                  </a:lnTo>
                  <a:lnTo>
                    <a:pt x="5196" y="0"/>
                  </a:lnTo>
                  <a:lnTo>
                    <a:pt x="5190" y="6"/>
                  </a:lnTo>
                  <a:lnTo>
                    <a:pt x="5184" y="18"/>
                  </a:lnTo>
                  <a:lnTo>
                    <a:pt x="5178" y="18"/>
                  </a:lnTo>
                  <a:lnTo>
                    <a:pt x="5172" y="12"/>
                  </a:lnTo>
                  <a:lnTo>
                    <a:pt x="5160" y="6"/>
                  </a:lnTo>
                  <a:lnTo>
                    <a:pt x="5148" y="6"/>
                  </a:lnTo>
                  <a:lnTo>
                    <a:pt x="5136" y="0"/>
                  </a:lnTo>
                  <a:lnTo>
                    <a:pt x="5124" y="0"/>
                  </a:lnTo>
                  <a:lnTo>
                    <a:pt x="5112" y="6"/>
                  </a:lnTo>
                  <a:lnTo>
                    <a:pt x="5106" y="12"/>
                  </a:lnTo>
                  <a:lnTo>
                    <a:pt x="5094" y="18"/>
                  </a:lnTo>
                  <a:lnTo>
                    <a:pt x="5088" y="24"/>
                  </a:lnTo>
                  <a:lnTo>
                    <a:pt x="5046" y="12"/>
                  </a:lnTo>
                  <a:lnTo>
                    <a:pt x="4938" y="6"/>
                  </a:lnTo>
                  <a:lnTo>
                    <a:pt x="4968" y="36"/>
                  </a:lnTo>
                  <a:lnTo>
                    <a:pt x="4902" y="12"/>
                  </a:lnTo>
                  <a:lnTo>
                    <a:pt x="4842" y="24"/>
                  </a:lnTo>
                  <a:lnTo>
                    <a:pt x="4830" y="24"/>
                  </a:lnTo>
                  <a:lnTo>
                    <a:pt x="4812" y="18"/>
                  </a:lnTo>
                  <a:lnTo>
                    <a:pt x="4746" y="18"/>
                  </a:lnTo>
                  <a:lnTo>
                    <a:pt x="4710" y="24"/>
                  </a:lnTo>
                  <a:lnTo>
                    <a:pt x="4686" y="36"/>
                  </a:lnTo>
                  <a:lnTo>
                    <a:pt x="4674" y="36"/>
                  </a:lnTo>
                  <a:lnTo>
                    <a:pt x="4764" y="60"/>
                  </a:lnTo>
                  <a:lnTo>
                    <a:pt x="4674" y="48"/>
                  </a:lnTo>
                  <a:lnTo>
                    <a:pt x="4662" y="48"/>
                  </a:lnTo>
                  <a:lnTo>
                    <a:pt x="4590" y="36"/>
                  </a:lnTo>
                  <a:lnTo>
                    <a:pt x="4542" y="36"/>
                  </a:lnTo>
                  <a:lnTo>
                    <a:pt x="4530" y="48"/>
                  </a:lnTo>
                  <a:lnTo>
                    <a:pt x="4530" y="60"/>
                  </a:lnTo>
                  <a:lnTo>
                    <a:pt x="4512" y="60"/>
                  </a:lnTo>
                  <a:lnTo>
                    <a:pt x="4482" y="54"/>
                  </a:lnTo>
                  <a:lnTo>
                    <a:pt x="4392" y="54"/>
                  </a:lnTo>
                  <a:lnTo>
                    <a:pt x="4350" y="60"/>
                  </a:lnTo>
                  <a:lnTo>
                    <a:pt x="4302" y="66"/>
                  </a:lnTo>
                  <a:lnTo>
                    <a:pt x="4260" y="66"/>
                  </a:lnTo>
                  <a:lnTo>
                    <a:pt x="4242" y="72"/>
                  </a:lnTo>
                  <a:lnTo>
                    <a:pt x="4260" y="72"/>
                  </a:lnTo>
                  <a:lnTo>
                    <a:pt x="4266" y="78"/>
                  </a:lnTo>
                  <a:lnTo>
                    <a:pt x="4278" y="78"/>
                  </a:lnTo>
                  <a:lnTo>
                    <a:pt x="4362" y="84"/>
                  </a:lnTo>
                  <a:lnTo>
                    <a:pt x="4278" y="96"/>
                  </a:lnTo>
                  <a:lnTo>
                    <a:pt x="4284" y="96"/>
                  </a:lnTo>
                  <a:lnTo>
                    <a:pt x="4290" y="102"/>
                  </a:lnTo>
                  <a:lnTo>
                    <a:pt x="4314" y="114"/>
                  </a:lnTo>
                  <a:lnTo>
                    <a:pt x="4338" y="114"/>
                  </a:lnTo>
                  <a:lnTo>
                    <a:pt x="4356" y="108"/>
                  </a:lnTo>
                  <a:lnTo>
                    <a:pt x="4392" y="108"/>
                  </a:lnTo>
                  <a:lnTo>
                    <a:pt x="4398" y="102"/>
                  </a:lnTo>
                  <a:lnTo>
                    <a:pt x="4410" y="102"/>
                  </a:lnTo>
                  <a:lnTo>
                    <a:pt x="4416" y="96"/>
                  </a:lnTo>
                  <a:lnTo>
                    <a:pt x="4440" y="96"/>
                  </a:lnTo>
                  <a:lnTo>
                    <a:pt x="4458" y="90"/>
                  </a:lnTo>
                  <a:lnTo>
                    <a:pt x="4500" y="90"/>
                  </a:lnTo>
                  <a:lnTo>
                    <a:pt x="4518" y="96"/>
                  </a:lnTo>
                  <a:lnTo>
                    <a:pt x="4536" y="96"/>
                  </a:lnTo>
                  <a:lnTo>
                    <a:pt x="4548" y="102"/>
                  </a:lnTo>
                  <a:lnTo>
                    <a:pt x="4560" y="102"/>
                  </a:lnTo>
                  <a:lnTo>
                    <a:pt x="4494" y="102"/>
                  </a:lnTo>
                  <a:lnTo>
                    <a:pt x="4482" y="108"/>
                  </a:lnTo>
                  <a:lnTo>
                    <a:pt x="4458" y="108"/>
                  </a:lnTo>
                  <a:lnTo>
                    <a:pt x="4446" y="114"/>
                  </a:lnTo>
                  <a:lnTo>
                    <a:pt x="4434" y="114"/>
                  </a:lnTo>
                  <a:lnTo>
                    <a:pt x="4422" y="120"/>
                  </a:lnTo>
                  <a:lnTo>
                    <a:pt x="4410" y="120"/>
                  </a:lnTo>
                  <a:lnTo>
                    <a:pt x="4404" y="126"/>
                  </a:lnTo>
                  <a:lnTo>
                    <a:pt x="4398" y="126"/>
                  </a:lnTo>
                  <a:lnTo>
                    <a:pt x="4434" y="126"/>
                  </a:lnTo>
                  <a:lnTo>
                    <a:pt x="4452" y="132"/>
                  </a:lnTo>
                  <a:lnTo>
                    <a:pt x="4488" y="132"/>
                  </a:lnTo>
                  <a:lnTo>
                    <a:pt x="4500" y="126"/>
                  </a:lnTo>
                  <a:lnTo>
                    <a:pt x="4506" y="126"/>
                  </a:lnTo>
                  <a:lnTo>
                    <a:pt x="4512" y="120"/>
                  </a:lnTo>
                  <a:lnTo>
                    <a:pt x="4638" y="120"/>
                  </a:lnTo>
                  <a:lnTo>
                    <a:pt x="4656" y="114"/>
                  </a:lnTo>
                  <a:lnTo>
                    <a:pt x="4680" y="114"/>
                  </a:lnTo>
                  <a:lnTo>
                    <a:pt x="4698" y="108"/>
                  </a:lnTo>
                  <a:lnTo>
                    <a:pt x="4710" y="108"/>
                  </a:lnTo>
                  <a:lnTo>
                    <a:pt x="4722" y="96"/>
                  </a:lnTo>
                  <a:lnTo>
                    <a:pt x="4734" y="96"/>
                  </a:lnTo>
                  <a:lnTo>
                    <a:pt x="4752" y="90"/>
                  </a:lnTo>
                  <a:lnTo>
                    <a:pt x="4770" y="90"/>
                  </a:lnTo>
                  <a:lnTo>
                    <a:pt x="4782" y="84"/>
                  </a:lnTo>
                  <a:lnTo>
                    <a:pt x="4830" y="84"/>
                  </a:lnTo>
                  <a:lnTo>
                    <a:pt x="4746" y="114"/>
                  </a:lnTo>
                  <a:lnTo>
                    <a:pt x="4782" y="114"/>
                  </a:lnTo>
                  <a:lnTo>
                    <a:pt x="4734" y="126"/>
                  </a:lnTo>
                  <a:lnTo>
                    <a:pt x="4716" y="126"/>
                  </a:lnTo>
                  <a:lnTo>
                    <a:pt x="4674" y="132"/>
                  </a:lnTo>
                  <a:lnTo>
                    <a:pt x="4620" y="132"/>
                  </a:lnTo>
                  <a:lnTo>
                    <a:pt x="4566" y="138"/>
                  </a:lnTo>
                  <a:lnTo>
                    <a:pt x="4536" y="138"/>
                  </a:lnTo>
                  <a:lnTo>
                    <a:pt x="4524" y="150"/>
                  </a:lnTo>
                  <a:lnTo>
                    <a:pt x="4524" y="156"/>
                  </a:lnTo>
                  <a:lnTo>
                    <a:pt x="4602" y="174"/>
                  </a:lnTo>
                  <a:lnTo>
                    <a:pt x="4596" y="174"/>
                  </a:lnTo>
                  <a:lnTo>
                    <a:pt x="4590" y="180"/>
                  </a:lnTo>
                  <a:lnTo>
                    <a:pt x="4578" y="180"/>
                  </a:lnTo>
                  <a:lnTo>
                    <a:pt x="4566" y="186"/>
                  </a:lnTo>
                  <a:lnTo>
                    <a:pt x="4542" y="186"/>
                  </a:lnTo>
                  <a:lnTo>
                    <a:pt x="4518" y="174"/>
                  </a:lnTo>
                  <a:lnTo>
                    <a:pt x="4500" y="162"/>
                  </a:lnTo>
                  <a:lnTo>
                    <a:pt x="4476" y="150"/>
                  </a:lnTo>
                  <a:lnTo>
                    <a:pt x="4470" y="144"/>
                  </a:lnTo>
                  <a:lnTo>
                    <a:pt x="4356" y="144"/>
                  </a:lnTo>
                  <a:lnTo>
                    <a:pt x="4350" y="150"/>
                  </a:lnTo>
                  <a:lnTo>
                    <a:pt x="4344" y="162"/>
                  </a:lnTo>
                  <a:lnTo>
                    <a:pt x="4338" y="168"/>
                  </a:lnTo>
                  <a:lnTo>
                    <a:pt x="4368" y="186"/>
                  </a:lnTo>
                  <a:lnTo>
                    <a:pt x="4386" y="204"/>
                  </a:lnTo>
                  <a:lnTo>
                    <a:pt x="4410" y="216"/>
                  </a:lnTo>
                  <a:lnTo>
                    <a:pt x="4458" y="216"/>
                  </a:lnTo>
                  <a:lnTo>
                    <a:pt x="4476" y="210"/>
                  </a:lnTo>
                  <a:lnTo>
                    <a:pt x="4488" y="210"/>
                  </a:lnTo>
                  <a:lnTo>
                    <a:pt x="4476" y="216"/>
                  </a:lnTo>
                  <a:lnTo>
                    <a:pt x="4470" y="228"/>
                  </a:lnTo>
                  <a:lnTo>
                    <a:pt x="4398" y="228"/>
                  </a:lnTo>
                  <a:lnTo>
                    <a:pt x="4380" y="222"/>
                  </a:lnTo>
                  <a:lnTo>
                    <a:pt x="4350" y="222"/>
                  </a:lnTo>
                  <a:lnTo>
                    <a:pt x="4314" y="228"/>
                  </a:lnTo>
                  <a:lnTo>
                    <a:pt x="4272" y="234"/>
                  </a:lnTo>
                  <a:lnTo>
                    <a:pt x="4230" y="234"/>
                  </a:lnTo>
                  <a:lnTo>
                    <a:pt x="4218" y="240"/>
                  </a:lnTo>
                  <a:lnTo>
                    <a:pt x="4200" y="246"/>
                  </a:lnTo>
                  <a:lnTo>
                    <a:pt x="4188" y="258"/>
                  </a:lnTo>
                  <a:lnTo>
                    <a:pt x="4176" y="264"/>
                  </a:lnTo>
                  <a:lnTo>
                    <a:pt x="4170" y="270"/>
                  </a:lnTo>
                  <a:lnTo>
                    <a:pt x="4164" y="270"/>
                  </a:lnTo>
                  <a:lnTo>
                    <a:pt x="4236" y="258"/>
                  </a:lnTo>
                  <a:lnTo>
                    <a:pt x="4236" y="276"/>
                  </a:lnTo>
                  <a:lnTo>
                    <a:pt x="4296" y="258"/>
                  </a:lnTo>
                  <a:lnTo>
                    <a:pt x="4224" y="288"/>
                  </a:lnTo>
                  <a:lnTo>
                    <a:pt x="4230" y="288"/>
                  </a:lnTo>
                  <a:lnTo>
                    <a:pt x="4236" y="294"/>
                  </a:lnTo>
                  <a:lnTo>
                    <a:pt x="4248" y="300"/>
                  </a:lnTo>
                  <a:lnTo>
                    <a:pt x="4278" y="300"/>
                  </a:lnTo>
                  <a:lnTo>
                    <a:pt x="4314" y="288"/>
                  </a:lnTo>
                  <a:lnTo>
                    <a:pt x="4326" y="288"/>
                  </a:lnTo>
                  <a:lnTo>
                    <a:pt x="4344" y="282"/>
                  </a:lnTo>
                  <a:lnTo>
                    <a:pt x="4350" y="276"/>
                  </a:lnTo>
                  <a:lnTo>
                    <a:pt x="4356" y="276"/>
                  </a:lnTo>
                  <a:lnTo>
                    <a:pt x="4254" y="312"/>
                  </a:lnTo>
                  <a:lnTo>
                    <a:pt x="4188" y="312"/>
                  </a:lnTo>
                  <a:lnTo>
                    <a:pt x="4176" y="288"/>
                  </a:lnTo>
                  <a:lnTo>
                    <a:pt x="4164" y="288"/>
                  </a:lnTo>
                  <a:lnTo>
                    <a:pt x="4146" y="282"/>
                  </a:lnTo>
                  <a:lnTo>
                    <a:pt x="4110" y="282"/>
                  </a:lnTo>
                  <a:lnTo>
                    <a:pt x="4104" y="288"/>
                  </a:lnTo>
                  <a:lnTo>
                    <a:pt x="4104" y="300"/>
                  </a:lnTo>
                  <a:lnTo>
                    <a:pt x="4110" y="312"/>
                  </a:lnTo>
                  <a:lnTo>
                    <a:pt x="4110" y="318"/>
                  </a:lnTo>
                  <a:lnTo>
                    <a:pt x="4116" y="324"/>
                  </a:lnTo>
                  <a:lnTo>
                    <a:pt x="4092" y="324"/>
                  </a:lnTo>
                  <a:lnTo>
                    <a:pt x="4074" y="330"/>
                  </a:lnTo>
                  <a:lnTo>
                    <a:pt x="4032" y="330"/>
                  </a:lnTo>
                  <a:lnTo>
                    <a:pt x="4020" y="336"/>
                  </a:lnTo>
                  <a:lnTo>
                    <a:pt x="4002" y="342"/>
                  </a:lnTo>
                  <a:lnTo>
                    <a:pt x="3990" y="348"/>
                  </a:lnTo>
                  <a:lnTo>
                    <a:pt x="3972" y="354"/>
                  </a:lnTo>
                  <a:lnTo>
                    <a:pt x="3936" y="354"/>
                  </a:lnTo>
                  <a:lnTo>
                    <a:pt x="3924" y="360"/>
                  </a:lnTo>
                  <a:lnTo>
                    <a:pt x="3918" y="360"/>
                  </a:lnTo>
                  <a:lnTo>
                    <a:pt x="3924" y="360"/>
                  </a:lnTo>
                  <a:lnTo>
                    <a:pt x="3936" y="366"/>
                  </a:lnTo>
                  <a:lnTo>
                    <a:pt x="3978" y="366"/>
                  </a:lnTo>
                  <a:lnTo>
                    <a:pt x="3990" y="360"/>
                  </a:lnTo>
                  <a:lnTo>
                    <a:pt x="3996" y="354"/>
                  </a:lnTo>
                  <a:lnTo>
                    <a:pt x="3984" y="372"/>
                  </a:lnTo>
                  <a:lnTo>
                    <a:pt x="4020" y="366"/>
                  </a:lnTo>
                  <a:lnTo>
                    <a:pt x="4044" y="354"/>
                  </a:lnTo>
                  <a:lnTo>
                    <a:pt x="4044" y="372"/>
                  </a:lnTo>
                  <a:lnTo>
                    <a:pt x="4074" y="366"/>
                  </a:lnTo>
                  <a:lnTo>
                    <a:pt x="4098" y="366"/>
                  </a:lnTo>
                  <a:lnTo>
                    <a:pt x="4098" y="372"/>
                  </a:lnTo>
                  <a:lnTo>
                    <a:pt x="4104" y="378"/>
                  </a:lnTo>
                  <a:lnTo>
                    <a:pt x="4122" y="378"/>
                  </a:lnTo>
                  <a:lnTo>
                    <a:pt x="4146" y="366"/>
                  </a:lnTo>
                  <a:lnTo>
                    <a:pt x="4152" y="366"/>
                  </a:lnTo>
                  <a:lnTo>
                    <a:pt x="4164" y="360"/>
                  </a:lnTo>
                  <a:lnTo>
                    <a:pt x="4170" y="372"/>
                  </a:lnTo>
                  <a:lnTo>
                    <a:pt x="4200" y="354"/>
                  </a:lnTo>
                  <a:lnTo>
                    <a:pt x="4206" y="360"/>
                  </a:lnTo>
                  <a:lnTo>
                    <a:pt x="4212" y="372"/>
                  </a:lnTo>
                  <a:lnTo>
                    <a:pt x="4224" y="372"/>
                  </a:lnTo>
                  <a:lnTo>
                    <a:pt x="4236" y="366"/>
                  </a:lnTo>
                  <a:lnTo>
                    <a:pt x="4242" y="360"/>
                  </a:lnTo>
                  <a:lnTo>
                    <a:pt x="4248" y="360"/>
                  </a:lnTo>
                  <a:lnTo>
                    <a:pt x="4254" y="366"/>
                  </a:lnTo>
                  <a:lnTo>
                    <a:pt x="4266" y="372"/>
                  </a:lnTo>
                  <a:lnTo>
                    <a:pt x="4284" y="372"/>
                  </a:lnTo>
                  <a:lnTo>
                    <a:pt x="4290" y="366"/>
                  </a:lnTo>
                  <a:lnTo>
                    <a:pt x="4290" y="360"/>
                  </a:lnTo>
                  <a:lnTo>
                    <a:pt x="4284" y="354"/>
                  </a:lnTo>
                  <a:lnTo>
                    <a:pt x="4338" y="372"/>
                  </a:lnTo>
                  <a:lnTo>
                    <a:pt x="4344" y="378"/>
                  </a:lnTo>
                  <a:lnTo>
                    <a:pt x="4350" y="390"/>
                  </a:lnTo>
                  <a:lnTo>
                    <a:pt x="4374" y="390"/>
                  </a:lnTo>
                  <a:lnTo>
                    <a:pt x="4410" y="378"/>
                  </a:lnTo>
                  <a:lnTo>
                    <a:pt x="4440" y="372"/>
                  </a:lnTo>
                  <a:lnTo>
                    <a:pt x="4476" y="372"/>
                  </a:lnTo>
                  <a:lnTo>
                    <a:pt x="4494" y="366"/>
                  </a:lnTo>
                  <a:lnTo>
                    <a:pt x="4506" y="360"/>
                  </a:lnTo>
                  <a:lnTo>
                    <a:pt x="4524" y="342"/>
                  </a:lnTo>
                  <a:lnTo>
                    <a:pt x="4464" y="342"/>
                  </a:lnTo>
                  <a:lnTo>
                    <a:pt x="4470" y="336"/>
                  </a:lnTo>
                  <a:lnTo>
                    <a:pt x="4470" y="330"/>
                  </a:lnTo>
                  <a:lnTo>
                    <a:pt x="4416" y="330"/>
                  </a:lnTo>
                  <a:lnTo>
                    <a:pt x="4362" y="318"/>
                  </a:lnTo>
                  <a:lnTo>
                    <a:pt x="4380" y="300"/>
                  </a:lnTo>
                  <a:lnTo>
                    <a:pt x="4440" y="318"/>
                  </a:lnTo>
                  <a:lnTo>
                    <a:pt x="4452" y="318"/>
                  </a:lnTo>
                  <a:lnTo>
                    <a:pt x="4488" y="312"/>
                  </a:lnTo>
                  <a:lnTo>
                    <a:pt x="4566" y="312"/>
                  </a:lnTo>
                  <a:lnTo>
                    <a:pt x="4578" y="300"/>
                  </a:lnTo>
                  <a:lnTo>
                    <a:pt x="4578" y="288"/>
                  </a:lnTo>
                  <a:lnTo>
                    <a:pt x="4584" y="288"/>
                  </a:lnTo>
                  <a:lnTo>
                    <a:pt x="4590" y="282"/>
                  </a:lnTo>
                  <a:lnTo>
                    <a:pt x="4608" y="282"/>
                  </a:lnTo>
                  <a:lnTo>
                    <a:pt x="4626" y="276"/>
                  </a:lnTo>
                  <a:lnTo>
                    <a:pt x="4662" y="276"/>
                  </a:lnTo>
                  <a:lnTo>
                    <a:pt x="4680" y="270"/>
                  </a:lnTo>
                  <a:lnTo>
                    <a:pt x="4710" y="270"/>
                  </a:lnTo>
                  <a:lnTo>
                    <a:pt x="4722" y="264"/>
                  </a:lnTo>
                  <a:lnTo>
                    <a:pt x="4728" y="264"/>
                  </a:lnTo>
                  <a:lnTo>
                    <a:pt x="4704" y="246"/>
                  </a:lnTo>
                  <a:lnTo>
                    <a:pt x="4746" y="246"/>
                  </a:lnTo>
                  <a:lnTo>
                    <a:pt x="4770" y="240"/>
                  </a:lnTo>
                  <a:lnTo>
                    <a:pt x="4782" y="234"/>
                  </a:lnTo>
                  <a:lnTo>
                    <a:pt x="4776" y="228"/>
                  </a:lnTo>
                  <a:lnTo>
                    <a:pt x="4770" y="228"/>
                  </a:lnTo>
                  <a:lnTo>
                    <a:pt x="4758" y="222"/>
                  </a:lnTo>
                  <a:lnTo>
                    <a:pt x="4746" y="222"/>
                  </a:lnTo>
                  <a:lnTo>
                    <a:pt x="4734" y="216"/>
                  </a:lnTo>
                  <a:lnTo>
                    <a:pt x="4686" y="216"/>
                  </a:lnTo>
                  <a:lnTo>
                    <a:pt x="4674" y="210"/>
                  </a:lnTo>
                  <a:lnTo>
                    <a:pt x="4662" y="210"/>
                  </a:lnTo>
                  <a:lnTo>
                    <a:pt x="4662" y="204"/>
                  </a:lnTo>
                  <a:lnTo>
                    <a:pt x="4674" y="198"/>
                  </a:lnTo>
                  <a:lnTo>
                    <a:pt x="4686" y="198"/>
                  </a:lnTo>
                  <a:lnTo>
                    <a:pt x="4704" y="192"/>
                  </a:lnTo>
                  <a:lnTo>
                    <a:pt x="4716" y="186"/>
                  </a:lnTo>
                  <a:lnTo>
                    <a:pt x="4764" y="186"/>
                  </a:lnTo>
                  <a:lnTo>
                    <a:pt x="4782" y="192"/>
                  </a:lnTo>
                  <a:lnTo>
                    <a:pt x="4860" y="192"/>
                  </a:lnTo>
                  <a:lnTo>
                    <a:pt x="4878" y="186"/>
                  </a:lnTo>
                  <a:lnTo>
                    <a:pt x="4902" y="186"/>
                  </a:lnTo>
                  <a:lnTo>
                    <a:pt x="4896" y="180"/>
                  </a:lnTo>
                  <a:lnTo>
                    <a:pt x="4878" y="180"/>
                  </a:lnTo>
                  <a:lnTo>
                    <a:pt x="4866" y="174"/>
                  </a:lnTo>
                  <a:lnTo>
                    <a:pt x="4872" y="168"/>
                  </a:lnTo>
                  <a:lnTo>
                    <a:pt x="4902" y="162"/>
                  </a:lnTo>
                  <a:lnTo>
                    <a:pt x="4944" y="168"/>
                  </a:lnTo>
                  <a:lnTo>
                    <a:pt x="4974" y="174"/>
                  </a:lnTo>
                  <a:lnTo>
                    <a:pt x="4986" y="174"/>
                  </a:lnTo>
                  <a:lnTo>
                    <a:pt x="4992" y="168"/>
                  </a:lnTo>
                  <a:lnTo>
                    <a:pt x="4992" y="150"/>
                  </a:lnTo>
                  <a:lnTo>
                    <a:pt x="5070" y="156"/>
                  </a:lnTo>
                  <a:lnTo>
                    <a:pt x="5070" y="132"/>
                  </a:lnTo>
                  <a:lnTo>
                    <a:pt x="5082" y="132"/>
                  </a:lnTo>
                  <a:lnTo>
                    <a:pt x="5094" y="138"/>
                  </a:lnTo>
                  <a:lnTo>
                    <a:pt x="5112" y="138"/>
                  </a:lnTo>
                  <a:lnTo>
                    <a:pt x="5136" y="126"/>
                  </a:lnTo>
                  <a:lnTo>
                    <a:pt x="5148" y="126"/>
                  </a:lnTo>
                  <a:lnTo>
                    <a:pt x="5154" y="120"/>
                  </a:lnTo>
                  <a:lnTo>
                    <a:pt x="5172" y="120"/>
                  </a:lnTo>
                  <a:lnTo>
                    <a:pt x="5208" y="114"/>
                  </a:lnTo>
                  <a:lnTo>
                    <a:pt x="5256" y="102"/>
                  </a:lnTo>
                  <a:lnTo>
                    <a:pt x="5298" y="96"/>
                  </a:lnTo>
                  <a:lnTo>
                    <a:pt x="5322" y="90"/>
                  </a:lnTo>
                  <a:lnTo>
                    <a:pt x="5340" y="90"/>
                  </a:lnTo>
                  <a:lnTo>
                    <a:pt x="5346" y="84"/>
                  </a:lnTo>
                  <a:lnTo>
                    <a:pt x="5238" y="84"/>
                  </a:lnTo>
                  <a:lnTo>
                    <a:pt x="5214" y="96"/>
                  </a:lnTo>
                  <a:lnTo>
                    <a:pt x="5142" y="96"/>
                  </a:lnTo>
                  <a:lnTo>
                    <a:pt x="5226" y="90"/>
                  </a:lnTo>
                  <a:lnTo>
                    <a:pt x="5220" y="78"/>
                  </a:lnTo>
                  <a:lnTo>
                    <a:pt x="5268" y="84"/>
                  </a:lnTo>
                  <a:lnTo>
                    <a:pt x="5274" y="78"/>
                  </a:lnTo>
                  <a:lnTo>
                    <a:pt x="5286" y="72"/>
                  </a:lnTo>
                  <a:lnTo>
                    <a:pt x="5358" y="72"/>
                  </a:lnTo>
                  <a:lnTo>
                    <a:pt x="5406" y="66"/>
                  </a:lnTo>
                  <a:lnTo>
                    <a:pt x="5454" y="66"/>
                  </a:lnTo>
                  <a:lnTo>
                    <a:pt x="5484" y="60"/>
                  </a:lnTo>
                  <a:lnTo>
                    <a:pt x="5496" y="60"/>
                  </a:lnTo>
                  <a:lnTo>
                    <a:pt x="5514" y="54"/>
                  </a:lnTo>
                  <a:lnTo>
                    <a:pt x="5532" y="54"/>
                  </a:lnTo>
                  <a:lnTo>
                    <a:pt x="5550" y="48"/>
                  </a:lnTo>
                  <a:lnTo>
                    <a:pt x="5562" y="42"/>
                  </a:lnTo>
                  <a:lnTo>
                    <a:pt x="5574" y="42"/>
                  </a:lnTo>
                  <a:lnTo>
                    <a:pt x="5574" y="36"/>
                  </a:lnTo>
                  <a:close/>
                  <a:moveTo>
                    <a:pt x="4032" y="966"/>
                  </a:moveTo>
                  <a:lnTo>
                    <a:pt x="4086" y="966"/>
                  </a:lnTo>
                  <a:lnTo>
                    <a:pt x="4134" y="942"/>
                  </a:lnTo>
                  <a:lnTo>
                    <a:pt x="4140" y="930"/>
                  </a:lnTo>
                  <a:lnTo>
                    <a:pt x="4134" y="918"/>
                  </a:lnTo>
                  <a:lnTo>
                    <a:pt x="4134" y="912"/>
                  </a:lnTo>
                  <a:lnTo>
                    <a:pt x="4122" y="906"/>
                  </a:lnTo>
                  <a:lnTo>
                    <a:pt x="4074" y="906"/>
                  </a:lnTo>
                  <a:lnTo>
                    <a:pt x="4062" y="912"/>
                  </a:lnTo>
                  <a:lnTo>
                    <a:pt x="4050" y="912"/>
                  </a:lnTo>
                  <a:lnTo>
                    <a:pt x="4026" y="924"/>
                  </a:lnTo>
                  <a:lnTo>
                    <a:pt x="4014" y="936"/>
                  </a:lnTo>
                  <a:lnTo>
                    <a:pt x="4002" y="942"/>
                  </a:lnTo>
                  <a:lnTo>
                    <a:pt x="4002" y="954"/>
                  </a:lnTo>
                  <a:lnTo>
                    <a:pt x="4014" y="960"/>
                  </a:lnTo>
                  <a:lnTo>
                    <a:pt x="4032" y="966"/>
                  </a:lnTo>
                  <a:close/>
                  <a:moveTo>
                    <a:pt x="4014" y="840"/>
                  </a:moveTo>
                  <a:lnTo>
                    <a:pt x="4002" y="840"/>
                  </a:lnTo>
                  <a:lnTo>
                    <a:pt x="3990" y="846"/>
                  </a:lnTo>
                  <a:lnTo>
                    <a:pt x="3984" y="852"/>
                  </a:lnTo>
                  <a:lnTo>
                    <a:pt x="3972" y="852"/>
                  </a:lnTo>
                  <a:lnTo>
                    <a:pt x="3990" y="852"/>
                  </a:lnTo>
                  <a:lnTo>
                    <a:pt x="4008" y="846"/>
                  </a:lnTo>
                  <a:lnTo>
                    <a:pt x="4026" y="846"/>
                  </a:lnTo>
                  <a:lnTo>
                    <a:pt x="4044" y="840"/>
                  </a:lnTo>
                  <a:lnTo>
                    <a:pt x="4050" y="834"/>
                  </a:lnTo>
                  <a:lnTo>
                    <a:pt x="4056" y="834"/>
                  </a:lnTo>
                  <a:lnTo>
                    <a:pt x="4068" y="822"/>
                  </a:lnTo>
                  <a:lnTo>
                    <a:pt x="4050" y="822"/>
                  </a:lnTo>
                  <a:lnTo>
                    <a:pt x="4044" y="828"/>
                  </a:lnTo>
                  <a:lnTo>
                    <a:pt x="4032" y="828"/>
                  </a:lnTo>
                  <a:lnTo>
                    <a:pt x="4020" y="834"/>
                  </a:lnTo>
                  <a:lnTo>
                    <a:pt x="4014" y="840"/>
                  </a:lnTo>
                  <a:close/>
                  <a:moveTo>
                    <a:pt x="4122" y="822"/>
                  </a:moveTo>
                  <a:lnTo>
                    <a:pt x="4104" y="822"/>
                  </a:lnTo>
                  <a:lnTo>
                    <a:pt x="4098" y="828"/>
                  </a:lnTo>
                  <a:lnTo>
                    <a:pt x="4098" y="840"/>
                  </a:lnTo>
                  <a:lnTo>
                    <a:pt x="4104" y="846"/>
                  </a:lnTo>
                  <a:lnTo>
                    <a:pt x="4110" y="840"/>
                  </a:lnTo>
                  <a:lnTo>
                    <a:pt x="4116" y="840"/>
                  </a:lnTo>
                  <a:lnTo>
                    <a:pt x="4128" y="828"/>
                  </a:lnTo>
                  <a:lnTo>
                    <a:pt x="4122" y="822"/>
                  </a:lnTo>
                  <a:close/>
                  <a:moveTo>
                    <a:pt x="3528" y="1062"/>
                  </a:moveTo>
                  <a:lnTo>
                    <a:pt x="3522" y="1062"/>
                  </a:lnTo>
                  <a:lnTo>
                    <a:pt x="3504" y="1080"/>
                  </a:lnTo>
                  <a:lnTo>
                    <a:pt x="3504" y="1086"/>
                  </a:lnTo>
                  <a:lnTo>
                    <a:pt x="3510" y="1092"/>
                  </a:lnTo>
                  <a:lnTo>
                    <a:pt x="3528" y="1092"/>
                  </a:lnTo>
                  <a:lnTo>
                    <a:pt x="3534" y="1086"/>
                  </a:lnTo>
                  <a:lnTo>
                    <a:pt x="3540" y="1074"/>
                  </a:lnTo>
                  <a:lnTo>
                    <a:pt x="3540" y="1068"/>
                  </a:lnTo>
                  <a:lnTo>
                    <a:pt x="3534" y="1062"/>
                  </a:lnTo>
                  <a:lnTo>
                    <a:pt x="3528" y="1062"/>
                  </a:lnTo>
                  <a:close/>
                  <a:moveTo>
                    <a:pt x="3588" y="1062"/>
                  </a:moveTo>
                  <a:lnTo>
                    <a:pt x="3582" y="1062"/>
                  </a:lnTo>
                  <a:lnTo>
                    <a:pt x="3576" y="1068"/>
                  </a:lnTo>
                  <a:lnTo>
                    <a:pt x="3576" y="1080"/>
                  </a:lnTo>
                  <a:lnTo>
                    <a:pt x="3582" y="1086"/>
                  </a:lnTo>
                  <a:lnTo>
                    <a:pt x="3594" y="1086"/>
                  </a:lnTo>
                  <a:lnTo>
                    <a:pt x="3600" y="1080"/>
                  </a:lnTo>
                  <a:lnTo>
                    <a:pt x="3600" y="1068"/>
                  </a:lnTo>
                  <a:lnTo>
                    <a:pt x="3588" y="1062"/>
                  </a:lnTo>
                  <a:close/>
                  <a:moveTo>
                    <a:pt x="3756" y="1242"/>
                  </a:moveTo>
                  <a:lnTo>
                    <a:pt x="3744" y="1248"/>
                  </a:lnTo>
                  <a:lnTo>
                    <a:pt x="3744" y="1260"/>
                  </a:lnTo>
                  <a:lnTo>
                    <a:pt x="3750" y="1266"/>
                  </a:lnTo>
                  <a:lnTo>
                    <a:pt x="3762" y="1272"/>
                  </a:lnTo>
                  <a:lnTo>
                    <a:pt x="3768" y="1272"/>
                  </a:lnTo>
                  <a:lnTo>
                    <a:pt x="3786" y="1254"/>
                  </a:lnTo>
                  <a:lnTo>
                    <a:pt x="3786" y="1242"/>
                  </a:lnTo>
                  <a:lnTo>
                    <a:pt x="3780" y="1236"/>
                  </a:lnTo>
                  <a:lnTo>
                    <a:pt x="3768" y="1236"/>
                  </a:lnTo>
                  <a:lnTo>
                    <a:pt x="3756" y="1242"/>
                  </a:lnTo>
                  <a:close/>
                  <a:moveTo>
                    <a:pt x="3984" y="2532"/>
                  </a:moveTo>
                  <a:lnTo>
                    <a:pt x="3948" y="2520"/>
                  </a:lnTo>
                  <a:lnTo>
                    <a:pt x="3942" y="2514"/>
                  </a:lnTo>
                  <a:lnTo>
                    <a:pt x="3936" y="2514"/>
                  </a:lnTo>
                  <a:lnTo>
                    <a:pt x="3924" y="2526"/>
                  </a:lnTo>
                  <a:lnTo>
                    <a:pt x="3930" y="2532"/>
                  </a:lnTo>
                  <a:lnTo>
                    <a:pt x="3942" y="2538"/>
                  </a:lnTo>
                  <a:lnTo>
                    <a:pt x="3948" y="2544"/>
                  </a:lnTo>
                  <a:lnTo>
                    <a:pt x="3954" y="2544"/>
                  </a:lnTo>
                  <a:lnTo>
                    <a:pt x="3960" y="2550"/>
                  </a:lnTo>
                  <a:lnTo>
                    <a:pt x="3996" y="2550"/>
                  </a:lnTo>
                  <a:lnTo>
                    <a:pt x="4008" y="2556"/>
                  </a:lnTo>
                  <a:lnTo>
                    <a:pt x="4020" y="2556"/>
                  </a:lnTo>
                  <a:lnTo>
                    <a:pt x="4038" y="2538"/>
                  </a:lnTo>
                  <a:lnTo>
                    <a:pt x="4008" y="2538"/>
                  </a:lnTo>
                  <a:lnTo>
                    <a:pt x="3984" y="2532"/>
                  </a:lnTo>
                  <a:close/>
                  <a:moveTo>
                    <a:pt x="4098" y="2280"/>
                  </a:moveTo>
                  <a:lnTo>
                    <a:pt x="4092" y="2280"/>
                  </a:lnTo>
                  <a:lnTo>
                    <a:pt x="4086" y="2274"/>
                  </a:lnTo>
                  <a:lnTo>
                    <a:pt x="4050" y="2274"/>
                  </a:lnTo>
                  <a:lnTo>
                    <a:pt x="4032" y="2268"/>
                  </a:lnTo>
                  <a:lnTo>
                    <a:pt x="3996" y="2268"/>
                  </a:lnTo>
                  <a:lnTo>
                    <a:pt x="4002" y="2274"/>
                  </a:lnTo>
                  <a:lnTo>
                    <a:pt x="4008" y="2274"/>
                  </a:lnTo>
                  <a:lnTo>
                    <a:pt x="4014" y="2280"/>
                  </a:lnTo>
                  <a:lnTo>
                    <a:pt x="4026" y="2286"/>
                  </a:lnTo>
                  <a:lnTo>
                    <a:pt x="4032" y="2286"/>
                  </a:lnTo>
                  <a:lnTo>
                    <a:pt x="4032" y="2304"/>
                  </a:lnTo>
                  <a:lnTo>
                    <a:pt x="4044" y="2304"/>
                  </a:lnTo>
                  <a:lnTo>
                    <a:pt x="4080" y="2310"/>
                  </a:lnTo>
                  <a:lnTo>
                    <a:pt x="4128" y="2316"/>
                  </a:lnTo>
                  <a:lnTo>
                    <a:pt x="4164" y="2316"/>
                  </a:lnTo>
                  <a:lnTo>
                    <a:pt x="4170" y="2310"/>
                  </a:lnTo>
                  <a:lnTo>
                    <a:pt x="4170" y="2304"/>
                  </a:lnTo>
                  <a:lnTo>
                    <a:pt x="4164" y="2304"/>
                  </a:lnTo>
                  <a:lnTo>
                    <a:pt x="4152" y="2292"/>
                  </a:lnTo>
                  <a:lnTo>
                    <a:pt x="4128" y="2286"/>
                  </a:lnTo>
                  <a:lnTo>
                    <a:pt x="4098" y="2280"/>
                  </a:lnTo>
                  <a:close/>
                  <a:moveTo>
                    <a:pt x="4194" y="2550"/>
                  </a:moveTo>
                  <a:lnTo>
                    <a:pt x="4164" y="2550"/>
                  </a:lnTo>
                  <a:lnTo>
                    <a:pt x="4152" y="2556"/>
                  </a:lnTo>
                  <a:lnTo>
                    <a:pt x="4146" y="2562"/>
                  </a:lnTo>
                  <a:lnTo>
                    <a:pt x="4182" y="2526"/>
                  </a:lnTo>
                  <a:lnTo>
                    <a:pt x="4176" y="2520"/>
                  </a:lnTo>
                  <a:lnTo>
                    <a:pt x="4152" y="2520"/>
                  </a:lnTo>
                  <a:lnTo>
                    <a:pt x="4140" y="2526"/>
                  </a:lnTo>
                  <a:lnTo>
                    <a:pt x="4128" y="2538"/>
                  </a:lnTo>
                  <a:lnTo>
                    <a:pt x="4104" y="2574"/>
                  </a:lnTo>
                  <a:lnTo>
                    <a:pt x="4164" y="2568"/>
                  </a:lnTo>
                  <a:lnTo>
                    <a:pt x="4176" y="2568"/>
                  </a:lnTo>
                  <a:lnTo>
                    <a:pt x="4182" y="2562"/>
                  </a:lnTo>
                  <a:lnTo>
                    <a:pt x="4194" y="2562"/>
                  </a:lnTo>
                  <a:lnTo>
                    <a:pt x="4200" y="2556"/>
                  </a:lnTo>
                  <a:lnTo>
                    <a:pt x="4200" y="2550"/>
                  </a:lnTo>
                  <a:lnTo>
                    <a:pt x="4194" y="2550"/>
                  </a:lnTo>
                  <a:close/>
                  <a:moveTo>
                    <a:pt x="4590" y="1962"/>
                  </a:moveTo>
                  <a:lnTo>
                    <a:pt x="4578" y="1974"/>
                  </a:lnTo>
                  <a:lnTo>
                    <a:pt x="4578" y="1980"/>
                  </a:lnTo>
                  <a:lnTo>
                    <a:pt x="4572" y="1986"/>
                  </a:lnTo>
                  <a:lnTo>
                    <a:pt x="4566" y="1986"/>
                  </a:lnTo>
                  <a:lnTo>
                    <a:pt x="4554" y="1974"/>
                  </a:lnTo>
                  <a:lnTo>
                    <a:pt x="4554" y="1962"/>
                  </a:lnTo>
                  <a:lnTo>
                    <a:pt x="4566" y="1962"/>
                  </a:lnTo>
                  <a:lnTo>
                    <a:pt x="4572" y="1956"/>
                  </a:lnTo>
                  <a:lnTo>
                    <a:pt x="4566" y="1932"/>
                  </a:lnTo>
                  <a:lnTo>
                    <a:pt x="4536" y="1926"/>
                  </a:lnTo>
                  <a:lnTo>
                    <a:pt x="4530" y="1926"/>
                  </a:lnTo>
                  <a:lnTo>
                    <a:pt x="4524" y="1932"/>
                  </a:lnTo>
                  <a:lnTo>
                    <a:pt x="4512" y="1938"/>
                  </a:lnTo>
                  <a:lnTo>
                    <a:pt x="4494" y="1944"/>
                  </a:lnTo>
                  <a:lnTo>
                    <a:pt x="4470" y="1956"/>
                  </a:lnTo>
                  <a:lnTo>
                    <a:pt x="4464" y="1962"/>
                  </a:lnTo>
                  <a:lnTo>
                    <a:pt x="4458" y="1962"/>
                  </a:lnTo>
                  <a:lnTo>
                    <a:pt x="4446" y="1968"/>
                  </a:lnTo>
                  <a:lnTo>
                    <a:pt x="4434" y="1968"/>
                  </a:lnTo>
                  <a:lnTo>
                    <a:pt x="4416" y="1974"/>
                  </a:lnTo>
                  <a:lnTo>
                    <a:pt x="4404" y="1974"/>
                  </a:lnTo>
                  <a:lnTo>
                    <a:pt x="4374" y="1998"/>
                  </a:lnTo>
                  <a:lnTo>
                    <a:pt x="4386" y="1974"/>
                  </a:lnTo>
                  <a:lnTo>
                    <a:pt x="4362" y="1956"/>
                  </a:lnTo>
                  <a:lnTo>
                    <a:pt x="4398" y="1968"/>
                  </a:lnTo>
                  <a:lnTo>
                    <a:pt x="4410" y="1956"/>
                  </a:lnTo>
                  <a:lnTo>
                    <a:pt x="4440" y="1950"/>
                  </a:lnTo>
                  <a:lnTo>
                    <a:pt x="4440" y="1932"/>
                  </a:lnTo>
                  <a:lnTo>
                    <a:pt x="4494" y="1932"/>
                  </a:lnTo>
                  <a:lnTo>
                    <a:pt x="4518" y="1920"/>
                  </a:lnTo>
                  <a:lnTo>
                    <a:pt x="4524" y="1914"/>
                  </a:lnTo>
                  <a:lnTo>
                    <a:pt x="4536" y="1908"/>
                  </a:lnTo>
                  <a:lnTo>
                    <a:pt x="4608" y="1908"/>
                  </a:lnTo>
                  <a:lnTo>
                    <a:pt x="4602" y="1902"/>
                  </a:lnTo>
                  <a:lnTo>
                    <a:pt x="4596" y="1902"/>
                  </a:lnTo>
                  <a:lnTo>
                    <a:pt x="4584" y="1896"/>
                  </a:lnTo>
                  <a:lnTo>
                    <a:pt x="4578" y="1890"/>
                  </a:lnTo>
                  <a:lnTo>
                    <a:pt x="4578" y="1866"/>
                  </a:lnTo>
                  <a:lnTo>
                    <a:pt x="4572" y="1866"/>
                  </a:lnTo>
                  <a:lnTo>
                    <a:pt x="4566" y="1872"/>
                  </a:lnTo>
                  <a:lnTo>
                    <a:pt x="4542" y="1872"/>
                  </a:lnTo>
                  <a:lnTo>
                    <a:pt x="4530" y="1878"/>
                  </a:lnTo>
                  <a:lnTo>
                    <a:pt x="4518" y="1878"/>
                  </a:lnTo>
                  <a:lnTo>
                    <a:pt x="4518" y="1866"/>
                  </a:lnTo>
                  <a:lnTo>
                    <a:pt x="4512" y="1860"/>
                  </a:lnTo>
                  <a:lnTo>
                    <a:pt x="4452" y="1878"/>
                  </a:lnTo>
                  <a:lnTo>
                    <a:pt x="4458" y="1848"/>
                  </a:lnTo>
                  <a:lnTo>
                    <a:pt x="4410" y="1860"/>
                  </a:lnTo>
                  <a:lnTo>
                    <a:pt x="4416" y="1854"/>
                  </a:lnTo>
                  <a:lnTo>
                    <a:pt x="4422" y="1842"/>
                  </a:lnTo>
                  <a:lnTo>
                    <a:pt x="4440" y="1824"/>
                  </a:lnTo>
                  <a:lnTo>
                    <a:pt x="4446" y="1812"/>
                  </a:lnTo>
                  <a:lnTo>
                    <a:pt x="4446" y="1800"/>
                  </a:lnTo>
                  <a:lnTo>
                    <a:pt x="4434" y="1800"/>
                  </a:lnTo>
                  <a:lnTo>
                    <a:pt x="4422" y="1794"/>
                  </a:lnTo>
                  <a:lnTo>
                    <a:pt x="4398" y="1794"/>
                  </a:lnTo>
                  <a:lnTo>
                    <a:pt x="4404" y="1770"/>
                  </a:lnTo>
                  <a:lnTo>
                    <a:pt x="4368" y="1770"/>
                  </a:lnTo>
                  <a:lnTo>
                    <a:pt x="4380" y="1752"/>
                  </a:lnTo>
                  <a:lnTo>
                    <a:pt x="4356" y="1728"/>
                  </a:lnTo>
                  <a:lnTo>
                    <a:pt x="4368" y="1728"/>
                  </a:lnTo>
                  <a:lnTo>
                    <a:pt x="4380" y="1734"/>
                  </a:lnTo>
                  <a:lnTo>
                    <a:pt x="4404" y="1734"/>
                  </a:lnTo>
                  <a:lnTo>
                    <a:pt x="4410" y="1728"/>
                  </a:lnTo>
                  <a:lnTo>
                    <a:pt x="4422" y="1722"/>
                  </a:lnTo>
                  <a:lnTo>
                    <a:pt x="4434" y="1710"/>
                  </a:lnTo>
                  <a:lnTo>
                    <a:pt x="4440" y="1710"/>
                  </a:lnTo>
                  <a:lnTo>
                    <a:pt x="4398" y="1686"/>
                  </a:lnTo>
                  <a:lnTo>
                    <a:pt x="4446" y="1656"/>
                  </a:lnTo>
                  <a:lnTo>
                    <a:pt x="4398" y="1632"/>
                  </a:lnTo>
                  <a:lnTo>
                    <a:pt x="4350" y="1638"/>
                  </a:lnTo>
                  <a:lnTo>
                    <a:pt x="4404" y="1614"/>
                  </a:lnTo>
                  <a:lnTo>
                    <a:pt x="4368" y="1608"/>
                  </a:lnTo>
                  <a:lnTo>
                    <a:pt x="4410" y="1584"/>
                  </a:lnTo>
                  <a:lnTo>
                    <a:pt x="4404" y="1560"/>
                  </a:lnTo>
                  <a:lnTo>
                    <a:pt x="4374" y="1560"/>
                  </a:lnTo>
                  <a:lnTo>
                    <a:pt x="4380" y="1554"/>
                  </a:lnTo>
                  <a:lnTo>
                    <a:pt x="4392" y="1530"/>
                  </a:lnTo>
                  <a:lnTo>
                    <a:pt x="4374" y="1494"/>
                  </a:lnTo>
                  <a:lnTo>
                    <a:pt x="4362" y="1494"/>
                  </a:lnTo>
                  <a:lnTo>
                    <a:pt x="4374" y="1470"/>
                  </a:lnTo>
                  <a:lnTo>
                    <a:pt x="4362" y="1476"/>
                  </a:lnTo>
                  <a:lnTo>
                    <a:pt x="4356" y="1482"/>
                  </a:lnTo>
                  <a:lnTo>
                    <a:pt x="4344" y="1488"/>
                  </a:lnTo>
                  <a:lnTo>
                    <a:pt x="4332" y="1500"/>
                  </a:lnTo>
                  <a:lnTo>
                    <a:pt x="4332" y="1518"/>
                  </a:lnTo>
                  <a:lnTo>
                    <a:pt x="4302" y="1506"/>
                  </a:lnTo>
                  <a:lnTo>
                    <a:pt x="4308" y="1542"/>
                  </a:lnTo>
                  <a:lnTo>
                    <a:pt x="4284" y="1542"/>
                  </a:lnTo>
                  <a:lnTo>
                    <a:pt x="4272" y="1560"/>
                  </a:lnTo>
                  <a:lnTo>
                    <a:pt x="4278" y="1572"/>
                  </a:lnTo>
                  <a:lnTo>
                    <a:pt x="4254" y="1572"/>
                  </a:lnTo>
                  <a:lnTo>
                    <a:pt x="4230" y="1614"/>
                  </a:lnTo>
                  <a:lnTo>
                    <a:pt x="4218" y="1614"/>
                  </a:lnTo>
                  <a:lnTo>
                    <a:pt x="4236" y="1578"/>
                  </a:lnTo>
                  <a:lnTo>
                    <a:pt x="4224" y="1566"/>
                  </a:lnTo>
                  <a:lnTo>
                    <a:pt x="4212" y="1566"/>
                  </a:lnTo>
                  <a:lnTo>
                    <a:pt x="4194" y="1584"/>
                  </a:lnTo>
                  <a:lnTo>
                    <a:pt x="4182" y="1590"/>
                  </a:lnTo>
                  <a:lnTo>
                    <a:pt x="4176" y="1596"/>
                  </a:lnTo>
                  <a:lnTo>
                    <a:pt x="4164" y="1602"/>
                  </a:lnTo>
                  <a:lnTo>
                    <a:pt x="4158" y="1608"/>
                  </a:lnTo>
                  <a:lnTo>
                    <a:pt x="4146" y="1614"/>
                  </a:lnTo>
                  <a:lnTo>
                    <a:pt x="4140" y="1620"/>
                  </a:lnTo>
                  <a:lnTo>
                    <a:pt x="4116" y="1632"/>
                  </a:lnTo>
                  <a:lnTo>
                    <a:pt x="4110" y="1638"/>
                  </a:lnTo>
                  <a:lnTo>
                    <a:pt x="4116" y="1614"/>
                  </a:lnTo>
                  <a:lnTo>
                    <a:pt x="4116" y="1596"/>
                  </a:lnTo>
                  <a:lnTo>
                    <a:pt x="4080" y="1632"/>
                  </a:lnTo>
                  <a:lnTo>
                    <a:pt x="4014" y="1644"/>
                  </a:lnTo>
                  <a:lnTo>
                    <a:pt x="4074" y="1626"/>
                  </a:lnTo>
                  <a:lnTo>
                    <a:pt x="4080" y="1620"/>
                  </a:lnTo>
                  <a:lnTo>
                    <a:pt x="4092" y="1596"/>
                  </a:lnTo>
                  <a:lnTo>
                    <a:pt x="4098" y="1590"/>
                  </a:lnTo>
                  <a:lnTo>
                    <a:pt x="4098" y="1578"/>
                  </a:lnTo>
                  <a:lnTo>
                    <a:pt x="4092" y="1572"/>
                  </a:lnTo>
                  <a:lnTo>
                    <a:pt x="4050" y="1572"/>
                  </a:lnTo>
                  <a:lnTo>
                    <a:pt x="4038" y="1578"/>
                  </a:lnTo>
                  <a:lnTo>
                    <a:pt x="4032" y="1578"/>
                  </a:lnTo>
                  <a:lnTo>
                    <a:pt x="4020" y="1584"/>
                  </a:lnTo>
                  <a:lnTo>
                    <a:pt x="4002" y="1584"/>
                  </a:lnTo>
                  <a:lnTo>
                    <a:pt x="4002" y="1578"/>
                  </a:lnTo>
                  <a:lnTo>
                    <a:pt x="4008" y="1572"/>
                  </a:lnTo>
                  <a:lnTo>
                    <a:pt x="4020" y="1566"/>
                  </a:lnTo>
                  <a:lnTo>
                    <a:pt x="4026" y="1560"/>
                  </a:lnTo>
                  <a:lnTo>
                    <a:pt x="4032" y="1560"/>
                  </a:lnTo>
                  <a:lnTo>
                    <a:pt x="4032" y="1572"/>
                  </a:lnTo>
                  <a:lnTo>
                    <a:pt x="4050" y="1560"/>
                  </a:lnTo>
                  <a:lnTo>
                    <a:pt x="4044" y="1536"/>
                  </a:lnTo>
                  <a:lnTo>
                    <a:pt x="4050" y="1530"/>
                  </a:lnTo>
                  <a:lnTo>
                    <a:pt x="4062" y="1524"/>
                  </a:lnTo>
                  <a:lnTo>
                    <a:pt x="4074" y="1512"/>
                  </a:lnTo>
                  <a:lnTo>
                    <a:pt x="4074" y="1506"/>
                  </a:lnTo>
                  <a:lnTo>
                    <a:pt x="4068" y="1500"/>
                  </a:lnTo>
                  <a:lnTo>
                    <a:pt x="4056" y="1494"/>
                  </a:lnTo>
                  <a:lnTo>
                    <a:pt x="4044" y="1494"/>
                  </a:lnTo>
                  <a:lnTo>
                    <a:pt x="4032" y="1488"/>
                  </a:lnTo>
                  <a:lnTo>
                    <a:pt x="4014" y="1488"/>
                  </a:lnTo>
                  <a:lnTo>
                    <a:pt x="4044" y="1488"/>
                  </a:lnTo>
                  <a:lnTo>
                    <a:pt x="4056" y="1482"/>
                  </a:lnTo>
                  <a:lnTo>
                    <a:pt x="4074" y="1482"/>
                  </a:lnTo>
                  <a:lnTo>
                    <a:pt x="4086" y="1470"/>
                  </a:lnTo>
                  <a:lnTo>
                    <a:pt x="4098" y="1446"/>
                  </a:lnTo>
                  <a:lnTo>
                    <a:pt x="4104" y="1440"/>
                  </a:lnTo>
                  <a:lnTo>
                    <a:pt x="4110" y="1440"/>
                  </a:lnTo>
                  <a:lnTo>
                    <a:pt x="4122" y="1434"/>
                  </a:lnTo>
                  <a:lnTo>
                    <a:pt x="4128" y="1434"/>
                  </a:lnTo>
                  <a:lnTo>
                    <a:pt x="4134" y="1428"/>
                  </a:lnTo>
                  <a:lnTo>
                    <a:pt x="4122" y="1416"/>
                  </a:lnTo>
                  <a:lnTo>
                    <a:pt x="4110" y="1422"/>
                  </a:lnTo>
                  <a:lnTo>
                    <a:pt x="4098" y="1434"/>
                  </a:lnTo>
                  <a:lnTo>
                    <a:pt x="4092" y="1404"/>
                  </a:lnTo>
                  <a:lnTo>
                    <a:pt x="4068" y="1404"/>
                  </a:lnTo>
                  <a:lnTo>
                    <a:pt x="4050" y="1410"/>
                  </a:lnTo>
                  <a:lnTo>
                    <a:pt x="4026" y="1410"/>
                  </a:lnTo>
                  <a:lnTo>
                    <a:pt x="4020" y="1404"/>
                  </a:lnTo>
                  <a:lnTo>
                    <a:pt x="4020" y="1386"/>
                  </a:lnTo>
                  <a:lnTo>
                    <a:pt x="4038" y="1368"/>
                  </a:lnTo>
                  <a:lnTo>
                    <a:pt x="4032" y="1362"/>
                  </a:lnTo>
                  <a:lnTo>
                    <a:pt x="4014" y="1362"/>
                  </a:lnTo>
                  <a:lnTo>
                    <a:pt x="4008" y="1368"/>
                  </a:lnTo>
                  <a:lnTo>
                    <a:pt x="4020" y="1344"/>
                  </a:lnTo>
                  <a:lnTo>
                    <a:pt x="3984" y="1350"/>
                  </a:lnTo>
                  <a:lnTo>
                    <a:pt x="3984" y="1326"/>
                  </a:lnTo>
                  <a:lnTo>
                    <a:pt x="3978" y="1314"/>
                  </a:lnTo>
                  <a:lnTo>
                    <a:pt x="3972" y="1308"/>
                  </a:lnTo>
                  <a:lnTo>
                    <a:pt x="3948" y="1308"/>
                  </a:lnTo>
                  <a:lnTo>
                    <a:pt x="3930" y="1314"/>
                  </a:lnTo>
                  <a:lnTo>
                    <a:pt x="3906" y="1326"/>
                  </a:lnTo>
                  <a:lnTo>
                    <a:pt x="3900" y="1332"/>
                  </a:lnTo>
                  <a:lnTo>
                    <a:pt x="3894" y="1332"/>
                  </a:lnTo>
                  <a:lnTo>
                    <a:pt x="3888" y="1326"/>
                  </a:lnTo>
                  <a:lnTo>
                    <a:pt x="3876" y="1320"/>
                  </a:lnTo>
                  <a:lnTo>
                    <a:pt x="3864" y="1320"/>
                  </a:lnTo>
                  <a:lnTo>
                    <a:pt x="3852" y="1326"/>
                  </a:lnTo>
                  <a:lnTo>
                    <a:pt x="3846" y="1326"/>
                  </a:lnTo>
                  <a:lnTo>
                    <a:pt x="3834" y="1332"/>
                  </a:lnTo>
                  <a:lnTo>
                    <a:pt x="3822" y="1326"/>
                  </a:lnTo>
                  <a:lnTo>
                    <a:pt x="3762" y="1302"/>
                  </a:lnTo>
                  <a:lnTo>
                    <a:pt x="3738" y="1302"/>
                  </a:lnTo>
                  <a:lnTo>
                    <a:pt x="3714" y="1314"/>
                  </a:lnTo>
                  <a:lnTo>
                    <a:pt x="3708" y="1326"/>
                  </a:lnTo>
                  <a:lnTo>
                    <a:pt x="3702" y="1326"/>
                  </a:lnTo>
                  <a:lnTo>
                    <a:pt x="3684" y="1344"/>
                  </a:lnTo>
                  <a:lnTo>
                    <a:pt x="3684" y="1350"/>
                  </a:lnTo>
                  <a:lnTo>
                    <a:pt x="3696" y="1356"/>
                  </a:lnTo>
                  <a:lnTo>
                    <a:pt x="3702" y="1362"/>
                  </a:lnTo>
                  <a:lnTo>
                    <a:pt x="3708" y="1374"/>
                  </a:lnTo>
                  <a:lnTo>
                    <a:pt x="3708" y="1380"/>
                  </a:lnTo>
                  <a:lnTo>
                    <a:pt x="3702" y="1386"/>
                  </a:lnTo>
                  <a:lnTo>
                    <a:pt x="3690" y="1392"/>
                  </a:lnTo>
                  <a:lnTo>
                    <a:pt x="3672" y="1410"/>
                  </a:lnTo>
                  <a:lnTo>
                    <a:pt x="3660" y="1416"/>
                  </a:lnTo>
                  <a:lnTo>
                    <a:pt x="3636" y="1422"/>
                  </a:lnTo>
                  <a:lnTo>
                    <a:pt x="3660" y="1440"/>
                  </a:lnTo>
                  <a:lnTo>
                    <a:pt x="3654" y="1446"/>
                  </a:lnTo>
                  <a:lnTo>
                    <a:pt x="3642" y="1446"/>
                  </a:lnTo>
                  <a:lnTo>
                    <a:pt x="3636" y="1452"/>
                  </a:lnTo>
                  <a:lnTo>
                    <a:pt x="3636" y="1470"/>
                  </a:lnTo>
                  <a:lnTo>
                    <a:pt x="3642" y="1482"/>
                  </a:lnTo>
                  <a:lnTo>
                    <a:pt x="3642" y="1488"/>
                  </a:lnTo>
                  <a:lnTo>
                    <a:pt x="3636" y="1500"/>
                  </a:lnTo>
                  <a:lnTo>
                    <a:pt x="3624" y="1506"/>
                  </a:lnTo>
                  <a:lnTo>
                    <a:pt x="3618" y="1512"/>
                  </a:lnTo>
                  <a:lnTo>
                    <a:pt x="3606" y="1512"/>
                  </a:lnTo>
                  <a:lnTo>
                    <a:pt x="3582" y="1524"/>
                  </a:lnTo>
                  <a:lnTo>
                    <a:pt x="3576" y="1536"/>
                  </a:lnTo>
                  <a:lnTo>
                    <a:pt x="3576" y="1548"/>
                  </a:lnTo>
                  <a:lnTo>
                    <a:pt x="3570" y="1548"/>
                  </a:lnTo>
                  <a:lnTo>
                    <a:pt x="3564" y="1554"/>
                  </a:lnTo>
                  <a:lnTo>
                    <a:pt x="3552" y="1554"/>
                  </a:lnTo>
                  <a:lnTo>
                    <a:pt x="3540" y="1560"/>
                  </a:lnTo>
                  <a:lnTo>
                    <a:pt x="3534" y="1566"/>
                  </a:lnTo>
                  <a:lnTo>
                    <a:pt x="3522" y="1572"/>
                  </a:lnTo>
                  <a:lnTo>
                    <a:pt x="3504" y="1590"/>
                  </a:lnTo>
                  <a:lnTo>
                    <a:pt x="3510" y="1596"/>
                  </a:lnTo>
                  <a:lnTo>
                    <a:pt x="3522" y="1602"/>
                  </a:lnTo>
                  <a:lnTo>
                    <a:pt x="3534" y="1614"/>
                  </a:lnTo>
                  <a:lnTo>
                    <a:pt x="3552" y="1620"/>
                  </a:lnTo>
                  <a:lnTo>
                    <a:pt x="3558" y="1632"/>
                  </a:lnTo>
                  <a:lnTo>
                    <a:pt x="3564" y="1638"/>
                  </a:lnTo>
                  <a:lnTo>
                    <a:pt x="3564" y="1662"/>
                  </a:lnTo>
                  <a:lnTo>
                    <a:pt x="3558" y="1698"/>
                  </a:lnTo>
                  <a:lnTo>
                    <a:pt x="3540" y="1746"/>
                  </a:lnTo>
                  <a:lnTo>
                    <a:pt x="3510" y="1776"/>
                  </a:lnTo>
                  <a:lnTo>
                    <a:pt x="3468" y="1800"/>
                  </a:lnTo>
                  <a:lnTo>
                    <a:pt x="3426" y="1830"/>
                  </a:lnTo>
                  <a:lnTo>
                    <a:pt x="3390" y="1854"/>
                  </a:lnTo>
                  <a:lnTo>
                    <a:pt x="3366" y="1860"/>
                  </a:lnTo>
                  <a:lnTo>
                    <a:pt x="3336" y="1860"/>
                  </a:lnTo>
                  <a:lnTo>
                    <a:pt x="3300" y="1866"/>
                  </a:lnTo>
                  <a:lnTo>
                    <a:pt x="3276" y="1872"/>
                  </a:lnTo>
                  <a:lnTo>
                    <a:pt x="3258" y="1878"/>
                  </a:lnTo>
                  <a:lnTo>
                    <a:pt x="3258" y="1902"/>
                  </a:lnTo>
                  <a:lnTo>
                    <a:pt x="3264" y="1914"/>
                  </a:lnTo>
                  <a:lnTo>
                    <a:pt x="3264" y="1926"/>
                  </a:lnTo>
                  <a:lnTo>
                    <a:pt x="3270" y="1938"/>
                  </a:lnTo>
                  <a:lnTo>
                    <a:pt x="3270" y="1950"/>
                  </a:lnTo>
                  <a:lnTo>
                    <a:pt x="3252" y="1968"/>
                  </a:lnTo>
                  <a:lnTo>
                    <a:pt x="3234" y="2004"/>
                  </a:lnTo>
                  <a:lnTo>
                    <a:pt x="3234" y="2076"/>
                  </a:lnTo>
                  <a:lnTo>
                    <a:pt x="3210" y="2088"/>
                  </a:lnTo>
                  <a:lnTo>
                    <a:pt x="3204" y="2094"/>
                  </a:lnTo>
                  <a:lnTo>
                    <a:pt x="3180" y="2106"/>
                  </a:lnTo>
                  <a:lnTo>
                    <a:pt x="3180" y="2142"/>
                  </a:lnTo>
                  <a:lnTo>
                    <a:pt x="3156" y="2166"/>
                  </a:lnTo>
                  <a:lnTo>
                    <a:pt x="3156" y="2154"/>
                  </a:lnTo>
                  <a:lnTo>
                    <a:pt x="3162" y="2148"/>
                  </a:lnTo>
                  <a:lnTo>
                    <a:pt x="3162" y="2142"/>
                  </a:lnTo>
                  <a:lnTo>
                    <a:pt x="3156" y="2130"/>
                  </a:lnTo>
                  <a:lnTo>
                    <a:pt x="3138" y="2130"/>
                  </a:lnTo>
                  <a:lnTo>
                    <a:pt x="3126" y="2136"/>
                  </a:lnTo>
                  <a:lnTo>
                    <a:pt x="3108" y="2154"/>
                  </a:lnTo>
                  <a:lnTo>
                    <a:pt x="3108" y="2166"/>
                  </a:lnTo>
                  <a:lnTo>
                    <a:pt x="3114" y="2178"/>
                  </a:lnTo>
                  <a:lnTo>
                    <a:pt x="3114" y="2190"/>
                  </a:lnTo>
                  <a:lnTo>
                    <a:pt x="3108" y="2196"/>
                  </a:lnTo>
                  <a:lnTo>
                    <a:pt x="3108" y="2178"/>
                  </a:lnTo>
                  <a:lnTo>
                    <a:pt x="3102" y="2166"/>
                  </a:lnTo>
                  <a:lnTo>
                    <a:pt x="3090" y="2154"/>
                  </a:lnTo>
                  <a:lnTo>
                    <a:pt x="3078" y="2154"/>
                  </a:lnTo>
                  <a:lnTo>
                    <a:pt x="3066" y="2160"/>
                  </a:lnTo>
                  <a:lnTo>
                    <a:pt x="3042" y="2160"/>
                  </a:lnTo>
                  <a:lnTo>
                    <a:pt x="3036" y="2166"/>
                  </a:lnTo>
                  <a:lnTo>
                    <a:pt x="3030" y="2166"/>
                  </a:lnTo>
                  <a:lnTo>
                    <a:pt x="3042" y="2160"/>
                  </a:lnTo>
                  <a:lnTo>
                    <a:pt x="3060" y="2142"/>
                  </a:lnTo>
                  <a:lnTo>
                    <a:pt x="3072" y="2136"/>
                  </a:lnTo>
                  <a:lnTo>
                    <a:pt x="3078" y="2124"/>
                  </a:lnTo>
                  <a:lnTo>
                    <a:pt x="3078" y="2118"/>
                  </a:lnTo>
                  <a:lnTo>
                    <a:pt x="3072" y="2106"/>
                  </a:lnTo>
                  <a:lnTo>
                    <a:pt x="3060" y="2100"/>
                  </a:lnTo>
                  <a:lnTo>
                    <a:pt x="3048" y="2088"/>
                  </a:lnTo>
                  <a:lnTo>
                    <a:pt x="3030" y="2088"/>
                  </a:lnTo>
                  <a:lnTo>
                    <a:pt x="3024" y="2082"/>
                  </a:lnTo>
                  <a:lnTo>
                    <a:pt x="3018" y="2082"/>
                  </a:lnTo>
                  <a:lnTo>
                    <a:pt x="3024" y="2082"/>
                  </a:lnTo>
                  <a:lnTo>
                    <a:pt x="3042" y="2064"/>
                  </a:lnTo>
                  <a:lnTo>
                    <a:pt x="3042" y="2058"/>
                  </a:lnTo>
                  <a:lnTo>
                    <a:pt x="3030" y="2034"/>
                  </a:lnTo>
                  <a:lnTo>
                    <a:pt x="3030" y="2028"/>
                  </a:lnTo>
                  <a:lnTo>
                    <a:pt x="3024" y="2016"/>
                  </a:lnTo>
                  <a:lnTo>
                    <a:pt x="3060" y="1992"/>
                  </a:lnTo>
                  <a:lnTo>
                    <a:pt x="3060" y="1968"/>
                  </a:lnTo>
                  <a:lnTo>
                    <a:pt x="3084" y="1956"/>
                  </a:lnTo>
                  <a:lnTo>
                    <a:pt x="3084" y="1914"/>
                  </a:lnTo>
                  <a:lnTo>
                    <a:pt x="3090" y="1914"/>
                  </a:lnTo>
                  <a:lnTo>
                    <a:pt x="3102" y="1902"/>
                  </a:lnTo>
                  <a:lnTo>
                    <a:pt x="3114" y="1896"/>
                  </a:lnTo>
                  <a:lnTo>
                    <a:pt x="3132" y="1878"/>
                  </a:lnTo>
                  <a:lnTo>
                    <a:pt x="3126" y="1866"/>
                  </a:lnTo>
                  <a:lnTo>
                    <a:pt x="3120" y="1860"/>
                  </a:lnTo>
                  <a:lnTo>
                    <a:pt x="3084" y="1848"/>
                  </a:lnTo>
                  <a:lnTo>
                    <a:pt x="2976" y="1848"/>
                  </a:lnTo>
                  <a:lnTo>
                    <a:pt x="2940" y="1860"/>
                  </a:lnTo>
                  <a:lnTo>
                    <a:pt x="2946" y="1848"/>
                  </a:lnTo>
                  <a:lnTo>
                    <a:pt x="2952" y="1842"/>
                  </a:lnTo>
                  <a:lnTo>
                    <a:pt x="2952" y="1830"/>
                  </a:lnTo>
                  <a:lnTo>
                    <a:pt x="2958" y="1824"/>
                  </a:lnTo>
                  <a:lnTo>
                    <a:pt x="2952" y="1818"/>
                  </a:lnTo>
                  <a:lnTo>
                    <a:pt x="2940" y="1812"/>
                  </a:lnTo>
                  <a:lnTo>
                    <a:pt x="2928" y="1812"/>
                  </a:lnTo>
                  <a:lnTo>
                    <a:pt x="2892" y="1800"/>
                  </a:lnTo>
                  <a:lnTo>
                    <a:pt x="2874" y="1800"/>
                  </a:lnTo>
                  <a:lnTo>
                    <a:pt x="2868" y="1794"/>
                  </a:lnTo>
                  <a:lnTo>
                    <a:pt x="2862" y="1794"/>
                  </a:lnTo>
                  <a:lnTo>
                    <a:pt x="2862" y="1770"/>
                  </a:lnTo>
                  <a:lnTo>
                    <a:pt x="2856" y="1752"/>
                  </a:lnTo>
                  <a:lnTo>
                    <a:pt x="2844" y="1740"/>
                  </a:lnTo>
                  <a:lnTo>
                    <a:pt x="2790" y="1722"/>
                  </a:lnTo>
                  <a:lnTo>
                    <a:pt x="2778" y="1722"/>
                  </a:lnTo>
                  <a:lnTo>
                    <a:pt x="2778" y="1716"/>
                  </a:lnTo>
                  <a:lnTo>
                    <a:pt x="2766" y="1704"/>
                  </a:lnTo>
                  <a:lnTo>
                    <a:pt x="2754" y="1704"/>
                  </a:lnTo>
                  <a:lnTo>
                    <a:pt x="2736" y="1698"/>
                  </a:lnTo>
                  <a:lnTo>
                    <a:pt x="2694" y="1698"/>
                  </a:lnTo>
                  <a:lnTo>
                    <a:pt x="2646" y="1704"/>
                  </a:lnTo>
                  <a:lnTo>
                    <a:pt x="2610" y="1716"/>
                  </a:lnTo>
                  <a:lnTo>
                    <a:pt x="2592" y="1716"/>
                  </a:lnTo>
                  <a:lnTo>
                    <a:pt x="2598" y="1716"/>
                  </a:lnTo>
                  <a:lnTo>
                    <a:pt x="2604" y="1710"/>
                  </a:lnTo>
                  <a:lnTo>
                    <a:pt x="2616" y="1710"/>
                  </a:lnTo>
                  <a:lnTo>
                    <a:pt x="2628" y="1704"/>
                  </a:lnTo>
                  <a:lnTo>
                    <a:pt x="2634" y="1692"/>
                  </a:lnTo>
                  <a:lnTo>
                    <a:pt x="2640" y="1686"/>
                  </a:lnTo>
                  <a:lnTo>
                    <a:pt x="2646" y="1662"/>
                  </a:lnTo>
                  <a:lnTo>
                    <a:pt x="2658" y="1632"/>
                  </a:lnTo>
                  <a:lnTo>
                    <a:pt x="2664" y="1602"/>
                  </a:lnTo>
                  <a:lnTo>
                    <a:pt x="2670" y="1590"/>
                  </a:lnTo>
                  <a:lnTo>
                    <a:pt x="2658" y="1590"/>
                  </a:lnTo>
                  <a:lnTo>
                    <a:pt x="2646" y="1584"/>
                  </a:lnTo>
                  <a:lnTo>
                    <a:pt x="2616" y="1584"/>
                  </a:lnTo>
                  <a:lnTo>
                    <a:pt x="2610" y="1590"/>
                  </a:lnTo>
                  <a:lnTo>
                    <a:pt x="2598" y="1596"/>
                  </a:lnTo>
                  <a:lnTo>
                    <a:pt x="2592" y="1602"/>
                  </a:lnTo>
                  <a:lnTo>
                    <a:pt x="2580" y="1608"/>
                  </a:lnTo>
                  <a:lnTo>
                    <a:pt x="2598" y="1578"/>
                  </a:lnTo>
                  <a:lnTo>
                    <a:pt x="2592" y="1560"/>
                  </a:lnTo>
                  <a:lnTo>
                    <a:pt x="2610" y="1542"/>
                  </a:lnTo>
                  <a:lnTo>
                    <a:pt x="2616" y="1530"/>
                  </a:lnTo>
                  <a:lnTo>
                    <a:pt x="2640" y="1506"/>
                  </a:lnTo>
                  <a:lnTo>
                    <a:pt x="2646" y="1494"/>
                  </a:lnTo>
                  <a:lnTo>
                    <a:pt x="2664" y="1476"/>
                  </a:lnTo>
                  <a:lnTo>
                    <a:pt x="2694" y="1452"/>
                  </a:lnTo>
                  <a:lnTo>
                    <a:pt x="2730" y="1428"/>
                  </a:lnTo>
                  <a:lnTo>
                    <a:pt x="2754" y="1410"/>
                  </a:lnTo>
                  <a:lnTo>
                    <a:pt x="2766" y="1404"/>
                  </a:lnTo>
                  <a:lnTo>
                    <a:pt x="2760" y="1392"/>
                  </a:lnTo>
                  <a:lnTo>
                    <a:pt x="2826" y="1368"/>
                  </a:lnTo>
                  <a:lnTo>
                    <a:pt x="2826" y="1350"/>
                  </a:lnTo>
                  <a:lnTo>
                    <a:pt x="2868" y="1344"/>
                  </a:lnTo>
                  <a:lnTo>
                    <a:pt x="2868" y="1326"/>
                  </a:lnTo>
                  <a:lnTo>
                    <a:pt x="2898" y="1320"/>
                  </a:lnTo>
                  <a:lnTo>
                    <a:pt x="2952" y="1284"/>
                  </a:lnTo>
                  <a:lnTo>
                    <a:pt x="3006" y="1284"/>
                  </a:lnTo>
                  <a:lnTo>
                    <a:pt x="3042" y="1278"/>
                  </a:lnTo>
                  <a:lnTo>
                    <a:pt x="3060" y="1266"/>
                  </a:lnTo>
                  <a:lnTo>
                    <a:pt x="3060" y="1254"/>
                  </a:lnTo>
                  <a:lnTo>
                    <a:pt x="3030" y="1224"/>
                  </a:lnTo>
                  <a:lnTo>
                    <a:pt x="2970" y="1230"/>
                  </a:lnTo>
                  <a:lnTo>
                    <a:pt x="2982" y="1218"/>
                  </a:lnTo>
                  <a:lnTo>
                    <a:pt x="2928" y="1194"/>
                  </a:lnTo>
                  <a:lnTo>
                    <a:pt x="2952" y="1188"/>
                  </a:lnTo>
                  <a:lnTo>
                    <a:pt x="3036" y="1212"/>
                  </a:lnTo>
                  <a:lnTo>
                    <a:pt x="3054" y="1230"/>
                  </a:lnTo>
                  <a:lnTo>
                    <a:pt x="3066" y="1236"/>
                  </a:lnTo>
                  <a:lnTo>
                    <a:pt x="3096" y="1236"/>
                  </a:lnTo>
                  <a:lnTo>
                    <a:pt x="3108" y="1230"/>
                  </a:lnTo>
                  <a:lnTo>
                    <a:pt x="3114" y="1218"/>
                  </a:lnTo>
                  <a:lnTo>
                    <a:pt x="3126" y="1206"/>
                  </a:lnTo>
                  <a:lnTo>
                    <a:pt x="3132" y="1194"/>
                  </a:lnTo>
                  <a:lnTo>
                    <a:pt x="3144" y="1188"/>
                  </a:lnTo>
                  <a:lnTo>
                    <a:pt x="3150" y="1182"/>
                  </a:lnTo>
                  <a:lnTo>
                    <a:pt x="3156" y="1182"/>
                  </a:lnTo>
                  <a:lnTo>
                    <a:pt x="3180" y="1194"/>
                  </a:lnTo>
                  <a:lnTo>
                    <a:pt x="3198" y="1200"/>
                  </a:lnTo>
                  <a:lnTo>
                    <a:pt x="3210" y="1200"/>
                  </a:lnTo>
                  <a:lnTo>
                    <a:pt x="3246" y="1182"/>
                  </a:lnTo>
                  <a:lnTo>
                    <a:pt x="3282" y="1170"/>
                  </a:lnTo>
                  <a:lnTo>
                    <a:pt x="3318" y="1152"/>
                  </a:lnTo>
                  <a:lnTo>
                    <a:pt x="3336" y="1146"/>
                  </a:lnTo>
                  <a:lnTo>
                    <a:pt x="3360" y="1134"/>
                  </a:lnTo>
                  <a:lnTo>
                    <a:pt x="3372" y="1122"/>
                  </a:lnTo>
                  <a:lnTo>
                    <a:pt x="3366" y="1116"/>
                  </a:lnTo>
                  <a:lnTo>
                    <a:pt x="3342" y="1110"/>
                  </a:lnTo>
                  <a:lnTo>
                    <a:pt x="3264" y="1110"/>
                  </a:lnTo>
                  <a:lnTo>
                    <a:pt x="3258" y="1086"/>
                  </a:lnTo>
                  <a:lnTo>
                    <a:pt x="3174" y="1056"/>
                  </a:lnTo>
                  <a:lnTo>
                    <a:pt x="3186" y="1056"/>
                  </a:lnTo>
                  <a:lnTo>
                    <a:pt x="3216" y="1050"/>
                  </a:lnTo>
                  <a:lnTo>
                    <a:pt x="3252" y="1050"/>
                  </a:lnTo>
                  <a:lnTo>
                    <a:pt x="3282" y="1056"/>
                  </a:lnTo>
                  <a:lnTo>
                    <a:pt x="3294" y="1062"/>
                  </a:lnTo>
                  <a:lnTo>
                    <a:pt x="3306" y="1074"/>
                  </a:lnTo>
                  <a:lnTo>
                    <a:pt x="3324" y="1086"/>
                  </a:lnTo>
                  <a:lnTo>
                    <a:pt x="3336" y="1098"/>
                  </a:lnTo>
                  <a:lnTo>
                    <a:pt x="3348" y="1104"/>
                  </a:lnTo>
                  <a:lnTo>
                    <a:pt x="3372" y="1098"/>
                  </a:lnTo>
                  <a:lnTo>
                    <a:pt x="3408" y="1080"/>
                  </a:lnTo>
                  <a:lnTo>
                    <a:pt x="3444" y="1068"/>
                  </a:lnTo>
                  <a:lnTo>
                    <a:pt x="3474" y="1050"/>
                  </a:lnTo>
                  <a:lnTo>
                    <a:pt x="3486" y="1044"/>
                  </a:lnTo>
                  <a:lnTo>
                    <a:pt x="3462" y="1032"/>
                  </a:lnTo>
                  <a:lnTo>
                    <a:pt x="3468" y="1026"/>
                  </a:lnTo>
                  <a:lnTo>
                    <a:pt x="3492" y="1014"/>
                  </a:lnTo>
                  <a:lnTo>
                    <a:pt x="3522" y="1014"/>
                  </a:lnTo>
                  <a:lnTo>
                    <a:pt x="3528" y="1020"/>
                  </a:lnTo>
                  <a:lnTo>
                    <a:pt x="3534" y="1032"/>
                  </a:lnTo>
                  <a:lnTo>
                    <a:pt x="3540" y="1038"/>
                  </a:lnTo>
                  <a:lnTo>
                    <a:pt x="3570" y="1050"/>
                  </a:lnTo>
                  <a:lnTo>
                    <a:pt x="3576" y="1026"/>
                  </a:lnTo>
                  <a:lnTo>
                    <a:pt x="3594" y="1044"/>
                  </a:lnTo>
                  <a:lnTo>
                    <a:pt x="3600" y="1038"/>
                  </a:lnTo>
                  <a:lnTo>
                    <a:pt x="3600" y="1026"/>
                  </a:lnTo>
                  <a:lnTo>
                    <a:pt x="3594" y="1014"/>
                  </a:lnTo>
                  <a:lnTo>
                    <a:pt x="3582" y="1002"/>
                  </a:lnTo>
                  <a:lnTo>
                    <a:pt x="3564" y="990"/>
                  </a:lnTo>
                  <a:lnTo>
                    <a:pt x="3606" y="984"/>
                  </a:lnTo>
                  <a:lnTo>
                    <a:pt x="3606" y="990"/>
                  </a:lnTo>
                  <a:lnTo>
                    <a:pt x="3612" y="996"/>
                  </a:lnTo>
                  <a:lnTo>
                    <a:pt x="3612" y="1008"/>
                  </a:lnTo>
                  <a:lnTo>
                    <a:pt x="3624" y="1032"/>
                  </a:lnTo>
                  <a:lnTo>
                    <a:pt x="3630" y="1038"/>
                  </a:lnTo>
                  <a:lnTo>
                    <a:pt x="3636" y="1038"/>
                  </a:lnTo>
                  <a:lnTo>
                    <a:pt x="3654" y="1032"/>
                  </a:lnTo>
                  <a:lnTo>
                    <a:pt x="3690" y="1026"/>
                  </a:lnTo>
                  <a:lnTo>
                    <a:pt x="3732" y="1008"/>
                  </a:lnTo>
                  <a:lnTo>
                    <a:pt x="3768" y="990"/>
                  </a:lnTo>
                  <a:lnTo>
                    <a:pt x="3798" y="972"/>
                  </a:lnTo>
                  <a:lnTo>
                    <a:pt x="3798" y="960"/>
                  </a:lnTo>
                  <a:lnTo>
                    <a:pt x="3786" y="942"/>
                  </a:lnTo>
                  <a:lnTo>
                    <a:pt x="3780" y="930"/>
                  </a:lnTo>
                  <a:lnTo>
                    <a:pt x="3774" y="912"/>
                  </a:lnTo>
                  <a:lnTo>
                    <a:pt x="3774" y="900"/>
                  </a:lnTo>
                  <a:lnTo>
                    <a:pt x="3780" y="894"/>
                  </a:lnTo>
                  <a:lnTo>
                    <a:pt x="3792" y="894"/>
                  </a:lnTo>
                  <a:lnTo>
                    <a:pt x="3804" y="888"/>
                  </a:lnTo>
                  <a:lnTo>
                    <a:pt x="3822" y="888"/>
                  </a:lnTo>
                  <a:lnTo>
                    <a:pt x="3840" y="882"/>
                  </a:lnTo>
                  <a:lnTo>
                    <a:pt x="3858" y="882"/>
                  </a:lnTo>
                  <a:lnTo>
                    <a:pt x="3864" y="876"/>
                  </a:lnTo>
                  <a:lnTo>
                    <a:pt x="3870" y="876"/>
                  </a:lnTo>
                  <a:lnTo>
                    <a:pt x="3870" y="858"/>
                  </a:lnTo>
                  <a:lnTo>
                    <a:pt x="3864" y="846"/>
                  </a:lnTo>
                  <a:lnTo>
                    <a:pt x="3864" y="840"/>
                  </a:lnTo>
                  <a:lnTo>
                    <a:pt x="3858" y="828"/>
                  </a:lnTo>
                  <a:lnTo>
                    <a:pt x="3840" y="804"/>
                  </a:lnTo>
                  <a:lnTo>
                    <a:pt x="3822" y="798"/>
                  </a:lnTo>
                  <a:lnTo>
                    <a:pt x="3786" y="792"/>
                  </a:lnTo>
                  <a:lnTo>
                    <a:pt x="3744" y="792"/>
                  </a:lnTo>
                  <a:lnTo>
                    <a:pt x="3708" y="804"/>
                  </a:lnTo>
                  <a:lnTo>
                    <a:pt x="3690" y="822"/>
                  </a:lnTo>
                  <a:lnTo>
                    <a:pt x="3690" y="840"/>
                  </a:lnTo>
                  <a:lnTo>
                    <a:pt x="3696" y="840"/>
                  </a:lnTo>
                  <a:lnTo>
                    <a:pt x="3702" y="846"/>
                  </a:lnTo>
                  <a:lnTo>
                    <a:pt x="3666" y="870"/>
                  </a:lnTo>
                  <a:lnTo>
                    <a:pt x="3642" y="870"/>
                  </a:lnTo>
                  <a:lnTo>
                    <a:pt x="3576" y="918"/>
                  </a:lnTo>
                  <a:lnTo>
                    <a:pt x="3552" y="930"/>
                  </a:lnTo>
                  <a:lnTo>
                    <a:pt x="3546" y="936"/>
                  </a:lnTo>
                  <a:lnTo>
                    <a:pt x="3540" y="948"/>
                  </a:lnTo>
                  <a:lnTo>
                    <a:pt x="3522" y="966"/>
                  </a:lnTo>
                  <a:lnTo>
                    <a:pt x="3492" y="966"/>
                  </a:lnTo>
                  <a:lnTo>
                    <a:pt x="3456" y="984"/>
                  </a:lnTo>
                  <a:lnTo>
                    <a:pt x="3456" y="972"/>
                  </a:lnTo>
                  <a:lnTo>
                    <a:pt x="3450" y="954"/>
                  </a:lnTo>
                  <a:lnTo>
                    <a:pt x="3450" y="918"/>
                  </a:lnTo>
                  <a:lnTo>
                    <a:pt x="3456" y="912"/>
                  </a:lnTo>
                  <a:lnTo>
                    <a:pt x="3480" y="900"/>
                  </a:lnTo>
                  <a:lnTo>
                    <a:pt x="3498" y="900"/>
                  </a:lnTo>
                  <a:lnTo>
                    <a:pt x="3510" y="894"/>
                  </a:lnTo>
                  <a:lnTo>
                    <a:pt x="3516" y="882"/>
                  </a:lnTo>
                  <a:lnTo>
                    <a:pt x="3516" y="870"/>
                  </a:lnTo>
                  <a:lnTo>
                    <a:pt x="3510" y="852"/>
                  </a:lnTo>
                  <a:lnTo>
                    <a:pt x="3504" y="846"/>
                  </a:lnTo>
                  <a:lnTo>
                    <a:pt x="3498" y="834"/>
                  </a:lnTo>
                  <a:lnTo>
                    <a:pt x="3486" y="834"/>
                  </a:lnTo>
                  <a:lnTo>
                    <a:pt x="3450" y="852"/>
                  </a:lnTo>
                  <a:lnTo>
                    <a:pt x="3432" y="858"/>
                  </a:lnTo>
                  <a:lnTo>
                    <a:pt x="3420" y="864"/>
                  </a:lnTo>
                  <a:lnTo>
                    <a:pt x="3414" y="870"/>
                  </a:lnTo>
                  <a:lnTo>
                    <a:pt x="3408" y="870"/>
                  </a:lnTo>
                  <a:lnTo>
                    <a:pt x="3378" y="900"/>
                  </a:lnTo>
                  <a:lnTo>
                    <a:pt x="3372" y="888"/>
                  </a:lnTo>
                  <a:lnTo>
                    <a:pt x="3396" y="858"/>
                  </a:lnTo>
                  <a:lnTo>
                    <a:pt x="3396" y="840"/>
                  </a:lnTo>
                  <a:lnTo>
                    <a:pt x="3438" y="822"/>
                  </a:lnTo>
                  <a:lnTo>
                    <a:pt x="3402" y="816"/>
                  </a:lnTo>
                  <a:lnTo>
                    <a:pt x="3408" y="804"/>
                  </a:lnTo>
                  <a:lnTo>
                    <a:pt x="3360" y="816"/>
                  </a:lnTo>
                  <a:lnTo>
                    <a:pt x="3336" y="804"/>
                  </a:lnTo>
                  <a:lnTo>
                    <a:pt x="3378" y="792"/>
                  </a:lnTo>
                  <a:lnTo>
                    <a:pt x="3378" y="774"/>
                  </a:lnTo>
                  <a:lnTo>
                    <a:pt x="3390" y="774"/>
                  </a:lnTo>
                  <a:lnTo>
                    <a:pt x="3396" y="780"/>
                  </a:lnTo>
                  <a:lnTo>
                    <a:pt x="3420" y="780"/>
                  </a:lnTo>
                  <a:lnTo>
                    <a:pt x="3426" y="774"/>
                  </a:lnTo>
                  <a:lnTo>
                    <a:pt x="3426" y="762"/>
                  </a:lnTo>
                  <a:lnTo>
                    <a:pt x="3420" y="756"/>
                  </a:lnTo>
                  <a:lnTo>
                    <a:pt x="3408" y="756"/>
                  </a:lnTo>
                  <a:lnTo>
                    <a:pt x="3396" y="744"/>
                  </a:lnTo>
                  <a:lnTo>
                    <a:pt x="3396" y="738"/>
                  </a:lnTo>
                  <a:lnTo>
                    <a:pt x="3420" y="690"/>
                  </a:lnTo>
                  <a:lnTo>
                    <a:pt x="3426" y="684"/>
                  </a:lnTo>
                  <a:lnTo>
                    <a:pt x="3426" y="672"/>
                  </a:lnTo>
                  <a:lnTo>
                    <a:pt x="3420" y="666"/>
                  </a:lnTo>
                  <a:lnTo>
                    <a:pt x="3414" y="666"/>
                  </a:lnTo>
                  <a:lnTo>
                    <a:pt x="3372" y="648"/>
                  </a:lnTo>
                  <a:lnTo>
                    <a:pt x="3348" y="660"/>
                  </a:lnTo>
                  <a:lnTo>
                    <a:pt x="3336" y="660"/>
                  </a:lnTo>
                  <a:lnTo>
                    <a:pt x="3318" y="666"/>
                  </a:lnTo>
                  <a:lnTo>
                    <a:pt x="3312" y="666"/>
                  </a:lnTo>
                  <a:lnTo>
                    <a:pt x="3306" y="672"/>
                  </a:lnTo>
                  <a:lnTo>
                    <a:pt x="3306" y="690"/>
                  </a:lnTo>
                  <a:lnTo>
                    <a:pt x="3240" y="690"/>
                  </a:lnTo>
                  <a:lnTo>
                    <a:pt x="3228" y="696"/>
                  </a:lnTo>
                  <a:lnTo>
                    <a:pt x="3222" y="702"/>
                  </a:lnTo>
                  <a:lnTo>
                    <a:pt x="3210" y="708"/>
                  </a:lnTo>
                  <a:lnTo>
                    <a:pt x="3198" y="720"/>
                  </a:lnTo>
                  <a:lnTo>
                    <a:pt x="3204" y="726"/>
                  </a:lnTo>
                  <a:lnTo>
                    <a:pt x="3216" y="732"/>
                  </a:lnTo>
                  <a:lnTo>
                    <a:pt x="3228" y="732"/>
                  </a:lnTo>
                  <a:lnTo>
                    <a:pt x="3234" y="738"/>
                  </a:lnTo>
                  <a:lnTo>
                    <a:pt x="3228" y="738"/>
                  </a:lnTo>
                  <a:lnTo>
                    <a:pt x="3222" y="744"/>
                  </a:lnTo>
                  <a:lnTo>
                    <a:pt x="3204" y="744"/>
                  </a:lnTo>
                  <a:lnTo>
                    <a:pt x="3180" y="756"/>
                  </a:lnTo>
                  <a:lnTo>
                    <a:pt x="3168" y="768"/>
                  </a:lnTo>
                  <a:lnTo>
                    <a:pt x="3168" y="774"/>
                  </a:lnTo>
                  <a:lnTo>
                    <a:pt x="3174" y="786"/>
                  </a:lnTo>
                  <a:lnTo>
                    <a:pt x="3186" y="798"/>
                  </a:lnTo>
                  <a:lnTo>
                    <a:pt x="3198" y="804"/>
                  </a:lnTo>
                  <a:lnTo>
                    <a:pt x="3204" y="810"/>
                  </a:lnTo>
                  <a:lnTo>
                    <a:pt x="3210" y="810"/>
                  </a:lnTo>
                  <a:lnTo>
                    <a:pt x="3234" y="798"/>
                  </a:lnTo>
                  <a:lnTo>
                    <a:pt x="3234" y="822"/>
                  </a:lnTo>
                  <a:lnTo>
                    <a:pt x="3240" y="828"/>
                  </a:lnTo>
                  <a:lnTo>
                    <a:pt x="3246" y="828"/>
                  </a:lnTo>
                  <a:lnTo>
                    <a:pt x="3258" y="822"/>
                  </a:lnTo>
                  <a:lnTo>
                    <a:pt x="3282" y="822"/>
                  </a:lnTo>
                  <a:lnTo>
                    <a:pt x="3276" y="828"/>
                  </a:lnTo>
                  <a:lnTo>
                    <a:pt x="3252" y="840"/>
                  </a:lnTo>
                  <a:lnTo>
                    <a:pt x="3246" y="840"/>
                  </a:lnTo>
                  <a:lnTo>
                    <a:pt x="3228" y="828"/>
                  </a:lnTo>
                  <a:lnTo>
                    <a:pt x="3222" y="846"/>
                  </a:lnTo>
                  <a:lnTo>
                    <a:pt x="3204" y="846"/>
                  </a:lnTo>
                  <a:lnTo>
                    <a:pt x="3192" y="852"/>
                  </a:lnTo>
                  <a:lnTo>
                    <a:pt x="3186" y="852"/>
                  </a:lnTo>
                  <a:lnTo>
                    <a:pt x="3180" y="858"/>
                  </a:lnTo>
                  <a:lnTo>
                    <a:pt x="3204" y="858"/>
                  </a:lnTo>
                  <a:lnTo>
                    <a:pt x="3228" y="846"/>
                  </a:lnTo>
                  <a:lnTo>
                    <a:pt x="3240" y="846"/>
                  </a:lnTo>
                  <a:lnTo>
                    <a:pt x="3240" y="852"/>
                  </a:lnTo>
                  <a:lnTo>
                    <a:pt x="3228" y="870"/>
                  </a:lnTo>
                  <a:lnTo>
                    <a:pt x="3210" y="882"/>
                  </a:lnTo>
                  <a:lnTo>
                    <a:pt x="3198" y="888"/>
                  </a:lnTo>
                  <a:lnTo>
                    <a:pt x="3180" y="894"/>
                  </a:lnTo>
                  <a:lnTo>
                    <a:pt x="3168" y="900"/>
                  </a:lnTo>
                  <a:lnTo>
                    <a:pt x="3162" y="906"/>
                  </a:lnTo>
                  <a:lnTo>
                    <a:pt x="3138" y="918"/>
                  </a:lnTo>
                  <a:lnTo>
                    <a:pt x="3132" y="924"/>
                  </a:lnTo>
                  <a:lnTo>
                    <a:pt x="3120" y="918"/>
                  </a:lnTo>
                  <a:lnTo>
                    <a:pt x="3114" y="918"/>
                  </a:lnTo>
                  <a:lnTo>
                    <a:pt x="3102" y="912"/>
                  </a:lnTo>
                  <a:lnTo>
                    <a:pt x="3090" y="912"/>
                  </a:lnTo>
                  <a:lnTo>
                    <a:pt x="3072" y="930"/>
                  </a:lnTo>
                  <a:lnTo>
                    <a:pt x="3060" y="936"/>
                  </a:lnTo>
                  <a:lnTo>
                    <a:pt x="3054" y="948"/>
                  </a:lnTo>
                  <a:lnTo>
                    <a:pt x="3054" y="972"/>
                  </a:lnTo>
                  <a:lnTo>
                    <a:pt x="3048" y="978"/>
                  </a:lnTo>
                  <a:lnTo>
                    <a:pt x="3042" y="966"/>
                  </a:lnTo>
                  <a:lnTo>
                    <a:pt x="3030" y="966"/>
                  </a:lnTo>
                  <a:lnTo>
                    <a:pt x="3018" y="960"/>
                  </a:lnTo>
                  <a:lnTo>
                    <a:pt x="3012" y="960"/>
                  </a:lnTo>
                  <a:lnTo>
                    <a:pt x="3006" y="954"/>
                  </a:lnTo>
                  <a:lnTo>
                    <a:pt x="3030" y="930"/>
                  </a:lnTo>
                  <a:lnTo>
                    <a:pt x="3042" y="924"/>
                  </a:lnTo>
                  <a:lnTo>
                    <a:pt x="3060" y="906"/>
                  </a:lnTo>
                  <a:lnTo>
                    <a:pt x="3072" y="900"/>
                  </a:lnTo>
                  <a:lnTo>
                    <a:pt x="3036" y="900"/>
                  </a:lnTo>
                  <a:lnTo>
                    <a:pt x="3030" y="888"/>
                  </a:lnTo>
                  <a:lnTo>
                    <a:pt x="3018" y="882"/>
                  </a:lnTo>
                  <a:lnTo>
                    <a:pt x="2994" y="882"/>
                  </a:lnTo>
                  <a:lnTo>
                    <a:pt x="2988" y="888"/>
                  </a:lnTo>
                  <a:lnTo>
                    <a:pt x="2946" y="888"/>
                  </a:lnTo>
                  <a:lnTo>
                    <a:pt x="2946" y="894"/>
                  </a:lnTo>
                  <a:lnTo>
                    <a:pt x="2940" y="906"/>
                  </a:lnTo>
                  <a:lnTo>
                    <a:pt x="2940" y="918"/>
                  </a:lnTo>
                  <a:lnTo>
                    <a:pt x="2946" y="918"/>
                  </a:lnTo>
                  <a:lnTo>
                    <a:pt x="2952" y="924"/>
                  </a:lnTo>
                  <a:lnTo>
                    <a:pt x="2964" y="924"/>
                  </a:lnTo>
                  <a:lnTo>
                    <a:pt x="2976" y="936"/>
                  </a:lnTo>
                  <a:lnTo>
                    <a:pt x="2982" y="936"/>
                  </a:lnTo>
                  <a:lnTo>
                    <a:pt x="2976" y="942"/>
                  </a:lnTo>
                  <a:lnTo>
                    <a:pt x="2958" y="942"/>
                  </a:lnTo>
                  <a:lnTo>
                    <a:pt x="2952" y="936"/>
                  </a:lnTo>
                  <a:lnTo>
                    <a:pt x="2940" y="930"/>
                  </a:lnTo>
                  <a:lnTo>
                    <a:pt x="2934" y="924"/>
                  </a:lnTo>
                  <a:lnTo>
                    <a:pt x="2916" y="912"/>
                  </a:lnTo>
                  <a:lnTo>
                    <a:pt x="2910" y="942"/>
                  </a:lnTo>
                  <a:lnTo>
                    <a:pt x="2904" y="942"/>
                  </a:lnTo>
                  <a:lnTo>
                    <a:pt x="2898" y="948"/>
                  </a:lnTo>
                  <a:lnTo>
                    <a:pt x="2862" y="948"/>
                  </a:lnTo>
                  <a:lnTo>
                    <a:pt x="2844" y="942"/>
                  </a:lnTo>
                  <a:lnTo>
                    <a:pt x="2826" y="942"/>
                  </a:lnTo>
                  <a:lnTo>
                    <a:pt x="2808" y="936"/>
                  </a:lnTo>
                  <a:lnTo>
                    <a:pt x="2718" y="936"/>
                  </a:lnTo>
                  <a:lnTo>
                    <a:pt x="2706" y="930"/>
                  </a:lnTo>
                  <a:lnTo>
                    <a:pt x="2700" y="918"/>
                  </a:lnTo>
                  <a:lnTo>
                    <a:pt x="2688" y="912"/>
                  </a:lnTo>
                  <a:lnTo>
                    <a:pt x="2628" y="918"/>
                  </a:lnTo>
                  <a:lnTo>
                    <a:pt x="2622" y="912"/>
                  </a:lnTo>
                  <a:lnTo>
                    <a:pt x="2616" y="900"/>
                  </a:lnTo>
                  <a:lnTo>
                    <a:pt x="2604" y="894"/>
                  </a:lnTo>
                  <a:lnTo>
                    <a:pt x="2598" y="894"/>
                  </a:lnTo>
                  <a:lnTo>
                    <a:pt x="2586" y="888"/>
                  </a:lnTo>
                  <a:lnTo>
                    <a:pt x="2568" y="888"/>
                  </a:lnTo>
                  <a:lnTo>
                    <a:pt x="2556" y="894"/>
                  </a:lnTo>
                  <a:lnTo>
                    <a:pt x="2538" y="900"/>
                  </a:lnTo>
                  <a:lnTo>
                    <a:pt x="2532" y="906"/>
                  </a:lnTo>
                  <a:lnTo>
                    <a:pt x="2526" y="906"/>
                  </a:lnTo>
                  <a:lnTo>
                    <a:pt x="2526" y="912"/>
                  </a:lnTo>
                  <a:lnTo>
                    <a:pt x="2484" y="912"/>
                  </a:lnTo>
                  <a:lnTo>
                    <a:pt x="2472" y="906"/>
                  </a:lnTo>
                  <a:lnTo>
                    <a:pt x="2442" y="906"/>
                  </a:lnTo>
                  <a:lnTo>
                    <a:pt x="2430" y="918"/>
                  </a:lnTo>
                  <a:lnTo>
                    <a:pt x="2430" y="930"/>
                  </a:lnTo>
                  <a:lnTo>
                    <a:pt x="2418" y="954"/>
                  </a:lnTo>
                  <a:lnTo>
                    <a:pt x="2412" y="960"/>
                  </a:lnTo>
                  <a:lnTo>
                    <a:pt x="2412" y="966"/>
                  </a:lnTo>
                  <a:lnTo>
                    <a:pt x="2400" y="996"/>
                  </a:lnTo>
                  <a:lnTo>
                    <a:pt x="2364" y="996"/>
                  </a:lnTo>
                  <a:lnTo>
                    <a:pt x="2358" y="1026"/>
                  </a:lnTo>
                  <a:lnTo>
                    <a:pt x="2334" y="978"/>
                  </a:lnTo>
                  <a:lnTo>
                    <a:pt x="2340" y="978"/>
                  </a:lnTo>
                  <a:lnTo>
                    <a:pt x="2352" y="984"/>
                  </a:lnTo>
                  <a:lnTo>
                    <a:pt x="2376" y="984"/>
                  </a:lnTo>
                  <a:lnTo>
                    <a:pt x="2388" y="972"/>
                  </a:lnTo>
                  <a:lnTo>
                    <a:pt x="2358" y="942"/>
                  </a:lnTo>
                  <a:lnTo>
                    <a:pt x="2340" y="942"/>
                  </a:lnTo>
                  <a:lnTo>
                    <a:pt x="2328" y="936"/>
                  </a:lnTo>
                  <a:lnTo>
                    <a:pt x="2316" y="936"/>
                  </a:lnTo>
                  <a:lnTo>
                    <a:pt x="2322" y="918"/>
                  </a:lnTo>
                  <a:lnTo>
                    <a:pt x="2304" y="924"/>
                  </a:lnTo>
                  <a:lnTo>
                    <a:pt x="2262" y="930"/>
                  </a:lnTo>
                  <a:lnTo>
                    <a:pt x="2208" y="936"/>
                  </a:lnTo>
                  <a:lnTo>
                    <a:pt x="2160" y="942"/>
                  </a:lnTo>
                  <a:lnTo>
                    <a:pt x="2112" y="942"/>
                  </a:lnTo>
                  <a:lnTo>
                    <a:pt x="2064" y="936"/>
                  </a:lnTo>
                  <a:lnTo>
                    <a:pt x="2034" y="930"/>
                  </a:lnTo>
                  <a:lnTo>
                    <a:pt x="2028" y="924"/>
                  </a:lnTo>
                  <a:lnTo>
                    <a:pt x="2052" y="918"/>
                  </a:lnTo>
                  <a:lnTo>
                    <a:pt x="2082" y="918"/>
                  </a:lnTo>
                  <a:lnTo>
                    <a:pt x="2118" y="912"/>
                  </a:lnTo>
                  <a:lnTo>
                    <a:pt x="2142" y="900"/>
                  </a:lnTo>
                  <a:lnTo>
                    <a:pt x="2142" y="888"/>
                  </a:lnTo>
                  <a:lnTo>
                    <a:pt x="2112" y="864"/>
                  </a:lnTo>
                  <a:lnTo>
                    <a:pt x="2082" y="852"/>
                  </a:lnTo>
                  <a:lnTo>
                    <a:pt x="2004" y="852"/>
                  </a:lnTo>
                  <a:lnTo>
                    <a:pt x="1968" y="840"/>
                  </a:lnTo>
                  <a:lnTo>
                    <a:pt x="1944" y="834"/>
                  </a:lnTo>
                  <a:lnTo>
                    <a:pt x="1938" y="828"/>
                  </a:lnTo>
                  <a:lnTo>
                    <a:pt x="1908" y="828"/>
                  </a:lnTo>
                  <a:lnTo>
                    <a:pt x="1896" y="822"/>
                  </a:lnTo>
                  <a:lnTo>
                    <a:pt x="1866" y="804"/>
                  </a:lnTo>
                  <a:lnTo>
                    <a:pt x="1836" y="792"/>
                  </a:lnTo>
                  <a:lnTo>
                    <a:pt x="1812" y="786"/>
                  </a:lnTo>
                  <a:lnTo>
                    <a:pt x="1800" y="792"/>
                  </a:lnTo>
                  <a:lnTo>
                    <a:pt x="1782" y="798"/>
                  </a:lnTo>
                  <a:lnTo>
                    <a:pt x="1770" y="804"/>
                  </a:lnTo>
                  <a:lnTo>
                    <a:pt x="1758" y="816"/>
                  </a:lnTo>
                  <a:lnTo>
                    <a:pt x="1734" y="828"/>
                  </a:lnTo>
                  <a:lnTo>
                    <a:pt x="1680" y="828"/>
                  </a:lnTo>
                  <a:lnTo>
                    <a:pt x="1710" y="810"/>
                  </a:lnTo>
                  <a:lnTo>
                    <a:pt x="1710" y="798"/>
                  </a:lnTo>
                  <a:lnTo>
                    <a:pt x="1734" y="768"/>
                  </a:lnTo>
                  <a:lnTo>
                    <a:pt x="1728" y="768"/>
                  </a:lnTo>
                  <a:lnTo>
                    <a:pt x="1722" y="774"/>
                  </a:lnTo>
                  <a:lnTo>
                    <a:pt x="1674" y="798"/>
                  </a:lnTo>
                  <a:lnTo>
                    <a:pt x="1650" y="822"/>
                  </a:lnTo>
                  <a:lnTo>
                    <a:pt x="1638" y="828"/>
                  </a:lnTo>
                  <a:lnTo>
                    <a:pt x="1620" y="834"/>
                  </a:lnTo>
                  <a:lnTo>
                    <a:pt x="1608" y="828"/>
                  </a:lnTo>
                  <a:lnTo>
                    <a:pt x="1602" y="816"/>
                  </a:lnTo>
                  <a:lnTo>
                    <a:pt x="1602" y="798"/>
                  </a:lnTo>
                  <a:lnTo>
                    <a:pt x="1614" y="774"/>
                  </a:lnTo>
                  <a:lnTo>
                    <a:pt x="1614" y="762"/>
                  </a:lnTo>
                  <a:lnTo>
                    <a:pt x="1608" y="750"/>
                  </a:lnTo>
                  <a:lnTo>
                    <a:pt x="1596" y="744"/>
                  </a:lnTo>
                  <a:lnTo>
                    <a:pt x="1590" y="738"/>
                  </a:lnTo>
                  <a:lnTo>
                    <a:pt x="1578" y="738"/>
                  </a:lnTo>
                  <a:lnTo>
                    <a:pt x="1572" y="744"/>
                  </a:lnTo>
                  <a:lnTo>
                    <a:pt x="1572" y="750"/>
                  </a:lnTo>
                  <a:lnTo>
                    <a:pt x="1578" y="762"/>
                  </a:lnTo>
                  <a:lnTo>
                    <a:pt x="1584" y="768"/>
                  </a:lnTo>
                  <a:lnTo>
                    <a:pt x="1542" y="768"/>
                  </a:lnTo>
                  <a:lnTo>
                    <a:pt x="1530" y="774"/>
                  </a:lnTo>
                  <a:lnTo>
                    <a:pt x="1512" y="780"/>
                  </a:lnTo>
                  <a:lnTo>
                    <a:pt x="1494" y="798"/>
                  </a:lnTo>
                  <a:lnTo>
                    <a:pt x="1446" y="798"/>
                  </a:lnTo>
                  <a:lnTo>
                    <a:pt x="1428" y="804"/>
                  </a:lnTo>
                  <a:lnTo>
                    <a:pt x="1416" y="804"/>
                  </a:lnTo>
                  <a:lnTo>
                    <a:pt x="1398" y="810"/>
                  </a:lnTo>
                  <a:lnTo>
                    <a:pt x="1380" y="810"/>
                  </a:lnTo>
                  <a:lnTo>
                    <a:pt x="1374" y="816"/>
                  </a:lnTo>
                  <a:lnTo>
                    <a:pt x="1368" y="816"/>
                  </a:lnTo>
                  <a:lnTo>
                    <a:pt x="1356" y="822"/>
                  </a:lnTo>
                  <a:lnTo>
                    <a:pt x="1350" y="828"/>
                  </a:lnTo>
                  <a:lnTo>
                    <a:pt x="1338" y="834"/>
                  </a:lnTo>
                  <a:lnTo>
                    <a:pt x="1314" y="816"/>
                  </a:lnTo>
                  <a:lnTo>
                    <a:pt x="1302" y="822"/>
                  </a:lnTo>
                  <a:lnTo>
                    <a:pt x="1296" y="828"/>
                  </a:lnTo>
                  <a:lnTo>
                    <a:pt x="1272" y="840"/>
                  </a:lnTo>
                  <a:lnTo>
                    <a:pt x="1260" y="840"/>
                  </a:lnTo>
                  <a:lnTo>
                    <a:pt x="1254" y="846"/>
                  </a:lnTo>
                  <a:lnTo>
                    <a:pt x="1242" y="846"/>
                  </a:lnTo>
                  <a:lnTo>
                    <a:pt x="1230" y="852"/>
                  </a:lnTo>
                  <a:lnTo>
                    <a:pt x="1224" y="858"/>
                  </a:lnTo>
                  <a:lnTo>
                    <a:pt x="1212" y="864"/>
                  </a:lnTo>
                  <a:lnTo>
                    <a:pt x="1176" y="864"/>
                  </a:lnTo>
                  <a:lnTo>
                    <a:pt x="1188" y="858"/>
                  </a:lnTo>
                  <a:lnTo>
                    <a:pt x="1194" y="846"/>
                  </a:lnTo>
                  <a:lnTo>
                    <a:pt x="1212" y="840"/>
                  </a:lnTo>
                  <a:lnTo>
                    <a:pt x="1236" y="828"/>
                  </a:lnTo>
                  <a:lnTo>
                    <a:pt x="1254" y="828"/>
                  </a:lnTo>
                  <a:lnTo>
                    <a:pt x="1266" y="822"/>
                  </a:lnTo>
                  <a:lnTo>
                    <a:pt x="1284" y="816"/>
                  </a:lnTo>
                  <a:lnTo>
                    <a:pt x="1290" y="810"/>
                  </a:lnTo>
                  <a:lnTo>
                    <a:pt x="1362" y="810"/>
                  </a:lnTo>
                  <a:lnTo>
                    <a:pt x="1386" y="798"/>
                  </a:lnTo>
                  <a:lnTo>
                    <a:pt x="1422" y="792"/>
                  </a:lnTo>
                  <a:lnTo>
                    <a:pt x="1458" y="780"/>
                  </a:lnTo>
                  <a:lnTo>
                    <a:pt x="1470" y="780"/>
                  </a:lnTo>
                  <a:lnTo>
                    <a:pt x="1476" y="774"/>
                  </a:lnTo>
                  <a:lnTo>
                    <a:pt x="1482" y="774"/>
                  </a:lnTo>
                  <a:lnTo>
                    <a:pt x="1476" y="768"/>
                  </a:lnTo>
                  <a:lnTo>
                    <a:pt x="1410" y="768"/>
                  </a:lnTo>
                  <a:lnTo>
                    <a:pt x="1398" y="774"/>
                  </a:lnTo>
                  <a:lnTo>
                    <a:pt x="1392" y="774"/>
                  </a:lnTo>
                  <a:lnTo>
                    <a:pt x="1380" y="780"/>
                  </a:lnTo>
                  <a:lnTo>
                    <a:pt x="1374" y="786"/>
                  </a:lnTo>
                  <a:lnTo>
                    <a:pt x="1368" y="786"/>
                  </a:lnTo>
                  <a:lnTo>
                    <a:pt x="1362" y="792"/>
                  </a:lnTo>
                  <a:lnTo>
                    <a:pt x="1278" y="792"/>
                  </a:lnTo>
                  <a:lnTo>
                    <a:pt x="1254" y="804"/>
                  </a:lnTo>
                  <a:lnTo>
                    <a:pt x="1248" y="810"/>
                  </a:lnTo>
                  <a:lnTo>
                    <a:pt x="1236" y="816"/>
                  </a:lnTo>
                  <a:lnTo>
                    <a:pt x="1230" y="822"/>
                  </a:lnTo>
                  <a:lnTo>
                    <a:pt x="1212" y="822"/>
                  </a:lnTo>
                  <a:lnTo>
                    <a:pt x="1158" y="846"/>
                  </a:lnTo>
                  <a:lnTo>
                    <a:pt x="1140" y="846"/>
                  </a:lnTo>
                  <a:lnTo>
                    <a:pt x="1128" y="858"/>
                  </a:lnTo>
                  <a:lnTo>
                    <a:pt x="1122" y="870"/>
                  </a:lnTo>
                  <a:lnTo>
                    <a:pt x="1122" y="876"/>
                  </a:lnTo>
                  <a:lnTo>
                    <a:pt x="1116" y="876"/>
                  </a:lnTo>
                  <a:lnTo>
                    <a:pt x="1110" y="870"/>
                  </a:lnTo>
                  <a:lnTo>
                    <a:pt x="1110" y="846"/>
                  </a:lnTo>
                  <a:lnTo>
                    <a:pt x="1116" y="846"/>
                  </a:lnTo>
                  <a:lnTo>
                    <a:pt x="1152" y="834"/>
                  </a:lnTo>
                  <a:lnTo>
                    <a:pt x="1176" y="822"/>
                  </a:lnTo>
                  <a:lnTo>
                    <a:pt x="1194" y="816"/>
                  </a:lnTo>
                  <a:lnTo>
                    <a:pt x="1188" y="810"/>
                  </a:lnTo>
                  <a:lnTo>
                    <a:pt x="1176" y="810"/>
                  </a:lnTo>
                  <a:lnTo>
                    <a:pt x="1164" y="804"/>
                  </a:lnTo>
                  <a:lnTo>
                    <a:pt x="1140" y="804"/>
                  </a:lnTo>
                  <a:lnTo>
                    <a:pt x="1122" y="822"/>
                  </a:lnTo>
                  <a:lnTo>
                    <a:pt x="1110" y="828"/>
                  </a:lnTo>
                  <a:lnTo>
                    <a:pt x="1092" y="828"/>
                  </a:lnTo>
                  <a:lnTo>
                    <a:pt x="1080" y="834"/>
                  </a:lnTo>
                  <a:lnTo>
                    <a:pt x="1068" y="834"/>
                  </a:lnTo>
                  <a:lnTo>
                    <a:pt x="1068" y="840"/>
                  </a:lnTo>
                  <a:lnTo>
                    <a:pt x="1062" y="846"/>
                  </a:lnTo>
                  <a:lnTo>
                    <a:pt x="1062" y="876"/>
                  </a:lnTo>
                  <a:lnTo>
                    <a:pt x="1038" y="858"/>
                  </a:lnTo>
                  <a:lnTo>
                    <a:pt x="972" y="852"/>
                  </a:lnTo>
                  <a:lnTo>
                    <a:pt x="960" y="846"/>
                  </a:lnTo>
                  <a:lnTo>
                    <a:pt x="948" y="834"/>
                  </a:lnTo>
                  <a:lnTo>
                    <a:pt x="936" y="834"/>
                  </a:lnTo>
                  <a:lnTo>
                    <a:pt x="936" y="828"/>
                  </a:lnTo>
                  <a:lnTo>
                    <a:pt x="942" y="822"/>
                  </a:lnTo>
                  <a:lnTo>
                    <a:pt x="942" y="810"/>
                  </a:lnTo>
                  <a:lnTo>
                    <a:pt x="948" y="804"/>
                  </a:lnTo>
                  <a:lnTo>
                    <a:pt x="834" y="804"/>
                  </a:lnTo>
                  <a:lnTo>
                    <a:pt x="852" y="804"/>
                  </a:lnTo>
                  <a:lnTo>
                    <a:pt x="78" y="1440"/>
                  </a:lnTo>
                  <a:lnTo>
                    <a:pt x="72" y="1446"/>
                  </a:lnTo>
                  <a:lnTo>
                    <a:pt x="60" y="1452"/>
                  </a:lnTo>
                  <a:lnTo>
                    <a:pt x="54" y="1464"/>
                  </a:lnTo>
                  <a:lnTo>
                    <a:pt x="54" y="1476"/>
                  </a:lnTo>
                  <a:lnTo>
                    <a:pt x="108" y="1476"/>
                  </a:lnTo>
                  <a:lnTo>
                    <a:pt x="120" y="1464"/>
                  </a:lnTo>
                  <a:lnTo>
                    <a:pt x="156" y="1464"/>
                  </a:lnTo>
                  <a:lnTo>
                    <a:pt x="132" y="1488"/>
                  </a:lnTo>
                  <a:lnTo>
                    <a:pt x="132" y="1494"/>
                  </a:lnTo>
                  <a:lnTo>
                    <a:pt x="138" y="1506"/>
                  </a:lnTo>
                  <a:lnTo>
                    <a:pt x="138" y="1524"/>
                  </a:lnTo>
                  <a:lnTo>
                    <a:pt x="144" y="1530"/>
                  </a:lnTo>
                  <a:lnTo>
                    <a:pt x="156" y="1536"/>
                  </a:lnTo>
                  <a:lnTo>
                    <a:pt x="162" y="1542"/>
                  </a:lnTo>
                  <a:lnTo>
                    <a:pt x="144" y="1560"/>
                  </a:lnTo>
                  <a:lnTo>
                    <a:pt x="144" y="1572"/>
                  </a:lnTo>
                  <a:lnTo>
                    <a:pt x="150" y="1572"/>
                  </a:lnTo>
                  <a:lnTo>
                    <a:pt x="156" y="1566"/>
                  </a:lnTo>
                  <a:lnTo>
                    <a:pt x="168" y="1560"/>
                  </a:lnTo>
                  <a:lnTo>
                    <a:pt x="174" y="1554"/>
                  </a:lnTo>
                  <a:lnTo>
                    <a:pt x="180" y="1554"/>
                  </a:lnTo>
                  <a:lnTo>
                    <a:pt x="186" y="1548"/>
                  </a:lnTo>
                  <a:lnTo>
                    <a:pt x="198" y="1548"/>
                  </a:lnTo>
                  <a:lnTo>
                    <a:pt x="210" y="1542"/>
                  </a:lnTo>
                  <a:lnTo>
                    <a:pt x="222" y="1542"/>
                  </a:lnTo>
                  <a:lnTo>
                    <a:pt x="234" y="1536"/>
                  </a:lnTo>
                  <a:lnTo>
                    <a:pt x="240" y="1530"/>
                  </a:lnTo>
                  <a:lnTo>
                    <a:pt x="258" y="1530"/>
                  </a:lnTo>
                  <a:lnTo>
                    <a:pt x="258" y="1518"/>
                  </a:lnTo>
                  <a:lnTo>
                    <a:pt x="264" y="1518"/>
                  </a:lnTo>
                  <a:lnTo>
                    <a:pt x="270" y="1512"/>
                  </a:lnTo>
                  <a:lnTo>
                    <a:pt x="282" y="1512"/>
                  </a:lnTo>
                  <a:lnTo>
                    <a:pt x="300" y="1506"/>
                  </a:lnTo>
                  <a:lnTo>
                    <a:pt x="312" y="1506"/>
                  </a:lnTo>
                  <a:lnTo>
                    <a:pt x="330" y="1512"/>
                  </a:lnTo>
                  <a:lnTo>
                    <a:pt x="336" y="1518"/>
                  </a:lnTo>
                  <a:lnTo>
                    <a:pt x="330" y="1524"/>
                  </a:lnTo>
                  <a:lnTo>
                    <a:pt x="324" y="1524"/>
                  </a:lnTo>
                  <a:lnTo>
                    <a:pt x="318" y="1530"/>
                  </a:lnTo>
                  <a:lnTo>
                    <a:pt x="318" y="1560"/>
                  </a:lnTo>
                  <a:lnTo>
                    <a:pt x="306" y="1572"/>
                  </a:lnTo>
                  <a:lnTo>
                    <a:pt x="324" y="1590"/>
                  </a:lnTo>
                  <a:lnTo>
                    <a:pt x="330" y="1602"/>
                  </a:lnTo>
                  <a:lnTo>
                    <a:pt x="330" y="1620"/>
                  </a:lnTo>
                  <a:lnTo>
                    <a:pt x="312" y="1656"/>
                  </a:lnTo>
                  <a:lnTo>
                    <a:pt x="312" y="1698"/>
                  </a:lnTo>
                  <a:lnTo>
                    <a:pt x="306" y="1704"/>
                  </a:lnTo>
                  <a:lnTo>
                    <a:pt x="300" y="1716"/>
                  </a:lnTo>
                  <a:lnTo>
                    <a:pt x="300" y="1728"/>
                  </a:lnTo>
                  <a:lnTo>
                    <a:pt x="294" y="1740"/>
                  </a:lnTo>
                  <a:lnTo>
                    <a:pt x="294" y="1746"/>
                  </a:lnTo>
                  <a:lnTo>
                    <a:pt x="300" y="1752"/>
                  </a:lnTo>
                  <a:lnTo>
                    <a:pt x="312" y="1758"/>
                  </a:lnTo>
                  <a:lnTo>
                    <a:pt x="318" y="1764"/>
                  </a:lnTo>
                  <a:lnTo>
                    <a:pt x="324" y="1764"/>
                  </a:lnTo>
                  <a:lnTo>
                    <a:pt x="330" y="1770"/>
                  </a:lnTo>
                  <a:lnTo>
                    <a:pt x="330" y="1776"/>
                  </a:lnTo>
                  <a:lnTo>
                    <a:pt x="348" y="1776"/>
                  </a:lnTo>
                  <a:lnTo>
                    <a:pt x="354" y="1782"/>
                  </a:lnTo>
                  <a:lnTo>
                    <a:pt x="354" y="1794"/>
                  </a:lnTo>
                  <a:lnTo>
                    <a:pt x="342" y="1800"/>
                  </a:lnTo>
                  <a:lnTo>
                    <a:pt x="330" y="1812"/>
                  </a:lnTo>
                  <a:lnTo>
                    <a:pt x="318" y="1818"/>
                  </a:lnTo>
                  <a:lnTo>
                    <a:pt x="318" y="1830"/>
                  </a:lnTo>
                  <a:lnTo>
                    <a:pt x="312" y="1842"/>
                  </a:lnTo>
                  <a:lnTo>
                    <a:pt x="294" y="1860"/>
                  </a:lnTo>
                  <a:lnTo>
                    <a:pt x="282" y="1866"/>
                  </a:lnTo>
                  <a:lnTo>
                    <a:pt x="270" y="1878"/>
                  </a:lnTo>
                  <a:lnTo>
                    <a:pt x="252" y="1884"/>
                  </a:lnTo>
                  <a:lnTo>
                    <a:pt x="234" y="1896"/>
                  </a:lnTo>
                  <a:lnTo>
                    <a:pt x="228" y="1902"/>
                  </a:lnTo>
                  <a:lnTo>
                    <a:pt x="222" y="1914"/>
                  </a:lnTo>
                  <a:lnTo>
                    <a:pt x="222" y="1926"/>
                  </a:lnTo>
                  <a:lnTo>
                    <a:pt x="216" y="1932"/>
                  </a:lnTo>
                  <a:lnTo>
                    <a:pt x="216" y="1944"/>
                  </a:lnTo>
                  <a:lnTo>
                    <a:pt x="204" y="1956"/>
                  </a:lnTo>
                  <a:lnTo>
                    <a:pt x="210" y="1962"/>
                  </a:lnTo>
                  <a:lnTo>
                    <a:pt x="216" y="1962"/>
                  </a:lnTo>
                  <a:lnTo>
                    <a:pt x="216" y="1974"/>
                  </a:lnTo>
                  <a:lnTo>
                    <a:pt x="228" y="1986"/>
                  </a:lnTo>
                  <a:lnTo>
                    <a:pt x="240" y="1980"/>
                  </a:lnTo>
                  <a:lnTo>
                    <a:pt x="246" y="1968"/>
                  </a:lnTo>
                  <a:lnTo>
                    <a:pt x="258" y="1962"/>
                  </a:lnTo>
                  <a:lnTo>
                    <a:pt x="276" y="1956"/>
                  </a:lnTo>
                  <a:lnTo>
                    <a:pt x="294" y="1938"/>
                  </a:lnTo>
                  <a:lnTo>
                    <a:pt x="306" y="1938"/>
                  </a:lnTo>
                  <a:lnTo>
                    <a:pt x="306" y="1944"/>
                  </a:lnTo>
                  <a:lnTo>
                    <a:pt x="300" y="1950"/>
                  </a:lnTo>
                  <a:lnTo>
                    <a:pt x="288" y="1956"/>
                  </a:lnTo>
                  <a:lnTo>
                    <a:pt x="282" y="1956"/>
                  </a:lnTo>
                  <a:lnTo>
                    <a:pt x="276" y="1962"/>
                  </a:lnTo>
                  <a:lnTo>
                    <a:pt x="276" y="1974"/>
                  </a:lnTo>
                  <a:lnTo>
                    <a:pt x="282" y="1986"/>
                  </a:lnTo>
                  <a:lnTo>
                    <a:pt x="294" y="1998"/>
                  </a:lnTo>
                  <a:lnTo>
                    <a:pt x="252" y="1992"/>
                  </a:lnTo>
                  <a:lnTo>
                    <a:pt x="246" y="1998"/>
                  </a:lnTo>
                  <a:lnTo>
                    <a:pt x="240" y="2010"/>
                  </a:lnTo>
                  <a:lnTo>
                    <a:pt x="234" y="2016"/>
                  </a:lnTo>
                  <a:lnTo>
                    <a:pt x="228" y="2028"/>
                  </a:lnTo>
                  <a:lnTo>
                    <a:pt x="228" y="2034"/>
                  </a:lnTo>
                  <a:lnTo>
                    <a:pt x="234" y="2034"/>
                  </a:lnTo>
                  <a:lnTo>
                    <a:pt x="240" y="2040"/>
                  </a:lnTo>
                  <a:lnTo>
                    <a:pt x="252" y="2040"/>
                  </a:lnTo>
                  <a:lnTo>
                    <a:pt x="258" y="2046"/>
                  </a:lnTo>
                  <a:lnTo>
                    <a:pt x="252" y="2052"/>
                  </a:lnTo>
                  <a:lnTo>
                    <a:pt x="252" y="2058"/>
                  </a:lnTo>
                  <a:lnTo>
                    <a:pt x="246" y="2070"/>
                  </a:lnTo>
                  <a:lnTo>
                    <a:pt x="246" y="2076"/>
                  </a:lnTo>
                  <a:lnTo>
                    <a:pt x="252" y="2070"/>
                  </a:lnTo>
                  <a:lnTo>
                    <a:pt x="288" y="2052"/>
                  </a:lnTo>
                  <a:lnTo>
                    <a:pt x="306" y="2034"/>
                  </a:lnTo>
                  <a:lnTo>
                    <a:pt x="318" y="2028"/>
                  </a:lnTo>
                  <a:lnTo>
                    <a:pt x="318" y="2040"/>
                  </a:lnTo>
                  <a:lnTo>
                    <a:pt x="288" y="2058"/>
                  </a:lnTo>
                  <a:lnTo>
                    <a:pt x="312" y="2064"/>
                  </a:lnTo>
                  <a:lnTo>
                    <a:pt x="312" y="2076"/>
                  </a:lnTo>
                  <a:lnTo>
                    <a:pt x="294" y="2094"/>
                  </a:lnTo>
                  <a:lnTo>
                    <a:pt x="276" y="2076"/>
                  </a:lnTo>
                  <a:lnTo>
                    <a:pt x="270" y="2076"/>
                  </a:lnTo>
                  <a:lnTo>
                    <a:pt x="264" y="2082"/>
                  </a:lnTo>
                  <a:lnTo>
                    <a:pt x="240" y="2094"/>
                  </a:lnTo>
                  <a:lnTo>
                    <a:pt x="228" y="2094"/>
                  </a:lnTo>
                  <a:lnTo>
                    <a:pt x="216" y="2106"/>
                  </a:lnTo>
                  <a:lnTo>
                    <a:pt x="210" y="2118"/>
                  </a:lnTo>
                  <a:lnTo>
                    <a:pt x="204" y="2124"/>
                  </a:lnTo>
                  <a:lnTo>
                    <a:pt x="210" y="2118"/>
                  </a:lnTo>
                  <a:lnTo>
                    <a:pt x="222" y="2118"/>
                  </a:lnTo>
                  <a:lnTo>
                    <a:pt x="228" y="2112"/>
                  </a:lnTo>
                  <a:lnTo>
                    <a:pt x="276" y="2112"/>
                  </a:lnTo>
                  <a:lnTo>
                    <a:pt x="270" y="2112"/>
                  </a:lnTo>
                  <a:lnTo>
                    <a:pt x="264" y="2118"/>
                  </a:lnTo>
                  <a:lnTo>
                    <a:pt x="252" y="2118"/>
                  </a:lnTo>
                  <a:lnTo>
                    <a:pt x="240" y="2124"/>
                  </a:lnTo>
                  <a:lnTo>
                    <a:pt x="228" y="2124"/>
                  </a:lnTo>
                  <a:lnTo>
                    <a:pt x="216" y="2130"/>
                  </a:lnTo>
                  <a:lnTo>
                    <a:pt x="210" y="2130"/>
                  </a:lnTo>
                  <a:lnTo>
                    <a:pt x="210" y="2148"/>
                  </a:lnTo>
                  <a:lnTo>
                    <a:pt x="204" y="2148"/>
                  </a:lnTo>
                  <a:lnTo>
                    <a:pt x="198" y="2142"/>
                  </a:lnTo>
                  <a:lnTo>
                    <a:pt x="174" y="2142"/>
                  </a:lnTo>
                  <a:lnTo>
                    <a:pt x="174" y="2154"/>
                  </a:lnTo>
                  <a:lnTo>
                    <a:pt x="180" y="2166"/>
                  </a:lnTo>
                  <a:lnTo>
                    <a:pt x="192" y="2172"/>
                  </a:lnTo>
                  <a:lnTo>
                    <a:pt x="198" y="2178"/>
                  </a:lnTo>
                  <a:lnTo>
                    <a:pt x="246" y="2160"/>
                  </a:lnTo>
                  <a:lnTo>
                    <a:pt x="264" y="2184"/>
                  </a:lnTo>
                  <a:lnTo>
                    <a:pt x="300" y="2166"/>
                  </a:lnTo>
                  <a:lnTo>
                    <a:pt x="294" y="2172"/>
                  </a:lnTo>
                  <a:lnTo>
                    <a:pt x="288" y="2184"/>
                  </a:lnTo>
                  <a:lnTo>
                    <a:pt x="276" y="2190"/>
                  </a:lnTo>
                  <a:lnTo>
                    <a:pt x="270" y="2196"/>
                  </a:lnTo>
                  <a:lnTo>
                    <a:pt x="264" y="2208"/>
                  </a:lnTo>
                  <a:lnTo>
                    <a:pt x="264" y="2214"/>
                  </a:lnTo>
                  <a:lnTo>
                    <a:pt x="276" y="2214"/>
                  </a:lnTo>
                  <a:lnTo>
                    <a:pt x="282" y="2208"/>
                  </a:lnTo>
                  <a:lnTo>
                    <a:pt x="300" y="2202"/>
                  </a:lnTo>
                  <a:lnTo>
                    <a:pt x="318" y="2184"/>
                  </a:lnTo>
                  <a:lnTo>
                    <a:pt x="330" y="2178"/>
                  </a:lnTo>
                  <a:lnTo>
                    <a:pt x="306" y="2202"/>
                  </a:lnTo>
                  <a:lnTo>
                    <a:pt x="300" y="2214"/>
                  </a:lnTo>
                  <a:lnTo>
                    <a:pt x="294" y="2220"/>
                  </a:lnTo>
                  <a:lnTo>
                    <a:pt x="300" y="2220"/>
                  </a:lnTo>
                  <a:lnTo>
                    <a:pt x="312" y="2214"/>
                  </a:lnTo>
                  <a:lnTo>
                    <a:pt x="324" y="2214"/>
                  </a:lnTo>
                  <a:lnTo>
                    <a:pt x="318" y="2220"/>
                  </a:lnTo>
                  <a:lnTo>
                    <a:pt x="306" y="2226"/>
                  </a:lnTo>
                  <a:lnTo>
                    <a:pt x="300" y="2238"/>
                  </a:lnTo>
                  <a:lnTo>
                    <a:pt x="282" y="2256"/>
                  </a:lnTo>
                  <a:lnTo>
                    <a:pt x="288" y="2262"/>
                  </a:lnTo>
                  <a:lnTo>
                    <a:pt x="294" y="2262"/>
                  </a:lnTo>
                  <a:lnTo>
                    <a:pt x="342" y="2238"/>
                  </a:lnTo>
                  <a:lnTo>
                    <a:pt x="348" y="2232"/>
                  </a:lnTo>
                  <a:lnTo>
                    <a:pt x="324" y="2256"/>
                  </a:lnTo>
                  <a:lnTo>
                    <a:pt x="318" y="2268"/>
                  </a:lnTo>
                  <a:lnTo>
                    <a:pt x="318" y="2274"/>
                  </a:lnTo>
                  <a:lnTo>
                    <a:pt x="330" y="2280"/>
                  </a:lnTo>
                  <a:lnTo>
                    <a:pt x="342" y="2280"/>
                  </a:lnTo>
                  <a:lnTo>
                    <a:pt x="354" y="2292"/>
                  </a:lnTo>
                  <a:lnTo>
                    <a:pt x="354" y="2298"/>
                  </a:lnTo>
                  <a:lnTo>
                    <a:pt x="348" y="2304"/>
                  </a:lnTo>
                  <a:lnTo>
                    <a:pt x="348" y="2340"/>
                  </a:lnTo>
                  <a:lnTo>
                    <a:pt x="2058" y="2340"/>
                  </a:lnTo>
                  <a:lnTo>
                    <a:pt x="2064" y="2328"/>
                  </a:lnTo>
                  <a:lnTo>
                    <a:pt x="2064" y="2322"/>
                  </a:lnTo>
                  <a:lnTo>
                    <a:pt x="2070" y="2310"/>
                  </a:lnTo>
                  <a:lnTo>
                    <a:pt x="2076" y="2304"/>
                  </a:lnTo>
                  <a:lnTo>
                    <a:pt x="2088" y="2298"/>
                  </a:lnTo>
                  <a:lnTo>
                    <a:pt x="2100" y="2310"/>
                  </a:lnTo>
                  <a:lnTo>
                    <a:pt x="2088" y="2322"/>
                  </a:lnTo>
                  <a:lnTo>
                    <a:pt x="2082" y="2334"/>
                  </a:lnTo>
                  <a:lnTo>
                    <a:pt x="2082" y="2346"/>
                  </a:lnTo>
                  <a:lnTo>
                    <a:pt x="2094" y="2352"/>
                  </a:lnTo>
                  <a:lnTo>
                    <a:pt x="2112" y="2358"/>
                  </a:lnTo>
                  <a:lnTo>
                    <a:pt x="2124" y="2358"/>
                  </a:lnTo>
                  <a:lnTo>
                    <a:pt x="2142" y="2376"/>
                  </a:lnTo>
                  <a:lnTo>
                    <a:pt x="2154" y="2376"/>
                  </a:lnTo>
                  <a:lnTo>
                    <a:pt x="2154" y="2370"/>
                  </a:lnTo>
                  <a:lnTo>
                    <a:pt x="2166" y="2358"/>
                  </a:lnTo>
                  <a:lnTo>
                    <a:pt x="2178" y="2358"/>
                  </a:lnTo>
                  <a:lnTo>
                    <a:pt x="2190" y="2364"/>
                  </a:lnTo>
                  <a:lnTo>
                    <a:pt x="2202" y="2376"/>
                  </a:lnTo>
                  <a:lnTo>
                    <a:pt x="2202" y="2382"/>
                  </a:lnTo>
                  <a:lnTo>
                    <a:pt x="2208" y="2388"/>
                  </a:lnTo>
                  <a:lnTo>
                    <a:pt x="2238" y="2388"/>
                  </a:lnTo>
                  <a:lnTo>
                    <a:pt x="2256" y="2406"/>
                  </a:lnTo>
                  <a:lnTo>
                    <a:pt x="2268" y="2406"/>
                  </a:lnTo>
                  <a:lnTo>
                    <a:pt x="2280" y="2394"/>
                  </a:lnTo>
                  <a:lnTo>
                    <a:pt x="2292" y="2388"/>
                  </a:lnTo>
                  <a:lnTo>
                    <a:pt x="2298" y="2382"/>
                  </a:lnTo>
                  <a:lnTo>
                    <a:pt x="2298" y="2400"/>
                  </a:lnTo>
                  <a:lnTo>
                    <a:pt x="2346" y="2394"/>
                  </a:lnTo>
                  <a:lnTo>
                    <a:pt x="2346" y="2400"/>
                  </a:lnTo>
                  <a:lnTo>
                    <a:pt x="2352" y="2400"/>
                  </a:lnTo>
                  <a:lnTo>
                    <a:pt x="2364" y="2406"/>
                  </a:lnTo>
                  <a:lnTo>
                    <a:pt x="2382" y="2406"/>
                  </a:lnTo>
                  <a:lnTo>
                    <a:pt x="2394" y="2394"/>
                  </a:lnTo>
                  <a:lnTo>
                    <a:pt x="2406" y="2388"/>
                  </a:lnTo>
                  <a:lnTo>
                    <a:pt x="2412" y="2376"/>
                  </a:lnTo>
                  <a:lnTo>
                    <a:pt x="2412" y="2370"/>
                  </a:lnTo>
                  <a:lnTo>
                    <a:pt x="2430" y="2370"/>
                  </a:lnTo>
                  <a:lnTo>
                    <a:pt x="2436" y="2376"/>
                  </a:lnTo>
                  <a:lnTo>
                    <a:pt x="2442" y="2376"/>
                  </a:lnTo>
                  <a:lnTo>
                    <a:pt x="2454" y="2364"/>
                  </a:lnTo>
                  <a:lnTo>
                    <a:pt x="2460" y="2352"/>
                  </a:lnTo>
                  <a:lnTo>
                    <a:pt x="2466" y="2346"/>
                  </a:lnTo>
                  <a:lnTo>
                    <a:pt x="2472" y="2346"/>
                  </a:lnTo>
                  <a:lnTo>
                    <a:pt x="2472" y="2352"/>
                  </a:lnTo>
                  <a:lnTo>
                    <a:pt x="2478" y="2358"/>
                  </a:lnTo>
                  <a:lnTo>
                    <a:pt x="2502" y="2352"/>
                  </a:lnTo>
                  <a:lnTo>
                    <a:pt x="2496" y="2346"/>
                  </a:lnTo>
                  <a:lnTo>
                    <a:pt x="2496" y="2334"/>
                  </a:lnTo>
                  <a:lnTo>
                    <a:pt x="2502" y="2328"/>
                  </a:lnTo>
                  <a:lnTo>
                    <a:pt x="2514" y="2322"/>
                  </a:lnTo>
                  <a:lnTo>
                    <a:pt x="2532" y="2340"/>
                  </a:lnTo>
                  <a:lnTo>
                    <a:pt x="2556" y="2340"/>
                  </a:lnTo>
                  <a:lnTo>
                    <a:pt x="2562" y="2346"/>
                  </a:lnTo>
                  <a:lnTo>
                    <a:pt x="2580" y="2346"/>
                  </a:lnTo>
                  <a:lnTo>
                    <a:pt x="2604" y="2358"/>
                  </a:lnTo>
                  <a:lnTo>
                    <a:pt x="2604" y="2370"/>
                  </a:lnTo>
                  <a:lnTo>
                    <a:pt x="2598" y="2382"/>
                  </a:lnTo>
                  <a:lnTo>
                    <a:pt x="2598" y="2388"/>
                  </a:lnTo>
                  <a:lnTo>
                    <a:pt x="2592" y="2400"/>
                  </a:lnTo>
                  <a:lnTo>
                    <a:pt x="2604" y="2412"/>
                  </a:lnTo>
                  <a:lnTo>
                    <a:pt x="2592" y="2436"/>
                  </a:lnTo>
                  <a:lnTo>
                    <a:pt x="2598" y="2436"/>
                  </a:lnTo>
                  <a:lnTo>
                    <a:pt x="2604" y="2430"/>
                  </a:lnTo>
                  <a:lnTo>
                    <a:pt x="2616" y="2424"/>
                  </a:lnTo>
                  <a:lnTo>
                    <a:pt x="2634" y="2418"/>
                  </a:lnTo>
                  <a:lnTo>
                    <a:pt x="2646" y="2412"/>
                  </a:lnTo>
                  <a:lnTo>
                    <a:pt x="2670" y="2412"/>
                  </a:lnTo>
                  <a:lnTo>
                    <a:pt x="2670" y="2424"/>
                  </a:lnTo>
                  <a:lnTo>
                    <a:pt x="2658" y="2430"/>
                  </a:lnTo>
                  <a:lnTo>
                    <a:pt x="2652" y="2436"/>
                  </a:lnTo>
                  <a:lnTo>
                    <a:pt x="2646" y="2436"/>
                  </a:lnTo>
                  <a:lnTo>
                    <a:pt x="2640" y="2442"/>
                  </a:lnTo>
                  <a:lnTo>
                    <a:pt x="2646" y="2448"/>
                  </a:lnTo>
                  <a:lnTo>
                    <a:pt x="2652" y="2448"/>
                  </a:lnTo>
                  <a:lnTo>
                    <a:pt x="2664" y="2460"/>
                  </a:lnTo>
                  <a:lnTo>
                    <a:pt x="2640" y="2484"/>
                  </a:lnTo>
                  <a:lnTo>
                    <a:pt x="2640" y="2490"/>
                  </a:lnTo>
                  <a:lnTo>
                    <a:pt x="2652" y="2490"/>
                  </a:lnTo>
                  <a:lnTo>
                    <a:pt x="2652" y="2502"/>
                  </a:lnTo>
                  <a:lnTo>
                    <a:pt x="2640" y="2514"/>
                  </a:lnTo>
                  <a:lnTo>
                    <a:pt x="2640" y="2526"/>
                  </a:lnTo>
                  <a:lnTo>
                    <a:pt x="2658" y="2526"/>
                  </a:lnTo>
                  <a:lnTo>
                    <a:pt x="2652" y="2544"/>
                  </a:lnTo>
                  <a:lnTo>
                    <a:pt x="2658" y="2544"/>
                  </a:lnTo>
                  <a:lnTo>
                    <a:pt x="2670" y="2550"/>
                  </a:lnTo>
                  <a:lnTo>
                    <a:pt x="2754" y="2550"/>
                  </a:lnTo>
                  <a:lnTo>
                    <a:pt x="2766" y="2556"/>
                  </a:lnTo>
                  <a:lnTo>
                    <a:pt x="2784" y="2568"/>
                  </a:lnTo>
                  <a:lnTo>
                    <a:pt x="2838" y="2568"/>
                  </a:lnTo>
                  <a:lnTo>
                    <a:pt x="2850" y="2574"/>
                  </a:lnTo>
                  <a:lnTo>
                    <a:pt x="2856" y="2580"/>
                  </a:lnTo>
                  <a:lnTo>
                    <a:pt x="2856" y="2610"/>
                  </a:lnTo>
                  <a:lnTo>
                    <a:pt x="2874" y="2610"/>
                  </a:lnTo>
                  <a:lnTo>
                    <a:pt x="2874" y="2628"/>
                  </a:lnTo>
                  <a:lnTo>
                    <a:pt x="2862" y="2640"/>
                  </a:lnTo>
                  <a:lnTo>
                    <a:pt x="2862" y="2652"/>
                  </a:lnTo>
                  <a:lnTo>
                    <a:pt x="2874" y="2664"/>
                  </a:lnTo>
                  <a:lnTo>
                    <a:pt x="2880" y="2664"/>
                  </a:lnTo>
                  <a:lnTo>
                    <a:pt x="2856" y="2658"/>
                  </a:lnTo>
                  <a:lnTo>
                    <a:pt x="2856" y="2670"/>
                  </a:lnTo>
                  <a:lnTo>
                    <a:pt x="2850" y="2676"/>
                  </a:lnTo>
                  <a:lnTo>
                    <a:pt x="2844" y="2688"/>
                  </a:lnTo>
                  <a:lnTo>
                    <a:pt x="2838" y="2694"/>
                  </a:lnTo>
                  <a:lnTo>
                    <a:pt x="2832" y="2688"/>
                  </a:lnTo>
                  <a:lnTo>
                    <a:pt x="2820" y="2682"/>
                  </a:lnTo>
                  <a:lnTo>
                    <a:pt x="2802" y="2670"/>
                  </a:lnTo>
                  <a:lnTo>
                    <a:pt x="2790" y="2664"/>
                  </a:lnTo>
                  <a:lnTo>
                    <a:pt x="2784" y="2652"/>
                  </a:lnTo>
                  <a:lnTo>
                    <a:pt x="2784" y="2628"/>
                  </a:lnTo>
                  <a:lnTo>
                    <a:pt x="2766" y="2622"/>
                  </a:lnTo>
                  <a:lnTo>
                    <a:pt x="2772" y="2640"/>
                  </a:lnTo>
                  <a:lnTo>
                    <a:pt x="2772" y="2646"/>
                  </a:lnTo>
                  <a:lnTo>
                    <a:pt x="2778" y="2652"/>
                  </a:lnTo>
                  <a:lnTo>
                    <a:pt x="2778" y="2664"/>
                  </a:lnTo>
                  <a:lnTo>
                    <a:pt x="2772" y="2676"/>
                  </a:lnTo>
                  <a:lnTo>
                    <a:pt x="2760" y="2688"/>
                  </a:lnTo>
                  <a:lnTo>
                    <a:pt x="2754" y="2700"/>
                  </a:lnTo>
                  <a:lnTo>
                    <a:pt x="2736" y="2706"/>
                  </a:lnTo>
                  <a:lnTo>
                    <a:pt x="2718" y="2724"/>
                  </a:lnTo>
                  <a:lnTo>
                    <a:pt x="2712" y="2742"/>
                  </a:lnTo>
                  <a:lnTo>
                    <a:pt x="2700" y="2760"/>
                  </a:lnTo>
                  <a:lnTo>
                    <a:pt x="2694" y="2778"/>
                  </a:lnTo>
                  <a:lnTo>
                    <a:pt x="2688" y="2784"/>
                  </a:lnTo>
                  <a:lnTo>
                    <a:pt x="2664" y="2796"/>
                  </a:lnTo>
                  <a:lnTo>
                    <a:pt x="2652" y="2796"/>
                  </a:lnTo>
                  <a:lnTo>
                    <a:pt x="2646" y="2790"/>
                  </a:lnTo>
                  <a:lnTo>
                    <a:pt x="2640" y="2802"/>
                  </a:lnTo>
                  <a:lnTo>
                    <a:pt x="2634" y="2808"/>
                  </a:lnTo>
                  <a:lnTo>
                    <a:pt x="2634" y="2832"/>
                  </a:lnTo>
                  <a:lnTo>
                    <a:pt x="2628" y="2838"/>
                  </a:lnTo>
                  <a:lnTo>
                    <a:pt x="2622" y="2838"/>
                  </a:lnTo>
                  <a:lnTo>
                    <a:pt x="2586" y="2856"/>
                  </a:lnTo>
                  <a:lnTo>
                    <a:pt x="2562" y="2880"/>
                  </a:lnTo>
                  <a:lnTo>
                    <a:pt x="2562" y="2886"/>
                  </a:lnTo>
                  <a:lnTo>
                    <a:pt x="2568" y="2886"/>
                  </a:lnTo>
                  <a:lnTo>
                    <a:pt x="2580" y="2880"/>
                  </a:lnTo>
                  <a:lnTo>
                    <a:pt x="2592" y="2880"/>
                  </a:lnTo>
                  <a:lnTo>
                    <a:pt x="2598" y="2886"/>
                  </a:lnTo>
                  <a:lnTo>
                    <a:pt x="2610" y="2880"/>
                  </a:lnTo>
                  <a:lnTo>
                    <a:pt x="2616" y="2868"/>
                  </a:lnTo>
                  <a:lnTo>
                    <a:pt x="2628" y="2862"/>
                  </a:lnTo>
                  <a:lnTo>
                    <a:pt x="2658" y="2862"/>
                  </a:lnTo>
                  <a:lnTo>
                    <a:pt x="2658" y="2856"/>
                  </a:lnTo>
                  <a:lnTo>
                    <a:pt x="2664" y="2844"/>
                  </a:lnTo>
                  <a:lnTo>
                    <a:pt x="2676" y="2838"/>
                  </a:lnTo>
                  <a:lnTo>
                    <a:pt x="2682" y="2832"/>
                  </a:lnTo>
                  <a:lnTo>
                    <a:pt x="2754" y="2832"/>
                  </a:lnTo>
                  <a:lnTo>
                    <a:pt x="2766" y="2838"/>
                  </a:lnTo>
                  <a:lnTo>
                    <a:pt x="2790" y="2820"/>
                  </a:lnTo>
                  <a:lnTo>
                    <a:pt x="2856" y="2820"/>
                  </a:lnTo>
                  <a:lnTo>
                    <a:pt x="2862" y="2814"/>
                  </a:lnTo>
                  <a:lnTo>
                    <a:pt x="2862" y="2790"/>
                  </a:lnTo>
                  <a:lnTo>
                    <a:pt x="2844" y="2796"/>
                  </a:lnTo>
                  <a:lnTo>
                    <a:pt x="2832" y="2796"/>
                  </a:lnTo>
                  <a:lnTo>
                    <a:pt x="2826" y="2790"/>
                  </a:lnTo>
                  <a:lnTo>
                    <a:pt x="2826" y="2784"/>
                  </a:lnTo>
                  <a:lnTo>
                    <a:pt x="2832" y="2772"/>
                  </a:lnTo>
                  <a:lnTo>
                    <a:pt x="2850" y="2754"/>
                  </a:lnTo>
                  <a:lnTo>
                    <a:pt x="2868" y="2742"/>
                  </a:lnTo>
                  <a:lnTo>
                    <a:pt x="2880" y="2736"/>
                  </a:lnTo>
                  <a:lnTo>
                    <a:pt x="2910" y="2736"/>
                  </a:lnTo>
                  <a:lnTo>
                    <a:pt x="2928" y="2730"/>
                  </a:lnTo>
                  <a:lnTo>
                    <a:pt x="2952" y="2730"/>
                  </a:lnTo>
                  <a:lnTo>
                    <a:pt x="2964" y="2724"/>
                  </a:lnTo>
                  <a:lnTo>
                    <a:pt x="2970" y="2724"/>
                  </a:lnTo>
                  <a:lnTo>
                    <a:pt x="2976" y="2718"/>
                  </a:lnTo>
                  <a:lnTo>
                    <a:pt x="2982" y="2718"/>
                  </a:lnTo>
                  <a:lnTo>
                    <a:pt x="2994" y="2724"/>
                  </a:lnTo>
                  <a:lnTo>
                    <a:pt x="3000" y="2724"/>
                  </a:lnTo>
                  <a:lnTo>
                    <a:pt x="3012" y="2730"/>
                  </a:lnTo>
                  <a:lnTo>
                    <a:pt x="3018" y="2736"/>
                  </a:lnTo>
                  <a:lnTo>
                    <a:pt x="3024" y="2736"/>
                  </a:lnTo>
                  <a:lnTo>
                    <a:pt x="3030" y="2730"/>
                  </a:lnTo>
                  <a:lnTo>
                    <a:pt x="3030" y="2712"/>
                  </a:lnTo>
                  <a:lnTo>
                    <a:pt x="3036" y="2706"/>
                  </a:lnTo>
                  <a:lnTo>
                    <a:pt x="3048" y="2700"/>
                  </a:lnTo>
                  <a:lnTo>
                    <a:pt x="3060" y="2700"/>
                  </a:lnTo>
                  <a:lnTo>
                    <a:pt x="3066" y="2706"/>
                  </a:lnTo>
                  <a:lnTo>
                    <a:pt x="3072" y="2706"/>
                  </a:lnTo>
                  <a:lnTo>
                    <a:pt x="3072" y="2700"/>
                  </a:lnTo>
                  <a:lnTo>
                    <a:pt x="3102" y="2700"/>
                  </a:lnTo>
                  <a:lnTo>
                    <a:pt x="3114" y="2688"/>
                  </a:lnTo>
                  <a:lnTo>
                    <a:pt x="3126" y="2682"/>
                  </a:lnTo>
                  <a:lnTo>
                    <a:pt x="3150" y="2658"/>
                  </a:lnTo>
                  <a:lnTo>
                    <a:pt x="3162" y="2652"/>
                  </a:lnTo>
                  <a:lnTo>
                    <a:pt x="3174" y="2640"/>
                  </a:lnTo>
                  <a:lnTo>
                    <a:pt x="3408" y="2640"/>
                  </a:lnTo>
                  <a:lnTo>
                    <a:pt x="3408" y="2634"/>
                  </a:lnTo>
                  <a:lnTo>
                    <a:pt x="3420" y="2622"/>
                  </a:lnTo>
                  <a:lnTo>
                    <a:pt x="3438" y="2622"/>
                  </a:lnTo>
                  <a:lnTo>
                    <a:pt x="3450" y="2616"/>
                  </a:lnTo>
                  <a:lnTo>
                    <a:pt x="3456" y="2616"/>
                  </a:lnTo>
                  <a:lnTo>
                    <a:pt x="3456" y="2610"/>
                  </a:lnTo>
                  <a:lnTo>
                    <a:pt x="3468" y="2598"/>
                  </a:lnTo>
                  <a:lnTo>
                    <a:pt x="3480" y="2592"/>
                  </a:lnTo>
                  <a:lnTo>
                    <a:pt x="3486" y="2586"/>
                  </a:lnTo>
                  <a:lnTo>
                    <a:pt x="3498" y="2586"/>
                  </a:lnTo>
                  <a:lnTo>
                    <a:pt x="3504" y="2592"/>
                  </a:lnTo>
                  <a:lnTo>
                    <a:pt x="3510" y="2592"/>
                  </a:lnTo>
                  <a:lnTo>
                    <a:pt x="3510" y="2568"/>
                  </a:lnTo>
                  <a:lnTo>
                    <a:pt x="3516" y="2556"/>
                  </a:lnTo>
                  <a:lnTo>
                    <a:pt x="3528" y="2544"/>
                  </a:lnTo>
                  <a:lnTo>
                    <a:pt x="3534" y="2544"/>
                  </a:lnTo>
                  <a:lnTo>
                    <a:pt x="3546" y="2532"/>
                  </a:lnTo>
                  <a:lnTo>
                    <a:pt x="3546" y="2508"/>
                  </a:lnTo>
                  <a:lnTo>
                    <a:pt x="3588" y="2484"/>
                  </a:lnTo>
                  <a:lnTo>
                    <a:pt x="3594" y="2472"/>
                  </a:lnTo>
                  <a:lnTo>
                    <a:pt x="3618" y="2448"/>
                  </a:lnTo>
                  <a:lnTo>
                    <a:pt x="3630" y="2448"/>
                  </a:lnTo>
                  <a:lnTo>
                    <a:pt x="3636" y="2454"/>
                  </a:lnTo>
                  <a:lnTo>
                    <a:pt x="3636" y="2460"/>
                  </a:lnTo>
                  <a:lnTo>
                    <a:pt x="3642" y="2466"/>
                  </a:lnTo>
                  <a:lnTo>
                    <a:pt x="3654" y="2466"/>
                  </a:lnTo>
                  <a:lnTo>
                    <a:pt x="3666" y="2460"/>
                  </a:lnTo>
                  <a:lnTo>
                    <a:pt x="3702" y="2460"/>
                  </a:lnTo>
                  <a:lnTo>
                    <a:pt x="3708" y="2466"/>
                  </a:lnTo>
                  <a:lnTo>
                    <a:pt x="3708" y="2472"/>
                  </a:lnTo>
                  <a:lnTo>
                    <a:pt x="3702" y="2496"/>
                  </a:lnTo>
                  <a:lnTo>
                    <a:pt x="3690" y="2520"/>
                  </a:lnTo>
                  <a:lnTo>
                    <a:pt x="3678" y="2550"/>
                  </a:lnTo>
                  <a:lnTo>
                    <a:pt x="3666" y="2574"/>
                  </a:lnTo>
                  <a:lnTo>
                    <a:pt x="3666" y="2586"/>
                  </a:lnTo>
                  <a:lnTo>
                    <a:pt x="3672" y="2592"/>
                  </a:lnTo>
                  <a:lnTo>
                    <a:pt x="3678" y="2592"/>
                  </a:lnTo>
                  <a:lnTo>
                    <a:pt x="3684" y="2598"/>
                  </a:lnTo>
                  <a:lnTo>
                    <a:pt x="3672" y="2610"/>
                  </a:lnTo>
                  <a:lnTo>
                    <a:pt x="3666" y="2622"/>
                  </a:lnTo>
                  <a:lnTo>
                    <a:pt x="3666" y="2628"/>
                  </a:lnTo>
                  <a:lnTo>
                    <a:pt x="3690" y="2628"/>
                  </a:lnTo>
                  <a:lnTo>
                    <a:pt x="3690" y="2634"/>
                  </a:lnTo>
                  <a:lnTo>
                    <a:pt x="3696" y="2640"/>
                  </a:lnTo>
                  <a:lnTo>
                    <a:pt x="3714" y="2640"/>
                  </a:lnTo>
                  <a:lnTo>
                    <a:pt x="3750" y="2622"/>
                  </a:lnTo>
                  <a:lnTo>
                    <a:pt x="3768" y="2604"/>
                  </a:lnTo>
                  <a:lnTo>
                    <a:pt x="3780" y="2622"/>
                  </a:lnTo>
                  <a:lnTo>
                    <a:pt x="3786" y="2622"/>
                  </a:lnTo>
                  <a:lnTo>
                    <a:pt x="3792" y="2616"/>
                  </a:lnTo>
                  <a:lnTo>
                    <a:pt x="3816" y="2604"/>
                  </a:lnTo>
                  <a:lnTo>
                    <a:pt x="3828" y="2604"/>
                  </a:lnTo>
                  <a:lnTo>
                    <a:pt x="3840" y="2592"/>
                  </a:lnTo>
                  <a:lnTo>
                    <a:pt x="3852" y="2592"/>
                  </a:lnTo>
                  <a:lnTo>
                    <a:pt x="3864" y="2580"/>
                  </a:lnTo>
                  <a:lnTo>
                    <a:pt x="3870" y="2580"/>
                  </a:lnTo>
                  <a:lnTo>
                    <a:pt x="3888" y="2586"/>
                  </a:lnTo>
                  <a:lnTo>
                    <a:pt x="3846" y="2616"/>
                  </a:lnTo>
                  <a:lnTo>
                    <a:pt x="3936" y="2610"/>
                  </a:lnTo>
                  <a:lnTo>
                    <a:pt x="3918" y="2610"/>
                  </a:lnTo>
                  <a:lnTo>
                    <a:pt x="3906" y="2616"/>
                  </a:lnTo>
                  <a:lnTo>
                    <a:pt x="3894" y="2616"/>
                  </a:lnTo>
                  <a:lnTo>
                    <a:pt x="3888" y="2622"/>
                  </a:lnTo>
                  <a:lnTo>
                    <a:pt x="3888" y="2634"/>
                  </a:lnTo>
                  <a:lnTo>
                    <a:pt x="3882" y="2640"/>
                  </a:lnTo>
                  <a:lnTo>
                    <a:pt x="3876" y="2640"/>
                  </a:lnTo>
                  <a:lnTo>
                    <a:pt x="3870" y="2634"/>
                  </a:lnTo>
                  <a:lnTo>
                    <a:pt x="3864" y="2634"/>
                  </a:lnTo>
                  <a:lnTo>
                    <a:pt x="3852" y="2628"/>
                  </a:lnTo>
                  <a:lnTo>
                    <a:pt x="3846" y="2628"/>
                  </a:lnTo>
                  <a:lnTo>
                    <a:pt x="3828" y="2634"/>
                  </a:lnTo>
                  <a:lnTo>
                    <a:pt x="3738" y="2688"/>
                  </a:lnTo>
                  <a:lnTo>
                    <a:pt x="3726" y="2700"/>
                  </a:lnTo>
                  <a:lnTo>
                    <a:pt x="3720" y="2712"/>
                  </a:lnTo>
                  <a:lnTo>
                    <a:pt x="3720" y="2748"/>
                  </a:lnTo>
                  <a:lnTo>
                    <a:pt x="3726" y="2748"/>
                  </a:lnTo>
                  <a:lnTo>
                    <a:pt x="3732" y="2742"/>
                  </a:lnTo>
                  <a:lnTo>
                    <a:pt x="3738" y="2742"/>
                  </a:lnTo>
                  <a:lnTo>
                    <a:pt x="3738" y="2754"/>
                  </a:lnTo>
                  <a:lnTo>
                    <a:pt x="3744" y="2760"/>
                  </a:lnTo>
                  <a:lnTo>
                    <a:pt x="3756" y="2760"/>
                  </a:lnTo>
                  <a:lnTo>
                    <a:pt x="3762" y="2754"/>
                  </a:lnTo>
                  <a:lnTo>
                    <a:pt x="3768" y="2742"/>
                  </a:lnTo>
                  <a:lnTo>
                    <a:pt x="3774" y="2736"/>
                  </a:lnTo>
                  <a:lnTo>
                    <a:pt x="3786" y="2736"/>
                  </a:lnTo>
                  <a:lnTo>
                    <a:pt x="3804" y="2730"/>
                  </a:lnTo>
                  <a:lnTo>
                    <a:pt x="3816" y="2724"/>
                  </a:lnTo>
                  <a:lnTo>
                    <a:pt x="3834" y="2718"/>
                  </a:lnTo>
                  <a:lnTo>
                    <a:pt x="3846" y="2706"/>
                  </a:lnTo>
                  <a:lnTo>
                    <a:pt x="3852" y="2694"/>
                  </a:lnTo>
                  <a:lnTo>
                    <a:pt x="3870" y="2676"/>
                  </a:lnTo>
                  <a:lnTo>
                    <a:pt x="3876" y="2664"/>
                  </a:lnTo>
                  <a:lnTo>
                    <a:pt x="3876" y="2670"/>
                  </a:lnTo>
                  <a:lnTo>
                    <a:pt x="3882" y="2682"/>
                  </a:lnTo>
                  <a:lnTo>
                    <a:pt x="3888" y="2688"/>
                  </a:lnTo>
                  <a:lnTo>
                    <a:pt x="3894" y="2688"/>
                  </a:lnTo>
                  <a:lnTo>
                    <a:pt x="3930" y="2676"/>
                  </a:lnTo>
                  <a:lnTo>
                    <a:pt x="3954" y="2664"/>
                  </a:lnTo>
                  <a:lnTo>
                    <a:pt x="3972" y="2658"/>
                  </a:lnTo>
                  <a:lnTo>
                    <a:pt x="3984" y="2652"/>
                  </a:lnTo>
                  <a:lnTo>
                    <a:pt x="4008" y="2646"/>
                  </a:lnTo>
                  <a:lnTo>
                    <a:pt x="4068" y="2634"/>
                  </a:lnTo>
                  <a:lnTo>
                    <a:pt x="4080" y="2628"/>
                  </a:lnTo>
                  <a:lnTo>
                    <a:pt x="4068" y="2616"/>
                  </a:lnTo>
                  <a:lnTo>
                    <a:pt x="4074" y="2598"/>
                  </a:lnTo>
                  <a:lnTo>
                    <a:pt x="4038" y="2604"/>
                  </a:lnTo>
                  <a:lnTo>
                    <a:pt x="4038" y="2580"/>
                  </a:lnTo>
                  <a:lnTo>
                    <a:pt x="4026" y="2586"/>
                  </a:lnTo>
                  <a:lnTo>
                    <a:pt x="4020" y="2586"/>
                  </a:lnTo>
                  <a:lnTo>
                    <a:pt x="4008" y="2592"/>
                  </a:lnTo>
                  <a:lnTo>
                    <a:pt x="4002" y="2598"/>
                  </a:lnTo>
                  <a:lnTo>
                    <a:pt x="3990" y="2598"/>
                  </a:lnTo>
                  <a:lnTo>
                    <a:pt x="3990" y="2580"/>
                  </a:lnTo>
                  <a:lnTo>
                    <a:pt x="3930" y="2580"/>
                  </a:lnTo>
                  <a:lnTo>
                    <a:pt x="3924" y="2574"/>
                  </a:lnTo>
                  <a:lnTo>
                    <a:pt x="3924" y="2568"/>
                  </a:lnTo>
                  <a:lnTo>
                    <a:pt x="3918" y="2562"/>
                  </a:lnTo>
                  <a:lnTo>
                    <a:pt x="3918" y="2556"/>
                  </a:lnTo>
                  <a:lnTo>
                    <a:pt x="3930" y="2556"/>
                  </a:lnTo>
                  <a:lnTo>
                    <a:pt x="3918" y="2544"/>
                  </a:lnTo>
                  <a:lnTo>
                    <a:pt x="3888" y="2544"/>
                  </a:lnTo>
                  <a:lnTo>
                    <a:pt x="3882" y="2532"/>
                  </a:lnTo>
                  <a:lnTo>
                    <a:pt x="3882" y="2526"/>
                  </a:lnTo>
                  <a:lnTo>
                    <a:pt x="3876" y="2514"/>
                  </a:lnTo>
                  <a:lnTo>
                    <a:pt x="3876" y="2502"/>
                  </a:lnTo>
                  <a:lnTo>
                    <a:pt x="3894" y="2484"/>
                  </a:lnTo>
                  <a:lnTo>
                    <a:pt x="3870" y="2484"/>
                  </a:lnTo>
                  <a:lnTo>
                    <a:pt x="3876" y="2478"/>
                  </a:lnTo>
                  <a:lnTo>
                    <a:pt x="3888" y="2472"/>
                  </a:lnTo>
                  <a:lnTo>
                    <a:pt x="3894" y="2460"/>
                  </a:lnTo>
                  <a:lnTo>
                    <a:pt x="3906" y="2454"/>
                  </a:lnTo>
                  <a:lnTo>
                    <a:pt x="3918" y="2442"/>
                  </a:lnTo>
                  <a:lnTo>
                    <a:pt x="3924" y="2430"/>
                  </a:lnTo>
                  <a:lnTo>
                    <a:pt x="3936" y="2424"/>
                  </a:lnTo>
                  <a:lnTo>
                    <a:pt x="3942" y="2412"/>
                  </a:lnTo>
                  <a:lnTo>
                    <a:pt x="3948" y="2406"/>
                  </a:lnTo>
                  <a:lnTo>
                    <a:pt x="3936" y="2400"/>
                  </a:lnTo>
                  <a:lnTo>
                    <a:pt x="3912" y="2430"/>
                  </a:lnTo>
                  <a:lnTo>
                    <a:pt x="3894" y="2418"/>
                  </a:lnTo>
                  <a:lnTo>
                    <a:pt x="3864" y="2436"/>
                  </a:lnTo>
                  <a:lnTo>
                    <a:pt x="3858" y="2418"/>
                  </a:lnTo>
                  <a:lnTo>
                    <a:pt x="3828" y="2406"/>
                  </a:lnTo>
                  <a:lnTo>
                    <a:pt x="3810" y="2412"/>
                  </a:lnTo>
                  <a:lnTo>
                    <a:pt x="3864" y="2394"/>
                  </a:lnTo>
                  <a:lnTo>
                    <a:pt x="3870" y="2400"/>
                  </a:lnTo>
                  <a:lnTo>
                    <a:pt x="3882" y="2406"/>
                  </a:lnTo>
                  <a:lnTo>
                    <a:pt x="3900" y="2406"/>
                  </a:lnTo>
                  <a:lnTo>
                    <a:pt x="3918" y="2388"/>
                  </a:lnTo>
                  <a:lnTo>
                    <a:pt x="3930" y="2382"/>
                  </a:lnTo>
                  <a:lnTo>
                    <a:pt x="3936" y="2376"/>
                  </a:lnTo>
                  <a:lnTo>
                    <a:pt x="3978" y="2376"/>
                  </a:lnTo>
                  <a:lnTo>
                    <a:pt x="3978" y="2364"/>
                  </a:lnTo>
                  <a:lnTo>
                    <a:pt x="3972" y="2358"/>
                  </a:lnTo>
                  <a:lnTo>
                    <a:pt x="3966" y="2346"/>
                  </a:lnTo>
                  <a:lnTo>
                    <a:pt x="3990" y="2346"/>
                  </a:lnTo>
                  <a:lnTo>
                    <a:pt x="3978" y="2334"/>
                  </a:lnTo>
                  <a:lnTo>
                    <a:pt x="3972" y="2322"/>
                  </a:lnTo>
                  <a:lnTo>
                    <a:pt x="3960" y="2316"/>
                  </a:lnTo>
                  <a:lnTo>
                    <a:pt x="3942" y="2310"/>
                  </a:lnTo>
                  <a:lnTo>
                    <a:pt x="3918" y="2310"/>
                  </a:lnTo>
                  <a:lnTo>
                    <a:pt x="3852" y="2316"/>
                  </a:lnTo>
                  <a:lnTo>
                    <a:pt x="3792" y="2334"/>
                  </a:lnTo>
                  <a:lnTo>
                    <a:pt x="3744" y="2352"/>
                  </a:lnTo>
                  <a:lnTo>
                    <a:pt x="3684" y="2376"/>
                  </a:lnTo>
                  <a:lnTo>
                    <a:pt x="3660" y="2388"/>
                  </a:lnTo>
                  <a:lnTo>
                    <a:pt x="3642" y="2400"/>
                  </a:lnTo>
                  <a:lnTo>
                    <a:pt x="3624" y="2418"/>
                  </a:lnTo>
                  <a:lnTo>
                    <a:pt x="3606" y="2430"/>
                  </a:lnTo>
                  <a:lnTo>
                    <a:pt x="3594" y="2442"/>
                  </a:lnTo>
                  <a:lnTo>
                    <a:pt x="3576" y="2454"/>
                  </a:lnTo>
                  <a:lnTo>
                    <a:pt x="3564" y="2466"/>
                  </a:lnTo>
                  <a:lnTo>
                    <a:pt x="3528" y="2484"/>
                  </a:lnTo>
                  <a:lnTo>
                    <a:pt x="3516" y="2484"/>
                  </a:lnTo>
                  <a:lnTo>
                    <a:pt x="3498" y="2490"/>
                  </a:lnTo>
                  <a:lnTo>
                    <a:pt x="3486" y="2490"/>
                  </a:lnTo>
                  <a:lnTo>
                    <a:pt x="3492" y="2490"/>
                  </a:lnTo>
                  <a:lnTo>
                    <a:pt x="3498" y="2484"/>
                  </a:lnTo>
                  <a:lnTo>
                    <a:pt x="3510" y="2478"/>
                  </a:lnTo>
                  <a:lnTo>
                    <a:pt x="3522" y="2466"/>
                  </a:lnTo>
                  <a:lnTo>
                    <a:pt x="3540" y="2460"/>
                  </a:lnTo>
                  <a:lnTo>
                    <a:pt x="3552" y="2448"/>
                  </a:lnTo>
                  <a:lnTo>
                    <a:pt x="3576" y="2436"/>
                  </a:lnTo>
                  <a:lnTo>
                    <a:pt x="3600" y="2412"/>
                  </a:lnTo>
                  <a:lnTo>
                    <a:pt x="3606" y="2400"/>
                  </a:lnTo>
                  <a:lnTo>
                    <a:pt x="3582" y="2388"/>
                  </a:lnTo>
                  <a:lnTo>
                    <a:pt x="3588" y="2388"/>
                  </a:lnTo>
                  <a:lnTo>
                    <a:pt x="3594" y="2394"/>
                  </a:lnTo>
                  <a:lnTo>
                    <a:pt x="3624" y="2394"/>
                  </a:lnTo>
                  <a:lnTo>
                    <a:pt x="3642" y="2382"/>
                  </a:lnTo>
                  <a:lnTo>
                    <a:pt x="3702" y="2334"/>
                  </a:lnTo>
                  <a:lnTo>
                    <a:pt x="3750" y="2310"/>
                  </a:lnTo>
                  <a:lnTo>
                    <a:pt x="3768" y="2304"/>
                  </a:lnTo>
                  <a:lnTo>
                    <a:pt x="3804" y="2304"/>
                  </a:lnTo>
                  <a:lnTo>
                    <a:pt x="3852" y="2256"/>
                  </a:lnTo>
                  <a:lnTo>
                    <a:pt x="3870" y="2244"/>
                  </a:lnTo>
                  <a:lnTo>
                    <a:pt x="3888" y="2238"/>
                  </a:lnTo>
                  <a:lnTo>
                    <a:pt x="3936" y="2232"/>
                  </a:lnTo>
                  <a:lnTo>
                    <a:pt x="3990" y="2232"/>
                  </a:lnTo>
                  <a:lnTo>
                    <a:pt x="4044" y="2226"/>
                  </a:lnTo>
                  <a:lnTo>
                    <a:pt x="4074" y="2226"/>
                  </a:lnTo>
                  <a:lnTo>
                    <a:pt x="4104" y="2232"/>
                  </a:lnTo>
                  <a:lnTo>
                    <a:pt x="4176" y="2244"/>
                  </a:lnTo>
                  <a:lnTo>
                    <a:pt x="4200" y="2250"/>
                  </a:lnTo>
                  <a:lnTo>
                    <a:pt x="4212" y="2244"/>
                  </a:lnTo>
                  <a:lnTo>
                    <a:pt x="4248" y="2232"/>
                  </a:lnTo>
                  <a:lnTo>
                    <a:pt x="4260" y="2226"/>
                  </a:lnTo>
                  <a:lnTo>
                    <a:pt x="4278" y="2226"/>
                  </a:lnTo>
                  <a:lnTo>
                    <a:pt x="4296" y="2220"/>
                  </a:lnTo>
                  <a:lnTo>
                    <a:pt x="4320" y="2214"/>
                  </a:lnTo>
                  <a:lnTo>
                    <a:pt x="4338" y="2208"/>
                  </a:lnTo>
                  <a:lnTo>
                    <a:pt x="4374" y="2172"/>
                  </a:lnTo>
                  <a:lnTo>
                    <a:pt x="4392" y="2166"/>
                  </a:lnTo>
                  <a:lnTo>
                    <a:pt x="4404" y="2154"/>
                  </a:lnTo>
                  <a:lnTo>
                    <a:pt x="4410" y="2154"/>
                  </a:lnTo>
                  <a:lnTo>
                    <a:pt x="4422" y="2148"/>
                  </a:lnTo>
                  <a:lnTo>
                    <a:pt x="4452" y="2148"/>
                  </a:lnTo>
                  <a:lnTo>
                    <a:pt x="4458" y="2142"/>
                  </a:lnTo>
                  <a:lnTo>
                    <a:pt x="4470" y="2136"/>
                  </a:lnTo>
                  <a:lnTo>
                    <a:pt x="4476" y="2130"/>
                  </a:lnTo>
                  <a:lnTo>
                    <a:pt x="4494" y="2130"/>
                  </a:lnTo>
                  <a:lnTo>
                    <a:pt x="4500" y="2136"/>
                  </a:lnTo>
                  <a:lnTo>
                    <a:pt x="4518" y="2136"/>
                  </a:lnTo>
                  <a:lnTo>
                    <a:pt x="4530" y="2130"/>
                  </a:lnTo>
                  <a:lnTo>
                    <a:pt x="4536" y="2130"/>
                  </a:lnTo>
                  <a:lnTo>
                    <a:pt x="4542" y="2124"/>
                  </a:lnTo>
                  <a:lnTo>
                    <a:pt x="4596" y="2106"/>
                  </a:lnTo>
                  <a:lnTo>
                    <a:pt x="4620" y="2094"/>
                  </a:lnTo>
                  <a:lnTo>
                    <a:pt x="4620" y="2088"/>
                  </a:lnTo>
                  <a:lnTo>
                    <a:pt x="4614" y="2076"/>
                  </a:lnTo>
                  <a:lnTo>
                    <a:pt x="4602" y="2070"/>
                  </a:lnTo>
                  <a:lnTo>
                    <a:pt x="4584" y="2052"/>
                  </a:lnTo>
                  <a:lnTo>
                    <a:pt x="4578" y="2052"/>
                  </a:lnTo>
                  <a:lnTo>
                    <a:pt x="4602" y="2052"/>
                  </a:lnTo>
                  <a:lnTo>
                    <a:pt x="4614" y="2046"/>
                  </a:lnTo>
                  <a:lnTo>
                    <a:pt x="4614" y="2028"/>
                  </a:lnTo>
                  <a:lnTo>
                    <a:pt x="4608" y="2022"/>
                  </a:lnTo>
                  <a:lnTo>
                    <a:pt x="4608" y="2010"/>
                  </a:lnTo>
                  <a:lnTo>
                    <a:pt x="4632" y="2010"/>
                  </a:lnTo>
                  <a:lnTo>
                    <a:pt x="4644" y="1998"/>
                  </a:lnTo>
                  <a:lnTo>
                    <a:pt x="4644" y="1992"/>
                  </a:lnTo>
                  <a:lnTo>
                    <a:pt x="4632" y="1980"/>
                  </a:lnTo>
                  <a:lnTo>
                    <a:pt x="4626" y="1968"/>
                  </a:lnTo>
                  <a:lnTo>
                    <a:pt x="4608" y="1962"/>
                  </a:lnTo>
                  <a:lnTo>
                    <a:pt x="4602" y="1956"/>
                  </a:lnTo>
                  <a:lnTo>
                    <a:pt x="4590" y="1962"/>
                  </a:lnTo>
                  <a:close/>
                </a:path>
              </a:pathLst>
            </a:custGeom>
            <a:solidFill>
              <a:srgbClr val="658B26"/>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88" name="Cameroon" descr="© INSCALE GmbH, 05.05.2010&#10;http://www.presentationload.com/"/>
            <p:cNvSpPr>
              <a:spLocks/>
            </p:cNvSpPr>
            <p:nvPr/>
          </p:nvSpPr>
          <p:spPr bwMode="gray">
            <a:xfrm>
              <a:off x="4459292" y="3651249"/>
              <a:ext cx="219076" cy="373063"/>
            </a:xfrm>
            <a:custGeom>
              <a:avLst/>
              <a:gdLst>
                <a:gd name="T0" fmla="*/ 2147483647 w 546"/>
                <a:gd name="T1" fmla="*/ 0 h 924"/>
                <a:gd name="T2" fmla="*/ 2147483647 w 546"/>
                <a:gd name="T3" fmla="*/ 2147483647 h 924"/>
                <a:gd name="T4" fmla="*/ 2147483647 w 546"/>
                <a:gd name="T5" fmla="*/ 2147483647 h 924"/>
                <a:gd name="T6" fmla="*/ 2147483647 w 546"/>
                <a:gd name="T7" fmla="*/ 2147483647 h 924"/>
                <a:gd name="T8" fmla="*/ 2147483647 w 546"/>
                <a:gd name="T9" fmla="*/ 2147483647 h 924"/>
                <a:gd name="T10" fmla="*/ 2147483647 w 546"/>
                <a:gd name="T11" fmla="*/ 2147483647 h 924"/>
                <a:gd name="T12" fmla="*/ 2147483647 w 546"/>
                <a:gd name="T13" fmla="*/ 2147483647 h 924"/>
                <a:gd name="T14" fmla="*/ 2147483647 w 546"/>
                <a:gd name="T15" fmla="*/ 2147483647 h 924"/>
                <a:gd name="T16" fmla="*/ 2147483647 w 546"/>
                <a:gd name="T17" fmla="*/ 2147483647 h 924"/>
                <a:gd name="T18" fmla="*/ 2147483647 w 546"/>
                <a:gd name="T19" fmla="*/ 2147483647 h 924"/>
                <a:gd name="T20" fmla="*/ 2147483647 w 546"/>
                <a:gd name="T21" fmla="*/ 2147483647 h 924"/>
                <a:gd name="T22" fmla="*/ 2147483647 w 546"/>
                <a:gd name="T23" fmla="*/ 2147483647 h 924"/>
                <a:gd name="T24" fmla="*/ 2147483647 w 546"/>
                <a:gd name="T25" fmla="*/ 2147483647 h 924"/>
                <a:gd name="T26" fmla="*/ 2147483647 w 546"/>
                <a:gd name="T27" fmla="*/ 2147483647 h 924"/>
                <a:gd name="T28" fmla="*/ 2147483647 w 546"/>
                <a:gd name="T29" fmla="*/ 2147483647 h 924"/>
                <a:gd name="T30" fmla="*/ 2147483647 w 546"/>
                <a:gd name="T31" fmla="*/ 2147483647 h 924"/>
                <a:gd name="T32" fmla="*/ 2147483647 w 546"/>
                <a:gd name="T33" fmla="*/ 2147483647 h 924"/>
                <a:gd name="T34" fmla="*/ 2147483647 w 546"/>
                <a:gd name="T35" fmla="*/ 2147483647 h 924"/>
                <a:gd name="T36" fmla="*/ 2147483647 w 546"/>
                <a:gd name="T37" fmla="*/ 2147483647 h 924"/>
                <a:gd name="T38" fmla="*/ 2147483647 w 546"/>
                <a:gd name="T39" fmla="*/ 2147483647 h 924"/>
                <a:gd name="T40" fmla="*/ 2147483647 w 546"/>
                <a:gd name="T41" fmla="*/ 2147483647 h 924"/>
                <a:gd name="T42" fmla="*/ 2147483647 w 546"/>
                <a:gd name="T43" fmla="*/ 2147483647 h 924"/>
                <a:gd name="T44" fmla="*/ 2147483647 w 546"/>
                <a:gd name="T45" fmla="*/ 2147483647 h 924"/>
                <a:gd name="T46" fmla="*/ 2147483647 w 546"/>
                <a:gd name="T47" fmla="*/ 2147483647 h 924"/>
                <a:gd name="T48" fmla="*/ 2147483647 w 546"/>
                <a:gd name="T49" fmla="*/ 2147483647 h 924"/>
                <a:gd name="T50" fmla="*/ 2147483647 w 546"/>
                <a:gd name="T51" fmla="*/ 2147483647 h 924"/>
                <a:gd name="T52" fmla="*/ 2147483647 w 546"/>
                <a:gd name="T53" fmla="*/ 2147483647 h 924"/>
                <a:gd name="T54" fmla="*/ 2147483647 w 546"/>
                <a:gd name="T55" fmla="*/ 2147483647 h 924"/>
                <a:gd name="T56" fmla="*/ 2147483647 w 546"/>
                <a:gd name="T57" fmla="*/ 2147483647 h 924"/>
                <a:gd name="T58" fmla="*/ 2147483647 w 546"/>
                <a:gd name="T59" fmla="*/ 2147483647 h 924"/>
                <a:gd name="T60" fmla="*/ 2147483647 w 546"/>
                <a:gd name="T61" fmla="*/ 2147483647 h 924"/>
                <a:gd name="T62" fmla="*/ 2147483647 w 546"/>
                <a:gd name="T63" fmla="*/ 2147483647 h 924"/>
                <a:gd name="T64" fmla="*/ 2147483647 w 546"/>
                <a:gd name="T65" fmla="*/ 2147483647 h 924"/>
                <a:gd name="T66" fmla="*/ 2147483647 w 546"/>
                <a:gd name="T67" fmla="*/ 2147483647 h 924"/>
                <a:gd name="T68" fmla="*/ 2147483647 w 546"/>
                <a:gd name="T69" fmla="*/ 2147483647 h 924"/>
                <a:gd name="T70" fmla="*/ 2147483647 w 546"/>
                <a:gd name="T71" fmla="*/ 2147483647 h 924"/>
                <a:gd name="T72" fmla="*/ 2147483647 w 546"/>
                <a:gd name="T73" fmla="*/ 2147483647 h 924"/>
                <a:gd name="T74" fmla="*/ 2147483647 w 546"/>
                <a:gd name="T75" fmla="*/ 2147483647 h 924"/>
                <a:gd name="T76" fmla="*/ 2147483647 w 546"/>
                <a:gd name="T77" fmla="*/ 2147483647 h 924"/>
                <a:gd name="T78" fmla="*/ 2147483647 w 546"/>
                <a:gd name="T79" fmla="*/ 2147483647 h 924"/>
                <a:gd name="T80" fmla="*/ 2147483647 w 546"/>
                <a:gd name="T81" fmla="*/ 2147483647 h 924"/>
                <a:gd name="T82" fmla="*/ 2147483647 w 546"/>
                <a:gd name="T83" fmla="*/ 2147483647 h 924"/>
                <a:gd name="T84" fmla="*/ 2147483647 w 546"/>
                <a:gd name="T85" fmla="*/ 2147483647 h 924"/>
                <a:gd name="T86" fmla="*/ 2147483647 w 546"/>
                <a:gd name="T87" fmla="*/ 2147483647 h 924"/>
                <a:gd name="T88" fmla="*/ 2147483647 w 546"/>
                <a:gd name="T89" fmla="*/ 2147483647 h 924"/>
                <a:gd name="T90" fmla="*/ 2147483647 w 546"/>
                <a:gd name="T91" fmla="*/ 2147483647 h 924"/>
                <a:gd name="T92" fmla="*/ 2147483647 w 546"/>
                <a:gd name="T93" fmla="*/ 2147483647 h 924"/>
                <a:gd name="T94" fmla="*/ 2147483647 w 546"/>
                <a:gd name="T95" fmla="*/ 2147483647 h 924"/>
                <a:gd name="T96" fmla="*/ 2147483647 w 546"/>
                <a:gd name="T97" fmla="*/ 2147483647 h 924"/>
                <a:gd name="T98" fmla="*/ 2147483647 w 546"/>
                <a:gd name="T99" fmla="*/ 2147483647 h 924"/>
                <a:gd name="T100" fmla="*/ 2147483647 w 546"/>
                <a:gd name="T101" fmla="*/ 2147483647 h 924"/>
                <a:gd name="T102" fmla="*/ 2147483647 w 546"/>
                <a:gd name="T103" fmla="*/ 2147483647 h 924"/>
                <a:gd name="T104" fmla="*/ 2147483647 w 546"/>
                <a:gd name="T105" fmla="*/ 2147483647 h 924"/>
                <a:gd name="T106" fmla="*/ 2147483647 w 546"/>
                <a:gd name="T107" fmla="*/ 2147483647 h 924"/>
                <a:gd name="T108" fmla="*/ 2147483647 w 546"/>
                <a:gd name="T109" fmla="*/ 2147483647 h 924"/>
                <a:gd name="T110" fmla="*/ 2147483647 w 546"/>
                <a:gd name="T111" fmla="*/ 2147483647 h 9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46"/>
                <a:gd name="T169" fmla="*/ 0 h 924"/>
                <a:gd name="T170" fmla="*/ 546 w 546"/>
                <a:gd name="T171" fmla="*/ 924 h 9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46" h="924">
                  <a:moveTo>
                    <a:pt x="420" y="30"/>
                  </a:moveTo>
                  <a:lnTo>
                    <a:pt x="414" y="18"/>
                  </a:lnTo>
                  <a:lnTo>
                    <a:pt x="414" y="0"/>
                  </a:lnTo>
                  <a:lnTo>
                    <a:pt x="390" y="6"/>
                  </a:lnTo>
                  <a:lnTo>
                    <a:pt x="390" y="54"/>
                  </a:lnTo>
                  <a:lnTo>
                    <a:pt x="396" y="60"/>
                  </a:lnTo>
                  <a:lnTo>
                    <a:pt x="396" y="66"/>
                  </a:lnTo>
                  <a:lnTo>
                    <a:pt x="426" y="66"/>
                  </a:lnTo>
                  <a:lnTo>
                    <a:pt x="426" y="96"/>
                  </a:lnTo>
                  <a:lnTo>
                    <a:pt x="420" y="102"/>
                  </a:lnTo>
                  <a:lnTo>
                    <a:pt x="420" y="108"/>
                  </a:lnTo>
                  <a:lnTo>
                    <a:pt x="426" y="114"/>
                  </a:lnTo>
                  <a:lnTo>
                    <a:pt x="426" y="126"/>
                  </a:lnTo>
                  <a:lnTo>
                    <a:pt x="408" y="144"/>
                  </a:lnTo>
                  <a:lnTo>
                    <a:pt x="396" y="150"/>
                  </a:lnTo>
                  <a:lnTo>
                    <a:pt x="384" y="150"/>
                  </a:lnTo>
                  <a:lnTo>
                    <a:pt x="384" y="156"/>
                  </a:lnTo>
                  <a:lnTo>
                    <a:pt x="378" y="162"/>
                  </a:lnTo>
                  <a:lnTo>
                    <a:pt x="378" y="168"/>
                  </a:lnTo>
                  <a:lnTo>
                    <a:pt x="372" y="174"/>
                  </a:lnTo>
                  <a:lnTo>
                    <a:pt x="372" y="180"/>
                  </a:lnTo>
                  <a:lnTo>
                    <a:pt x="360" y="192"/>
                  </a:lnTo>
                  <a:lnTo>
                    <a:pt x="354" y="204"/>
                  </a:lnTo>
                  <a:lnTo>
                    <a:pt x="348" y="234"/>
                  </a:lnTo>
                  <a:lnTo>
                    <a:pt x="342" y="240"/>
                  </a:lnTo>
                  <a:lnTo>
                    <a:pt x="342" y="270"/>
                  </a:lnTo>
                  <a:lnTo>
                    <a:pt x="336" y="288"/>
                  </a:lnTo>
                  <a:lnTo>
                    <a:pt x="330" y="294"/>
                  </a:lnTo>
                  <a:lnTo>
                    <a:pt x="312" y="294"/>
                  </a:lnTo>
                  <a:lnTo>
                    <a:pt x="312" y="324"/>
                  </a:lnTo>
                  <a:lnTo>
                    <a:pt x="306" y="342"/>
                  </a:lnTo>
                  <a:lnTo>
                    <a:pt x="306" y="354"/>
                  </a:lnTo>
                  <a:lnTo>
                    <a:pt x="300" y="360"/>
                  </a:lnTo>
                  <a:lnTo>
                    <a:pt x="288" y="366"/>
                  </a:lnTo>
                  <a:lnTo>
                    <a:pt x="282" y="372"/>
                  </a:lnTo>
                  <a:lnTo>
                    <a:pt x="270" y="378"/>
                  </a:lnTo>
                  <a:lnTo>
                    <a:pt x="258" y="426"/>
                  </a:lnTo>
                  <a:lnTo>
                    <a:pt x="234" y="456"/>
                  </a:lnTo>
                  <a:lnTo>
                    <a:pt x="234" y="486"/>
                  </a:lnTo>
                  <a:lnTo>
                    <a:pt x="228" y="492"/>
                  </a:lnTo>
                  <a:lnTo>
                    <a:pt x="216" y="498"/>
                  </a:lnTo>
                  <a:lnTo>
                    <a:pt x="210" y="510"/>
                  </a:lnTo>
                  <a:lnTo>
                    <a:pt x="210" y="522"/>
                  </a:lnTo>
                  <a:lnTo>
                    <a:pt x="192" y="540"/>
                  </a:lnTo>
                  <a:lnTo>
                    <a:pt x="186" y="540"/>
                  </a:lnTo>
                  <a:lnTo>
                    <a:pt x="180" y="534"/>
                  </a:lnTo>
                  <a:lnTo>
                    <a:pt x="174" y="522"/>
                  </a:lnTo>
                  <a:lnTo>
                    <a:pt x="174" y="516"/>
                  </a:lnTo>
                  <a:lnTo>
                    <a:pt x="168" y="504"/>
                  </a:lnTo>
                  <a:lnTo>
                    <a:pt x="156" y="492"/>
                  </a:lnTo>
                  <a:lnTo>
                    <a:pt x="150" y="480"/>
                  </a:lnTo>
                  <a:lnTo>
                    <a:pt x="138" y="480"/>
                  </a:lnTo>
                  <a:lnTo>
                    <a:pt x="144" y="486"/>
                  </a:lnTo>
                  <a:lnTo>
                    <a:pt x="144" y="498"/>
                  </a:lnTo>
                  <a:lnTo>
                    <a:pt x="138" y="504"/>
                  </a:lnTo>
                  <a:lnTo>
                    <a:pt x="132" y="504"/>
                  </a:lnTo>
                  <a:lnTo>
                    <a:pt x="120" y="498"/>
                  </a:lnTo>
                  <a:lnTo>
                    <a:pt x="114" y="492"/>
                  </a:lnTo>
                  <a:lnTo>
                    <a:pt x="108" y="492"/>
                  </a:lnTo>
                  <a:lnTo>
                    <a:pt x="102" y="498"/>
                  </a:lnTo>
                  <a:lnTo>
                    <a:pt x="90" y="522"/>
                  </a:lnTo>
                  <a:lnTo>
                    <a:pt x="84" y="528"/>
                  </a:lnTo>
                  <a:lnTo>
                    <a:pt x="84" y="534"/>
                  </a:lnTo>
                  <a:lnTo>
                    <a:pt x="18" y="588"/>
                  </a:lnTo>
                  <a:lnTo>
                    <a:pt x="18" y="642"/>
                  </a:lnTo>
                  <a:lnTo>
                    <a:pt x="12" y="654"/>
                  </a:lnTo>
                  <a:lnTo>
                    <a:pt x="12" y="666"/>
                  </a:lnTo>
                  <a:lnTo>
                    <a:pt x="6" y="672"/>
                  </a:lnTo>
                  <a:lnTo>
                    <a:pt x="6" y="678"/>
                  </a:lnTo>
                  <a:lnTo>
                    <a:pt x="0" y="690"/>
                  </a:lnTo>
                  <a:lnTo>
                    <a:pt x="24" y="684"/>
                  </a:lnTo>
                  <a:lnTo>
                    <a:pt x="24" y="708"/>
                  </a:lnTo>
                  <a:lnTo>
                    <a:pt x="36" y="732"/>
                  </a:lnTo>
                  <a:lnTo>
                    <a:pt x="60" y="744"/>
                  </a:lnTo>
                  <a:lnTo>
                    <a:pt x="66" y="750"/>
                  </a:lnTo>
                  <a:lnTo>
                    <a:pt x="84" y="726"/>
                  </a:lnTo>
                  <a:lnTo>
                    <a:pt x="66" y="756"/>
                  </a:lnTo>
                  <a:lnTo>
                    <a:pt x="84" y="786"/>
                  </a:lnTo>
                  <a:lnTo>
                    <a:pt x="102" y="792"/>
                  </a:lnTo>
                  <a:lnTo>
                    <a:pt x="102" y="840"/>
                  </a:lnTo>
                  <a:lnTo>
                    <a:pt x="90" y="840"/>
                  </a:lnTo>
                  <a:lnTo>
                    <a:pt x="90" y="870"/>
                  </a:lnTo>
                  <a:lnTo>
                    <a:pt x="102" y="882"/>
                  </a:lnTo>
                  <a:lnTo>
                    <a:pt x="198" y="882"/>
                  </a:lnTo>
                  <a:lnTo>
                    <a:pt x="216" y="864"/>
                  </a:lnTo>
                  <a:lnTo>
                    <a:pt x="228" y="882"/>
                  </a:lnTo>
                  <a:lnTo>
                    <a:pt x="258" y="882"/>
                  </a:lnTo>
                  <a:lnTo>
                    <a:pt x="270" y="870"/>
                  </a:lnTo>
                  <a:lnTo>
                    <a:pt x="276" y="870"/>
                  </a:lnTo>
                  <a:lnTo>
                    <a:pt x="288" y="876"/>
                  </a:lnTo>
                  <a:lnTo>
                    <a:pt x="294" y="876"/>
                  </a:lnTo>
                  <a:lnTo>
                    <a:pt x="342" y="870"/>
                  </a:lnTo>
                  <a:lnTo>
                    <a:pt x="342" y="888"/>
                  </a:lnTo>
                  <a:lnTo>
                    <a:pt x="372" y="888"/>
                  </a:lnTo>
                  <a:lnTo>
                    <a:pt x="390" y="882"/>
                  </a:lnTo>
                  <a:lnTo>
                    <a:pt x="438" y="882"/>
                  </a:lnTo>
                  <a:lnTo>
                    <a:pt x="450" y="888"/>
                  </a:lnTo>
                  <a:lnTo>
                    <a:pt x="456" y="894"/>
                  </a:lnTo>
                  <a:lnTo>
                    <a:pt x="468" y="894"/>
                  </a:lnTo>
                  <a:lnTo>
                    <a:pt x="474" y="900"/>
                  </a:lnTo>
                  <a:lnTo>
                    <a:pt x="510" y="900"/>
                  </a:lnTo>
                  <a:lnTo>
                    <a:pt x="534" y="924"/>
                  </a:lnTo>
                  <a:lnTo>
                    <a:pt x="540" y="882"/>
                  </a:lnTo>
                  <a:lnTo>
                    <a:pt x="546" y="876"/>
                  </a:lnTo>
                  <a:lnTo>
                    <a:pt x="534" y="864"/>
                  </a:lnTo>
                  <a:lnTo>
                    <a:pt x="534" y="834"/>
                  </a:lnTo>
                  <a:lnTo>
                    <a:pt x="528" y="816"/>
                  </a:lnTo>
                  <a:lnTo>
                    <a:pt x="516" y="810"/>
                  </a:lnTo>
                  <a:lnTo>
                    <a:pt x="510" y="798"/>
                  </a:lnTo>
                  <a:lnTo>
                    <a:pt x="498" y="792"/>
                  </a:lnTo>
                  <a:lnTo>
                    <a:pt x="486" y="780"/>
                  </a:lnTo>
                  <a:lnTo>
                    <a:pt x="474" y="756"/>
                  </a:lnTo>
                  <a:lnTo>
                    <a:pt x="468" y="750"/>
                  </a:lnTo>
                  <a:lnTo>
                    <a:pt x="468" y="708"/>
                  </a:lnTo>
                  <a:lnTo>
                    <a:pt x="462" y="708"/>
                  </a:lnTo>
                  <a:lnTo>
                    <a:pt x="444" y="690"/>
                  </a:lnTo>
                  <a:lnTo>
                    <a:pt x="438" y="690"/>
                  </a:lnTo>
                  <a:lnTo>
                    <a:pt x="438" y="642"/>
                  </a:lnTo>
                  <a:lnTo>
                    <a:pt x="420" y="630"/>
                  </a:lnTo>
                  <a:lnTo>
                    <a:pt x="432" y="618"/>
                  </a:lnTo>
                  <a:lnTo>
                    <a:pt x="432" y="582"/>
                  </a:lnTo>
                  <a:lnTo>
                    <a:pt x="426" y="582"/>
                  </a:lnTo>
                  <a:lnTo>
                    <a:pt x="414" y="576"/>
                  </a:lnTo>
                  <a:lnTo>
                    <a:pt x="414" y="570"/>
                  </a:lnTo>
                  <a:lnTo>
                    <a:pt x="426" y="558"/>
                  </a:lnTo>
                  <a:lnTo>
                    <a:pt x="438" y="552"/>
                  </a:lnTo>
                  <a:lnTo>
                    <a:pt x="444" y="546"/>
                  </a:lnTo>
                  <a:lnTo>
                    <a:pt x="450" y="546"/>
                  </a:lnTo>
                  <a:lnTo>
                    <a:pt x="456" y="510"/>
                  </a:lnTo>
                  <a:lnTo>
                    <a:pt x="462" y="510"/>
                  </a:lnTo>
                  <a:lnTo>
                    <a:pt x="468" y="498"/>
                  </a:lnTo>
                  <a:lnTo>
                    <a:pt x="468" y="480"/>
                  </a:lnTo>
                  <a:lnTo>
                    <a:pt x="474" y="474"/>
                  </a:lnTo>
                  <a:lnTo>
                    <a:pt x="480" y="462"/>
                  </a:lnTo>
                  <a:lnTo>
                    <a:pt x="492" y="450"/>
                  </a:lnTo>
                  <a:lnTo>
                    <a:pt x="498" y="450"/>
                  </a:lnTo>
                  <a:lnTo>
                    <a:pt x="498" y="438"/>
                  </a:lnTo>
                  <a:lnTo>
                    <a:pt x="492" y="420"/>
                  </a:lnTo>
                  <a:lnTo>
                    <a:pt x="486" y="408"/>
                  </a:lnTo>
                  <a:lnTo>
                    <a:pt x="486" y="390"/>
                  </a:lnTo>
                  <a:lnTo>
                    <a:pt x="474" y="366"/>
                  </a:lnTo>
                  <a:lnTo>
                    <a:pt x="462" y="354"/>
                  </a:lnTo>
                  <a:lnTo>
                    <a:pt x="450" y="348"/>
                  </a:lnTo>
                  <a:lnTo>
                    <a:pt x="432" y="336"/>
                  </a:lnTo>
                  <a:lnTo>
                    <a:pt x="420" y="324"/>
                  </a:lnTo>
                  <a:lnTo>
                    <a:pt x="414" y="312"/>
                  </a:lnTo>
                  <a:lnTo>
                    <a:pt x="402" y="300"/>
                  </a:lnTo>
                  <a:lnTo>
                    <a:pt x="390" y="276"/>
                  </a:lnTo>
                  <a:lnTo>
                    <a:pt x="390" y="264"/>
                  </a:lnTo>
                  <a:lnTo>
                    <a:pt x="396" y="258"/>
                  </a:lnTo>
                  <a:lnTo>
                    <a:pt x="408" y="252"/>
                  </a:lnTo>
                  <a:lnTo>
                    <a:pt x="504" y="252"/>
                  </a:lnTo>
                  <a:lnTo>
                    <a:pt x="486" y="234"/>
                  </a:lnTo>
                  <a:lnTo>
                    <a:pt x="480" y="222"/>
                  </a:lnTo>
                  <a:lnTo>
                    <a:pt x="468" y="216"/>
                  </a:lnTo>
                  <a:lnTo>
                    <a:pt x="462" y="204"/>
                  </a:lnTo>
                  <a:lnTo>
                    <a:pt x="462" y="186"/>
                  </a:lnTo>
                  <a:lnTo>
                    <a:pt x="456" y="168"/>
                  </a:lnTo>
                  <a:lnTo>
                    <a:pt x="456" y="132"/>
                  </a:lnTo>
                  <a:lnTo>
                    <a:pt x="462" y="132"/>
                  </a:lnTo>
                  <a:lnTo>
                    <a:pt x="462" y="96"/>
                  </a:lnTo>
                  <a:lnTo>
                    <a:pt x="456" y="84"/>
                  </a:lnTo>
                  <a:lnTo>
                    <a:pt x="444" y="78"/>
                  </a:lnTo>
                  <a:lnTo>
                    <a:pt x="450" y="42"/>
                  </a:lnTo>
                  <a:lnTo>
                    <a:pt x="444" y="42"/>
                  </a:lnTo>
                  <a:lnTo>
                    <a:pt x="438" y="36"/>
                  </a:lnTo>
                  <a:lnTo>
                    <a:pt x="426" y="36"/>
                  </a:lnTo>
                  <a:lnTo>
                    <a:pt x="420" y="30"/>
                  </a:lnTo>
                  <a:close/>
                </a:path>
              </a:pathLst>
            </a:custGeom>
            <a:solidFill>
              <a:srgbClr val="692864"/>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89" name="Cambodia" descr="© INSCALE GmbH, 05.05.2010&#10;http://www.presentationload.com/"/>
            <p:cNvSpPr>
              <a:spLocks/>
            </p:cNvSpPr>
            <p:nvPr/>
          </p:nvSpPr>
          <p:spPr bwMode="gray">
            <a:xfrm>
              <a:off x="7127882" y="3606799"/>
              <a:ext cx="152400" cy="134938"/>
            </a:xfrm>
            <a:custGeom>
              <a:avLst/>
              <a:gdLst>
                <a:gd name="T0" fmla="*/ 2147483647 w 378"/>
                <a:gd name="T1" fmla="*/ 2147483647 h 336"/>
                <a:gd name="T2" fmla="*/ 2147483647 w 378"/>
                <a:gd name="T3" fmla="*/ 2147483647 h 336"/>
                <a:gd name="T4" fmla="*/ 2147483647 w 378"/>
                <a:gd name="T5" fmla="*/ 2147483647 h 336"/>
                <a:gd name="T6" fmla="*/ 2147483647 w 378"/>
                <a:gd name="T7" fmla="*/ 2147483647 h 336"/>
                <a:gd name="T8" fmla="*/ 2147483647 w 378"/>
                <a:gd name="T9" fmla="*/ 2147483647 h 336"/>
                <a:gd name="T10" fmla="*/ 2147483647 w 378"/>
                <a:gd name="T11" fmla="*/ 2147483647 h 336"/>
                <a:gd name="T12" fmla="*/ 2147483647 w 378"/>
                <a:gd name="T13" fmla="*/ 2147483647 h 336"/>
                <a:gd name="T14" fmla="*/ 2147483647 w 378"/>
                <a:gd name="T15" fmla="*/ 2147483647 h 336"/>
                <a:gd name="T16" fmla="*/ 2147483647 w 378"/>
                <a:gd name="T17" fmla="*/ 2147483647 h 336"/>
                <a:gd name="T18" fmla="*/ 2147483647 w 378"/>
                <a:gd name="T19" fmla="*/ 2147483647 h 336"/>
                <a:gd name="T20" fmla="*/ 2147483647 w 378"/>
                <a:gd name="T21" fmla="*/ 2147483647 h 336"/>
                <a:gd name="T22" fmla="*/ 2147483647 w 378"/>
                <a:gd name="T23" fmla="*/ 2147483647 h 336"/>
                <a:gd name="T24" fmla="*/ 2147483647 w 378"/>
                <a:gd name="T25" fmla="*/ 2147483647 h 336"/>
                <a:gd name="T26" fmla="*/ 2147483647 w 378"/>
                <a:gd name="T27" fmla="*/ 2147483647 h 336"/>
                <a:gd name="T28" fmla="*/ 0 w 378"/>
                <a:gd name="T29" fmla="*/ 2147483647 h 336"/>
                <a:gd name="T30" fmla="*/ 2147483647 w 378"/>
                <a:gd name="T31" fmla="*/ 2147483647 h 336"/>
                <a:gd name="T32" fmla="*/ 2147483647 w 378"/>
                <a:gd name="T33" fmla="*/ 2147483647 h 336"/>
                <a:gd name="T34" fmla="*/ 2147483647 w 378"/>
                <a:gd name="T35" fmla="*/ 2147483647 h 336"/>
                <a:gd name="T36" fmla="*/ 2147483647 w 378"/>
                <a:gd name="T37" fmla="*/ 2147483647 h 336"/>
                <a:gd name="T38" fmla="*/ 2147483647 w 378"/>
                <a:gd name="T39" fmla="*/ 2147483647 h 336"/>
                <a:gd name="T40" fmla="*/ 2147483647 w 378"/>
                <a:gd name="T41" fmla="*/ 2147483647 h 336"/>
                <a:gd name="T42" fmla="*/ 2147483647 w 378"/>
                <a:gd name="T43" fmla="*/ 2147483647 h 336"/>
                <a:gd name="T44" fmla="*/ 2147483647 w 378"/>
                <a:gd name="T45" fmla="*/ 2147483647 h 336"/>
                <a:gd name="T46" fmla="*/ 2147483647 w 378"/>
                <a:gd name="T47" fmla="*/ 2147483647 h 336"/>
                <a:gd name="T48" fmla="*/ 2147483647 w 378"/>
                <a:gd name="T49" fmla="*/ 2147483647 h 336"/>
                <a:gd name="T50" fmla="*/ 2147483647 w 378"/>
                <a:gd name="T51" fmla="*/ 2147483647 h 336"/>
                <a:gd name="T52" fmla="*/ 2147483647 w 378"/>
                <a:gd name="T53" fmla="*/ 2147483647 h 336"/>
                <a:gd name="T54" fmla="*/ 2147483647 w 378"/>
                <a:gd name="T55" fmla="*/ 2147483647 h 336"/>
                <a:gd name="T56" fmla="*/ 2147483647 w 378"/>
                <a:gd name="T57" fmla="*/ 2147483647 h 336"/>
                <a:gd name="T58" fmla="*/ 2147483647 w 378"/>
                <a:gd name="T59" fmla="*/ 2147483647 h 336"/>
                <a:gd name="T60" fmla="*/ 2147483647 w 378"/>
                <a:gd name="T61" fmla="*/ 2147483647 h 336"/>
                <a:gd name="T62" fmla="*/ 2147483647 w 378"/>
                <a:gd name="T63" fmla="*/ 2147483647 h 336"/>
                <a:gd name="T64" fmla="*/ 2147483647 w 378"/>
                <a:gd name="T65" fmla="*/ 2147483647 h 336"/>
                <a:gd name="T66" fmla="*/ 2147483647 w 378"/>
                <a:gd name="T67" fmla="*/ 2147483647 h 336"/>
                <a:gd name="T68" fmla="*/ 2147483647 w 378"/>
                <a:gd name="T69" fmla="*/ 2147483647 h 336"/>
                <a:gd name="T70" fmla="*/ 2147483647 w 378"/>
                <a:gd name="T71" fmla="*/ 2147483647 h 336"/>
                <a:gd name="T72" fmla="*/ 2147483647 w 378"/>
                <a:gd name="T73" fmla="*/ 2147483647 h 336"/>
                <a:gd name="T74" fmla="*/ 2147483647 w 378"/>
                <a:gd name="T75" fmla="*/ 2147483647 h 336"/>
                <a:gd name="T76" fmla="*/ 2147483647 w 378"/>
                <a:gd name="T77" fmla="*/ 2147483647 h 336"/>
                <a:gd name="T78" fmla="*/ 2147483647 w 378"/>
                <a:gd name="T79" fmla="*/ 2147483647 h 336"/>
                <a:gd name="T80" fmla="*/ 2147483647 w 378"/>
                <a:gd name="T81" fmla="*/ 2147483647 h 336"/>
                <a:gd name="T82" fmla="*/ 2147483647 w 378"/>
                <a:gd name="T83" fmla="*/ 2147483647 h 336"/>
                <a:gd name="T84" fmla="*/ 2147483647 w 378"/>
                <a:gd name="T85" fmla="*/ 2147483647 h 336"/>
                <a:gd name="T86" fmla="*/ 2147483647 w 378"/>
                <a:gd name="T87" fmla="*/ 2147483647 h 336"/>
                <a:gd name="T88" fmla="*/ 2147483647 w 378"/>
                <a:gd name="T89" fmla="*/ 2147483647 h 336"/>
                <a:gd name="T90" fmla="*/ 2147483647 w 378"/>
                <a:gd name="T91" fmla="*/ 2147483647 h 336"/>
                <a:gd name="T92" fmla="*/ 2147483647 w 378"/>
                <a:gd name="T93" fmla="*/ 2147483647 h 336"/>
                <a:gd name="T94" fmla="*/ 2147483647 w 378"/>
                <a:gd name="T95" fmla="*/ 0 h 3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8"/>
                <a:gd name="T145" fmla="*/ 0 h 336"/>
                <a:gd name="T146" fmla="*/ 378 w 378"/>
                <a:gd name="T147" fmla="*/ 336 h 3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8" h="336">
                  <a:moveTo>
                    <a:pt x="324" y="0"/>
                  </a:moveTo>
                  <a:lnTo>
                    <a:pt x="312" y="12"/>
                  </a:lnTo>
                  <a:lnTo>
                    <a:pt x="276" y="0"/>
                  </a:lnTo>
                  <a:lnTo>
                    <a:pt x="264" y="12"/>
                  </a:lnTo>
                  <a:lnTo>
                    <a:pt x="246" y="24"/>
                  </a:lnTo>
                  <a:lnTo>
                    <a:pt x="258" y="36"/>
                  </a:lnTo>
                  <a:lnTo>
                    <a:pt x="258" y="48"/>
                  </a:lnTo>
                  <a:lnTo>
                    <a:pt x="252" y="54"/>
                  </a:lnTo>
                  <a:lnTo>
                    <a:pt x="240" y="54"/>
                  </a:lnTo>
                  <a:lnTo>
                    <a:pt x="228" y="42"/>
                  </a:lnTo>
                  <a:lnTo>
                    <a:pt x="228" y="36"/>
                  </a:lnTo>
                  <a:lnTo>
                    <a:pt x="222" y="36"/>
                  </a:lnTo>
                  <a:lnTo>
                    <a:pt x="216" y="30"/>
                  </a:lnTo>
                  <a:lnTo>
                    <a:pt x="192" y="30"/>
                  </a:lnTo>
                  <a:lnTo>
                    <a:pt x="192" y="18"/>
                  </a:lnTo>
                  <a:lnTo>
                    <a:pt x="186" y="18"/>
                  </a:lnTo>
                  <a:lnTo>
                    <a:pt x="186" y="24"/>
                  </a:lnTo>
                  <a:lnTo>
                    <a:pt x="180" y="18"/>
                  </a:lnTo>
                  <a:lnTo>
                    <a:pt x="168" y="12"/>
                  </a:lnTo>
                  <a:lnTo>
                    <a:pt x="138" y="12"/>
                  </a:lnTo>
                  <a:lnTo>
                    <a:pt x="126" y="18"/>
                  </a:lnTo>
                  <a:lnTo>
                    <a:pt x="114" y="18"/>
                  </a:lnTo>
                  <a:lnTo>
                    <a:pt x="108" y="12"/>
                  </a:lnTo>
                  <a:lnTo>
                    <a:pt x="72" y="12"/>
                  </a:lnTo>
                  <a:lnTo>
                    <a:pt x="54" y="18"/>
                  </a:lnTo>
                  <a:lnTo>
                    <a:pt x="42" y="24"/>
                  </a:lnTo>
                  <a:lnTo>
                    <a:pt x="36" y="30"/>
                  </a:lnTo>
                  <a:lnTo>
                    <a:pt x="30" y="42"/>
                  </a:lnTo>
                  <a:lnTo>
                    <a:pt x="30" y="48"/>
                  </a:lnTo>
                  <a:lnTo>
                    <a:pt x="0" y="78"/>
                  </a:lnTo>
                  <a:lnTo>
                    <a:pt x="6" y="114"/>
                  </a:lnTo>
                  <a:lnTo>
                    <a:pt x="18" y="126"/>
                  </a:lnTo>
                  <a:lnTo>
                    <a:pt x="18" y="156"/>
                  </a:lnTo>
                  <a:lnTo>
                    <a:pt x="30" y="168"/>
                  </a:lnTo>
                  <a:lnTo>
                    <a:pt x="30" y="198"/>
                  </a:lnTo>
                  <a:lnTo>
                    <a:pt x="42" y="210"/>
                  </a:lnTo>
                  <a:lnTo>
                    <a:pt x="48" y="222"/>
                  </a:lnTo>
                  <a:lnTo>
                    <a:pt x="54" y="228"/>
                  </a:lnTo>
                  <a:lnTo>
                    <a:pt x="54" y="234"/>
                  </a:lnTo>
                  <a:lnTo>
                    <a:pt x="42" y="246"/>
                  </a:lnTo>
                  <a:lnTo>
                    <a:pt x="54" y="270"/>
                  </a:lnTo>
                  <a:lnTo>
                    <a:pt x="60" y="276"/>
                  </a:lnTo>
                  <a:lnTo>
                    <a:pt x="72" y="282"/>
                  </a:lnTo>
                  <a:lnTo>
                    <a:pt x="78" y="282"/>
                  </a:lnTo>
                  <a:lnTo>
                    <a:pt x="90" y="270"/>
                  </a:lnTo>
                  <a:lnTo>
                    <a:pt x="90" y="264"/>
                  </a:lnTo>
                  <a:lnTo>
                    <a:pt x="90" y="288"/>
                  </a:lnTo>
                  <a:lnTo>
                    <a:pt x="96" y="300"/>
                  </a:lnTo>
                  <a:lnTo>
                    <a:pt x="102" y="306"/>
                  </a:lnTo>
                  <a:lnTo>
                    <a:pt x="114" y="306"/>
                  </a:lnTo>
                  <a:lnTo>
                    <a:pt x="120" y="300"/>
                  </a:lnTo>
                  <a:lnTo>
                    <a:pt x="132" y="300"/>
                  </a:lnTo>
                  <a:lnTo>
                    <a:pt x="138" y="306"/>
                  </a:lnTo>
                  <a:lnTo>
                    <a:pt x="138" y="312"/>
                  </a:lnTo>
                  <a:lnTo>
                    <a:pt x="150" y="336"/>
                  </a:lnTo>
                  <a:lnTo>
                    <a:pt x="168" y="336"/>
                  </a:lnTo>
                  <a:lnTo>
                    <a:pt x="180" y="324"/>
                  </a:lnTo>
                  <a:lnTo>
                    <a:pt x="192" y="318"/>
                  </a:lnTo>
                  <a:lnTo>
                    <a:pt x="210" y="318"/>
                  </a:lnTo>
                  <a:lnTo>
                    <a:pt x="222" y="312"/>
                  </a:lnTo>
                  <a:lnTo>
                    <a:pt x="222" y="306"/>
                  </a:lnTo>
                  <a:lnTo>
                    <a:pt x="216" y="300"/>
                  </a:lnTo>
                  <a:lnTo>
                    <a:pt x="210" y="300"/>
                  </a:lnTo>
                  <a:lnTo>
                    <a:pt x="204" y="294"/>
                  </a:lnTo>
                  <a:lnTo>
                    <a:pt x="240" y="294"/>
                  </a:lnTo>
                  <a:lnTo>
                    <a:pt x="240" y="288"/>
                  </a:lnTo>
                  <a:lnTo>
                    <a:pt x="246" y="282"/>
                  </a:lnTo>
                  <a:lnTo>
                    <a:pt x="258" y="282"/>
                  </a:lnTo>
                  <a:lnTo>
                    <a:pt x="270" y="288"/>
                  </a:lnTo>
                  <a:lnTo>
                    <a:pt x="276" y="294"/>
                  </a:lnTo>
                  <a:lnTo>
                    <a:pt x="288" y="300"/>
                  </a:lnTo>
                  <a:lnTo>
                    <a:pt x="294" y="306"/>
                  </a:lnTo>
                  <a:lnTo>
                    <a:pt x="294" y="294"/>
                  </a:lnTo>
                  <a:lnTo>
                    <a:pt x="276" y="276"/>
                  </a:lnTo>
                  <a:lnTo>
                    <a:pt x="264" y="252"/>
                  </a:lnTo>
                  <a:lnTo>
                    <a:pt x="264" y="228"/>
                  </a:lnTo>
                  <a:lnTo>
                    <a:pt x="306" y="228"/>
                  </a:lnTo>
                  <a:lnTo>
                    <a:pt x="306" y="204"/>
                  </a:lnTo>
                  <a:lnTo>
                    <a:pt x="336" y="204"/>
                  </a:lnTo>
                  <a:lnTo>
                    <a:pt x="336" y="186"/>
                  </a:lnTo>
                  <a:lnTo>
                    <a:pt x="342" y="180"/>
                  </a:lnTo>
                  <a:lnTo>
                    <a:pt x="360" y="180"/>
                  </a:lnTo>
                  <a:lnTo>
                    <a:pt x="372" y="186"/>
                  </a:lnTo>
                  <a:lnTo>
                    <a:pt x="372" y="156"/>
                  </a:lnTo>
                  <a:lnTo>
                    <a:pt x="366" y="150"/>
                  </a:lnTo>
                  <a:lnTo>
                    <a:pt x="366" y="120"/>
                  </a:lnTo>
                  <a:lnTo>
                    <a:pt x="360" y="114"/>
                  </a:lnTo>
                  <a:lnTo>
                    <a:pt x="360" y="102"/>
                  </a:lnTo>
                  <a:lnTo>
                    <a:pt x="366" y="102"/>
                  </a:lnTo>
                  <a:lnTo>
                    <a:pt x="378" y="90"/>
                  </a:lnTo>
                  <a:lnTo>
                    <a:pt x="378" y="84"/>
                  </a:lnTo>
                  <a:lnTo>
                    <a:pt x="366" y="60"/>
                  </a:lnTo>
                  <a:lnTo>
                    <a:pt x="354" y="48"/>
                  </a:lnTo>
                  <a:lnTo>
                    <a:pt x="348" y="48"/>
                  </a:lnTo>
                  <a:lnTo>
                    <a:pt x="348" y="6"/>
                  </a:lnTo>
                  <a:lnTo>
                    <a:pt x="324" y="0"/>
                  </a:lnTo>
                  <a:close/>
                </a:path>
              </a:pathLst>
            </a:custGeom>
            <a:solidFill>
              <a:srgbClr val="FFC000"/>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90" name="Burundi" descr="© INSCALE GmbH, 05.05.2010&#10;http://www.presentationload.com/"/>
            <p:cNvSpPr>
              <a:spLocks/>
            </p:cNvSpPr>
            <p:nvPr/>
          </p:nvSpPr>
          <p:spPr bwMode="gray">
            <a:xfrm>
              <a:off x="5043493" y="4157662"/>
              <a:ext cx="53975" cy="66675"/>
            </a:xfrm>
            <a:custGeom>
              <a:avLst/>
              <a:gdLst>
                <a:gd name="T0" fmla="*/ 2147483647 w 132"/>
                <a:gd name="T1" fmla="*/ 2147483647 h 168"/>
                <a:gd name="T2" fmla="*/ 2147483647 w 132"/>
                <a:gd name="T3" fmla="*/ 2147483647 h 168"/>
                <a:gd name="T4" fmla="*/ 2147483647 w 132"/>
                <a:gd name="T5" fmla="*/ 2147483647 h 168"/>
                <a:gd name="T6" fmla="*/ 2147483647 w 132"/>
                <a:gd name="T7" fmla="*/ 2147483647 h 168"/>
                <a:gd name="T8" fmla="*/ 2147483647 w 132"/>
                <a:gd name="T9" fmla="*/ 2147483647 h 168"/>
                <a:gd name="T10" fmla="*/ 2147483647 w 132"/>
                <a:gd name="T11" fmla="*/ 2147483647 h 168"/>
                <a:gd name="T12" fmla="*/ 2147483647 w 132"/>
                <a:gd name="T13" fmla="*/ 2147483647 h 168"/>
                <a:gd name="T14" fmla="*/ 2147483647 w 132"/>
                <a:gd name="T15" fmla="*/ 2147483647 h 168"/>
                <a:gd name="T16" fmla="*/ 2147483647 w 132"/>
                <a:gd name="T17" fmla="*/ 2147483647 h 168"/>
                <a:gd name="T18" fmla="*/ 2147483647 w 132"/>
                <a:gd name="T19" fmla="*/ 2147483647 h 168"/>
                <a:gd name="T20" fmla="*/ 2147483647 w 132"/>
                <a:gd name="T21" fmla="*/ 2147483647 h 168"/>
                <a:gd name="T22" fmla="*/ 2147483647 w 132"/>
                <a:gd name="T23" fmla="*/ 2147483647 h 168"/>
                <a:gd name="T24" fmla="*/ 2147483647 w 132"/>
                <a:gd name="T25" fmla="*/ 2147483647 h 168"/>
                <a:gd name="T26" fmla="*/ 2147483647 w 132"/>
                <a:gd name="T27" fmla="*/ 2147483647 h 168"/>
                <a:gd name="T28" fmla="*/ 2147483647 w 132"/>
                <a:gd name="T29" fmla="*/ 2147483647 h 168"/>
                <a:gd name="T30" fmla="*/ 2147483647 w 132"/>
                <a:gd name="T31" fmla="*/ 2147483647 h 168"/>
                <a:gd name="T32" fmla="*/ 2147483647 w 132"/>
                <a:gd name="T33" fmla="*/ 2147483647 h 168"/>
                <a:gd name="T34" fmla="*/ 2147483647 w 132"/>
                <a:gd name="T35" fmla="*/ 2147483647 h 168"/>
                <a:gd name="T36" fmla="*/ 2147483647 w 132"/>
                <a:gd name="T37" fmla="*/ 2147483647 h 168"/>
                <a:gd name="T38" fmla="*/ 2147483647 w 132"/>
                <a:gd name="T39" fmla="*/ 2147483647 h 168"/>
                <a:gd name="T40" fmla="*/ 2147483647 w 132"/>
                <a:gd name="T41" fmla="*/ 2147483647 h 168"/>
                <a:gd name="T42" fmla="*/ 2147483647 w 132"/>
                <a:gd name="T43" fmla="*/ 2147483647 h 168"/>
                <a:gd name="T44" fmla="*/ 2147483647 w 132"/>
                <a:gd name="T45" fmla="*/ 2147483647 h 168"/>
                <a:gd name="T46" fmla="*/ 2147483647 w 132"/>
                <a:gd name="T47" fmla="*/ 0 h 168"/>
                <a:gd name="T48" fmla="*/ 2147483647 w 132"/>
                <a:gd name="T49" fmla="*/ 0 h 168"/>
                <a:gd name="T50" fmla="*/ 2147483647 w 132"/>
                <a:gd name="T51" fmla="*/ 0 h 168"/>
                <a:gd name="T52" fmla="*/ 2147483647 w 132"/>
                <a:gd name="T53" fmla="*/ 2147483647 h 168"/>
                <a:gd name="T54" fmla="*/ 2147483647 w 132"/>
                <a:gd name="T55" fmla="*/ 2147483647 h 168"/>
                <a:gd name="T56" fmla="*/ 2147483647 w 132"/>
                <a:gd name="T57" fmla="*/ 2147483647 h 168"/>
                <a:gd name="T58" fmla="*/ 2147483647 w 132"/>
                <a:gd name="T59" fmla="*/ 2147483647 h 168"/>
                <a:gd name="T60" fmla="*/ 2147483647 w 132"/>
                <a:gd name="T61" fmla="*/ 2147483647 h 168"/>
                <a:gd name="T62" fmla="*/ 2147483647 w 132"/>
                <a:gd name="T63" fmla="*/ 2147483647 h 168"/>
                <a:gd name="T64" fmla="*/ 0 w 132"/>
                <a:gd name="T65" fmla="*/ 2147483647 h 168"/>
                <a:gd name="T66" fmla="*/ 2147483647 w 132"/>
                <a:gd name="T67" fmla="*/ 2147483647 h 168"/>
                <a:gd name="T68" fmla="*/ 2147483647 w 132"/>
                <a:gd name="T69" fmla="*/ 2147483647 h 168"/>
                <a:gd name="T70" fmla="*/ 2147483647 w 132"/>
                <a:gd name="T71" fmla="*/ 2147483647 h 168"/>
                <a:gd name="T72" fmla="*/ 2147483647 w 132"/>
                <a:gd name="T73" fmla="*/ 2147483647 h 168"/>
                <a:gd name="T74" fmla="*/ 2147483647 w 132"/>
                <a:gd name="T75" fmla="*/ 2147483647 h 16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2"/>
                <a:gd name="T115" fmla="*/ 0 h 168"/>
                <a:gd name="T116" fmla="*/ 132 w 132"/>
                <a:gd name="T117" fmla="*/ 168 h 16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2" h="168">
                  <a:moveTo>
                    <a:pt x="36" y="72"/>
                  </a:moveTo>
                  <a:lnTo>
                    <a:pt x="36" y="96"/>
                  </a:lnTo>
                  <a:lnTo>
                    <a:pt x="30" y="102"/>
                  </a:lnTo>
                  <a:lnTo>
                    <a:pt x="30" y="138"/>
                  </a:lnTo>
                  <a:lnTo>
                    <a:pt x="36" y="156"/>
                  </a:lnTo>
                  <a:lnTo>
                    <a:pt x="42" y="168"/>
                  </a:lnTo>
                  <a:lnTo>
                    <a:pt x="54" y="168"/>
                  </a:lnTo>
                  <a:lnTo>
                    <a:pt x="60" y="162"/>
                  </a:lnTo>
                  <a:lnTo>
                    <a:pt x="72" y="156"/>
                  </a:lnTo>
                  <a:lnTo>
                    <a:pt x="84" y="144"/>
                  </a:lnTo>
                  <a:lnTo>
                    <a:pt x="90" y="132"/>
                  </a:lnTo>
                  <a:lnTo>
                    <a:pt x="90" y="114"/>
                  </a:lnTo>
                  <a:lnTo>
                    <a:pt x="96" y="102"/>
                  </a:lnTo>
                  <a:lnTo>
                    <a:pt x="114" y="84"/>
                  </a:lnTo>
                  <a:lnTo>
                    <a:pt x="126" y="84"/>
                  </a:lnTo>
                  <a:lnTo>
                    <a:pt x="120" y="72"/>
                  </a:lnTo>
                  <a:lnTo>
                    <a:pt x="132" y="66"/>
                  </a:lnTo>
                  <a:lnTo>
                    <a:pt x="132" y="48"/>
                  </a:lnTo>
                  <a:lnTo>
                    <a:pt x="114" y="48"/>
                  </a:lnTo>
                  <a:lnTo>
                    <a:pt x="108" y="42"/>
                  </a:lnTo>
                  <a:lnTo>
                    <a:pt x="102" y="42"/>
                  </a:lnTo>
                  <a:lnTo>
                    <a:pt x="102" y="24"/>
                  </a:lnTo>
                  <a:lnTo>
                    <a:pt x="108" y="12"/>
                  </a:lnTo>
                  <a:lnTo>
                    <a:pt x="108" y="0"/>
                  </a:lnTo>
                  <a:lnTo>
                    <a:pt x="120" y="0"/>
                  </a:lnTo>
                  <a:lnTo>
                    <a:pt x="66" y="0"/>
                  </a:lnTo>
                  <a:lnTo>
                    <a:pt x="60" y="24"/>
                  </a:lnTo>
                  <a:lnTo>
                    <a:pt x="48" y="30"/>
                  </a:lnTo>
                  <a:lnTo>
                    <a:pt x="42" y="36"/>
                  </a:lnTo>
                  <a:lnTo>
                    <a:pt x="30" y="36"/>
                  </a:lnTo>
                  <a:lnTo>
                    <a:pt x="24" y="30"/>
                  </a:lnTo>
                  <a:lnTo>
                    <a:pt x="18" y="18"/>
                  </a:lnTo>
                  <a:lnTo>
                    <a:pt x="0" y="18"/>
                  </a:lnTo>
                  <a:lnTo>
                    <a:pt x="12" y="48"/>
                  </a:lnTo>
                  <a:lnTo>
                    <a:pt x="18" y="54"/>
                  </a:lnTo>
                  <a:lnTo>
                    <a:pt x="30" y="60"/>
                  </a:lnTo>
                  <a:lnTo>
                    <a:pt x="36" y="66"/>
                  </a:lnTo>
                  <a:lnTo>
                    <a:pt x="36" y="72"/>
                  </a:lnTo>
                  <a:close/>
                </a:path>
              </a:pathLst>
            </a:custGeom>
            <a:solidFill>
              <a:srgbClr val="692864"/>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91" name="Burkina Faso" descr="© INSCALE GmbH, 05.05.2010&#10;http://www.presentationload.com/"/>
            <p:cNvSpPr>
              <a:spLocks/>
            </p:cNvSpPr>
            <p:nvPr/>
          </p:nvSpPr>
          <p:spPr bwMode="gray">
            <a:xfrm>
              <a:off x="4056067" y="3590925"/>
              <a:ext cx="230188" cy="180975"/>
            </a:xfrm>
            <a:custGeom>
              <a:avLst/>
              <a:gdLst>
                <a:gd name="T0" fmla="*/ 2147483647 w 570"/>
                <a:gd name="T1" fmla="*/ 2147483647 h 450"/>
                <a:gd name="T2" fmla="*/ 2147483647 w 570"/>
                <a:gd name="T3" fmla="*/ 2147483647 h 450"/>
                <a:gd name="T4" fmla="*/ 2147483647 w 570"/>
                <a:gd name="T5" fmla="*/ 2147483647 h 450"/>
                <a:gd name="T6" fmla="*/ 2147483647 w 570"/>
                <a:gd name="T7" fmla="*/ 2147483647 h 450"/>
                <a:gd name="T8" fmla="*/ 2147483647 w 570"/>
                <a:gd name="T9" fmla="*/ 2147483647 h 450"/>
                <a:gd name="T10" fmla="*/ 2147483647 w 570"/>
                <a:gd name="T11" fmla="*/ 2147483647 h 450"/>
                <a:gd name="T12" fmla="*/ 2147483647 w 570"/>
                <a:gd name="T13" fmla="*/ 2147483647 h 450"/>
                <a:gd name="T14" fmla="*/ 2147483647 w 570"/>
                <a:gd name="T15" fmla="*/ 2147483647 h 450"/>
                <a:gd name="T16" fmla="*/ 2147483647 w 570"/>
                <a:gd name="T17" fmla="*/ 2147483647 h 450"/>
                <a:gd name="T18" fmla="*/ 2147483647 w 570"/>
                <a:gd name="T19" fmla="*/ 2147483647 h 450"/>
                <a:gd name="T20" fmla="*/ 2147483647 w 570"/>
                <a:gd name="T21" fmla="*/ 2147483647 h 450"/>
                <a:gd name="T22" fmla="*/ 2147483647 w 570"/>
                <a:gd name="T23" fmla="*/ 2147483647 h 450"/>
                <a:gd name="T24" fmla="*/ 2147483647 w 570"/>
                <a:gd name="T25" fmla="*/ 2147483647 h 450"/>
                <a:gd name="T26" fmla="*/ 2147483647 w 570"/>
                <a:gd name="T27" fmla="*/ 2147483647 h 450"/>
                <a:gd name="T28" fmla="*/ 2147483647 w 570"/>
                <a:gd name="T29" fmla="*/ 2147483647 h 450"/>
                <a:gd name="T30" fmla="*/ 2147483647 w 570"/>
                <a:gd name="T31" fmla="*/ 2147483647 h 450"/>
                <a:gd name="T32" fmla="*/ 2147483647 w 570"/>
                <a:gd name="T33" fmla="*/ 2147483647 h 450"/>
                <a:gd name="T34" fmla="*/ 2147483647 w 570"/>
                <a:gd name="T35" fmla="*/ 2147483647 h 450"/>
                <a:gd name="T36" fmla="*/ 2147483647 w 570"/>
                <a:gd name="T37" fmla="*/ 2147483647 h 450"/>
                <a:gd name="T38" fmla="*/ 2147483647 w 570"/>
                <a:gd name="T39" fmla="*/ 2147483647 h 450"/>
                <a:gd name="T40" fmla="*/ 2147483647 w 570"/>
                <a:gd name="T41" fmla="*/ 2147483647 h 450"/>
                <a:gd name="T42" fmla="*/ 2147483647 w 570"/>
                <a:gd name="T43" fmla="*/ 2147483647 h 450"/>
                <a:gd name="T44" fmla="*/ 2147483647 w 570"/>
                <a:gd name="T45" fmla="*/ 2147483647 h 450"/>
                <a:gd name="T46" fmla="*/ 2147483647 w 570"/>
                <a:gd name="T47" fmla="*/ 2147483647 h 450"/>
                <a:gd name="T48" fmla="*/ 2147483647 w 570"/>
                <a:gd name="T49" fmla="*/ 2147483647 h 450"/>
                <a:gd name="T50" fmla="*/ 2147483647 w 570"/>
                <a:gd name="T51" fmla="*/ 2147483647 h 450"/>
                <a:gd name="T52" fmla="*/ 2147483647 w 570"/>
                <a:gd name="T53" fmla="*/ 2147483647 h 450"/>
                <a:gd name="T54" fmla="*/ 2147483647 w 570"/>
                <a:gd name="T55" fmla="*/ 2147483647 h 450"/>
                <a:gd name="T56" fmla="*/ 2147483647 w 570"/>
                <a:gd name="T57" fmla="*/ 2147483647 h 450"/>
                <a:gd name="T58" fmla="*/ 2147483647 w 570"/>
                <a:gd name="T59" fmla="*/ 2147483647 h 450"/>
                <a:gd name="T60" fmla="*/ 2147483647 w 570"/>
                <a:gd name="T61" fmla="*/ 2147483647 h 450"/>
                <a:gd name="T62" fmla="*/ 2147483647 w 570"/>
                <a:gd name="T63" fmla="*/ 2147483647 h 450"/>
                <a:gd name="T64" fmla="*/ 2147483647 w 570"/>
                <a:gd name="T65" fmla="*/ 2147483647 h 450"/>
                <a:gd name="T66" fmla="*/ 2147483647 w 570"/>
                <a:gd name="T67" fmla="*/ 0 h 450"/>
                <a:gd name="T68" fmla="*/ 2147483647 w 570"/>
                <a:gd name="T69" fmla="*/ 2147483647 h 450"/>
                <a:gd name="T70" fmla="*/ 2147483647 w 570"/>
                <a:gd name="T71" fmla="*/ 2147483647 h 450"/>
                <a:gd name="T72" fmla="*/ 2147483647 w 570"/>
                <a:gd name="T73" fmla="*/ 2147483647 h 450"/>
                <a:gd name="T74" fmla="*/ 2147483647 w 570"/>
                <a:gd name="T75" fmla="*/ 2147483647 h 450"/>
                <a:gd name="T76" fmla="*/ 2147483647 w 570"/>
                <a:gd name="T77" fmla="*/ 2147483647 h 450"/>
                <a:gd name="T78" fmla="*/ 2147483647 w 570"/>
                <a:gd name="T79" fmla="*/ 2147483647 h 450"/>
                <a:gd name="T80" fmla="*/ 2147483647 w 570"/>
                <a:gd name="T81" fmla="*/ 2147483647 h 450"/>
                <a:gd name="T82" fmla="*/ 2147483647 w 570"/>
                <a:gd name="T83" fmla="*/ 2147483647 h 450"/>
                <a:gd name="T84" fmla="*/ 2147483647 w 570"/>
                <a:gd name="T85" fmla="*/ 2147483647 h 450"/>
                <a:gd name="T86" fmla="*/ 2147483647 w 570"/>
                <a:gd name="T87" fmla="*/ 2147483647 h 450"/>
                <a:gd name="T88" fmla="*/ 2147483647 w 570"/>
                <a:gd name="T89" fmla="*/ 2147483647 h 450"/>
                <a:gd name="T90" fmla="*/ 2147483647 w 570"/>
                <a:gd name="T91" fmla="*/ 2147483647 h 450"/>
                <a:gd name="T92" fmla="*/ 2147483647 w 570"/>
                <a:gd name="T93" fmla="*/ 2147483647 h 450"/>
                <a:gd name="T94" fmla="*/ 2147483647 w 570"/>
                <a:gd name="T95" fmla="*/ 2147483647 h 450"/>
                <a:gd name="T96" fmla="*/ 2147483647 w 570"/>
                <a:gd name="T97" fmla="*/ 2147483647 h 450"/>
                <a:gd name="T98" fmla="*/ 2147483647 w 570"/>
                <a:gd name="T99" fmla="*/ 2147483647 h 450"/>
                <a:gd name="T100" fmla="*/ 2147483647 w 570"/>
                <a:gd name="T101" fmla="*/ 2147483647 h 450"/>
                <a:gd name="T102" fmla="*/ 2147483647 w 570"/>
                <a:gd name="T103" fmla="*/ 2147483647 h 45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70"/>
                <a:gd name="T157" fmla="*/ 0 h 450"/>
                <a:gd name="T158" fmla="*/ 570 w 570"/>
                <a:gd name="T159" fmla="*/ 450 h 45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70" h="450">
                  <a:moveTo>
                    <a:pt x="0" y="312"/>
                  </a:moveTo>
                  <a:lnTo>
                    <a:pt x="6" y="366"/>
                  </a:lnTo>
                  <a:lnTo>
                    <a:pt x="6" y="390"/>
                  </a:lnTo>
                  <a:lnTo>
                    <a:pt x="30" y="384"/>
                  </a:lnTo>
                  <a:lnTo>
                    <a:pt x="30" y="390"/>
                  </a:lnTo>
                  <a:lnTo>
                    <a:pt x="36" y="396"/>
                  </a:lnTo>
                  <a:lnTo>
                    <a:pt x="36" y="408"/>
                  </a:lnTo>
                  <a:lnTo>
                    <a:pt x="42" y="420"/>
                  </a:lnTo>
                  <a:lnTo>
                    <a:pt x="54" y="426"/>
                  </a:lnTo>
                  <a:lnTo>
                    <a:pt x="60" y="432"/>
                  </a:lnTo>
                  <a:lnTo>
                    <a:pt x="72" y="432"/>
                  </a:lnTo>
                  <a:lnTo>
                    <a:pt x="78" y="438"/>
                  </a:lnTo>
                  <a:lnTo>
                    <a:pt x="90" y="438"/>
                  </a:lnTo>
                  <a:lnTo>
                    <a:pt x="96" y="432"/>
                  </a:lnTo>
                  <a:lnTo>
                    <a:pt x="96" y="426"/>
                  </a:lnTo>
                  <a:lnTo>
                    <a:pt x="120" y="414"/>
                  </a:lnTo>
                  <a:lnTo>
                    <a:pt x="150" y="414"/>
                  </a:lnTo>
                  <a:lnTo>
                    <a:pt x="168" y="420"/>
                  </a:lnTo>
                  <a:lnTo>
                    <a:pt x="186" y="438"/>
                  </a:lnTo>
                  <a:lnTo>
                    <a:pt x="186" y="450"/>
                  </a:lnTo>
                  <a:lnTo>
                    <a:pt x="204" y="444"/>
                  </a:lnTo>
                  <a:lnTo>
                    <a:pt x="198" y="450"/>
                  </a:lnTo>
                  <a:lnTo>
                    <a:pt x="198" y="396"/>
                  </a:lnTo>
                  <a:lnTo>
                    <a:pt x="192" y="366"/>
                  </a:lnTo>
                  <a:lnTo>
                    <a:pt x="186" y="366"/>
                  </a:lnTo>
                  <a:lnTo>
                    <a:pt x="186" y="348"/>
                  </a:lnTo>
                  <a:lnTo>
                    <a:pt x="192" y="336"/>
                  </a:lnTo>
                  <a:lnTo>
                    <a:pt x="198" y="330"/>
                  </a:lnTo>
                  <a:lnTo>
                    <a:pt x="354" y="330"/>
                  </a:lnTo>
                  <a:lnTo>
                    <a:pt x="378" y="318"/>
                  </a:lnTo>
                  <a:lnTo>
                    <a:pt x="396" y="324"/>
                  </a:lnTo>
                  <a:lnTo>
                    <a:pt x="414" y="324"/>
                  </a:lnTo>
                  <a:lnTo>
                    <a:pt x="438" y="330"/>
                  </a:lnTo>
                  <a:lnTo>
                    <a:pt x="456" y="330"/>
                  </a:lnTo>
                  <a:lnTo>
                    <a:pt x="462" y="318"/>
                  </a:lnTo>
                  <a:lnTo>
                    <a:pt x="474" y="318"/>
                  </a:lnTo>
                  <a:lnTo>
                    <a:pt x="480" y="306"/>
                  </a:lnTo>
                  <a:lnTo>
                    <a:pt x="498" y="288"/>
                  </a:lnTo>
                  <a:lnTo>
                    <a:pt x="528" y="288"/>
                  </a:lnTo>
                  <a:lnTo>
                    <a:pt x="534" y="294"/>
                  </a:lnTo>
                  <a:lnTo>
                    <a:pt x="534" y="282"/>
                  </a:lnTo>
                  <a:lnTo>
                    <a:pt x="540" y="282"/>
                  </a:lnTo>
                  <a:lnTo>
                    <a:pt x="546" y="276"/>
                  </a:lnTo>
                  <a:lnTo>
                    <a:pt x="558" y="276"/>
                  </a:lnTo>
                  <a:lnTo>
                    <a:pt x="564" y="258"/>
                  </a:lnTo>
                  <a:lnTo>
                    <a:pt x="570" y="252"/>
                  </a:lnTo>
                  <a:lnTo>
                    <a:pt x="564" y="252"/>
                  </a:lnTo>
                  <a:lnTo>
                    <a:pt x="540" y="216"/>
                  </a:lnTo>
                  <a:lnTo>
                    <a:pt x="564" y="210"/>
                  </a:lnTo>
                  <a:lnTo>
                    <a:pt x="558" y="198"/>
                  </a:lnTo>
                  <a:lnTo>
                    <a:pt x="546" y="186"/>
                  </a:lnTo>
                  <a:lnTo>
                    <a:pt x="534" y="186"/>
                  </a:lnTo>
                  <a:lnTo>
                    <a:pt x="522" y="198"/>
                  </a:lnTo>
                  <a:lnTo>
                    <a:pt x="504" y="198"/>
                  </a:lnTo>
                  <a:lnTo>
                    <a:pt x="498" y="186"/>
                  </a:lnTo>
                  <a:lnTo>
                    <a:pt x="486" y="180"/>
                  </a:lnTo>
                  <a:lnTo>
                    <a:pt x="462" y="156"/>
                  </a:lnTo>
                  <a:lnTo>
                    <a:pt x="462" y="150"/>
                  </a:lnTo>
                  <a:lnTo>
                    <a:pt x="480" y="132"/>
                  </a:lnTo>
                  <a:lnTo>
                    <a:pt x="468" y="132"/>
                  </a:lnTo>
                  <a:lnTo>
                    <a:pt x="468" y="114"/>
                  </a:lnTo>
                  <a:lnTo>
                    <a:pt x="444" y="114"/>
                  </a:lnTo>
                  <a:lnTo>
                    <a:pt x="432" y="108"/>
                  </a:lnTo>
                  <a:lnTo>
                    <a:pt x="420" y="84"/>
                  </a:lnTo>
                  <a:lnTo>
                    <a:pt x="420" y="60"/>
                  </a:lnTo>
                  <a:lnTo>
                    <a:pt x="414" y="48"/>
                  </a:lnTo>
                  <a:lnTo>
                    <a:pt x="414" y="12"/>
                  </a:lnTo>
                  <a:lnTo>
                    <a:pt x="390" y="0"/>
                  </a:lnTo>
                  <a:lnTo>
                    <a:pt x="342" y="0"/>
                  </a:lnTo>
                  <a:lnTo>
                    <a:pt x="324" y="18"/>
                  </a:lnTo>
                  <a:lnTo>
                    <a:pt x="300" y="18"/>
                  </a:lnTo>
                  <a:lnTo>
                    <a:pt x="282" y="42"/>
                  </a:lnTo>
                  <a:lnTo>
                    <a:pt x="258" y="42"/>
                  </a:lnTo>
                  <a:lnTo>
                    <a:pt x="258" y="60"/>
                  </a:lnTo>
                  <a:lnTo>
                    <a:pt x="252" y="66"/>
                  </a:lnTo>
                  <a:lnTo>
                    <a:pt x="252" y="72"/>
                  </a:lnTo>
                  <a:lnTo>
                    <a:pt x="240" y="72"/>
                  </a:lnTo>
                  <a:lnTo>
                    <a:pt x="228" y="60"/>
                  </a:lnTo>
                  <a:lnTo>
                    <a:pt x="222" y="60"/>
                  </a:lnTo>
                  <a:lnTo>
                    <a:pt x="216" y="66"/>
                  </a:lnTo>
                  <a:lnTo>
                    <a:pt x="210" y="78"/>
                  </a:lnTo>
                  <a:lnTo>
                    <a:pt x="198" y="84"/>
                  </a:lnTo>
                  <a:lnTo>
                    <a:pt x="192" y="96"/>
                  </a:lnTo>
                  <a:lnTo>
                    <a:pt x="186" y="102"/>
                  </a:lnTo>
                  <a:lnTo>
                    <a:pt x="186" y="108"/>
                  </a:lnTo>
                  <a:lnTo>
                    <a:pt x="168" y="108"/>
                  </a:lnTo>
                  <a:lnTo>
                    <a:pt x="168" y="144"/>
                  </a:lnTo>
                  <a:lnTo>
                    <a:pt x="144" y="150"/>
                  </a:lnTo>
                  <a:lnTo>
                    <a:pt x="114" y="120"/>
                  </a:lnTo>
                  <a:lnTo>
                    <a:pt x="96" y="150"/>
                  </a:lnTo>
                  <a:lnTo>
                    <a:pt x="102" y="156"/>
                  </a:lnTo>
                  <a:lnTo>
                    <a:pt x="102" y="186"/>
                  </a:lnTo>
                  <a:lnTo>
                    <a:pt x="84" y="186"/>
                  </a:lnTo>
                  <a:lnTo>
                    <a:pt x="84" y="216"/>
                  </a:lnTo>
                  <a:lnTo>
                    <a:pt x="78" y="222"/>
                  </a:lnTo>
                  <a:lnTo>
                    <a:pt x="72" y="222"/>
                  </a:lnTo>
                  <a:lnTo>
                    <a:pt x="78" y="228"/>
                  </a:lnTo>
                  <a:lnTo>
                    <a:pt x="78" y="240"/>
                  </a:lnTo>
                  <a:lnTo>
                    <a:pt x="42" y="240"/>
                  </a:lnTo>
                  <a:lnTo>
                    <a:pt x="36" y="246"/>
                  </a:lnTo>
                  <a:lnTo>
                    <a:pt x="30" y="246"/>
                  </a:lnTo>
                  <a:lnTo>
                    <a:pt x="12" y="258"/>
                  </a:lnTo>
                  <a:lnTo>
                    <a:pt x="36" y="288"/>
                  </a:lnTo>
                  <a:lnTo>
                    <a:pt x="24" y="312"/>
                  </a:lnTo>
                  <a:lnTo>
                    <a:pt x="0" y="312"/>
                  </a:lnTo>
                  <a:close/>
                </a:path>
              </a:pathLst>
            </a:custGeom>
            <a:solidFill>
              <a:srgbClr val="692864"/>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92" name="Bulgaria" descr="© INSCALE GmbH, 05.05.2010&#10;http://www.presentationload.com/"/>
            <p:cNvSpPr>
              <a:spLocks/>
            </p:cNvSpPr>
            <p:nvPr/>
          </p:nvSpPr>
          <p:spPr bwMode="gray">
            <a:xfrm>
              <a:off x="4822828" y="2647950"/>
              <a:ext cx="158750" cy="90488"/>
            </a:xfrm>
            <a:custGeom>
              <a:avLst/>
              <a:gdLst>
                <a:gd name="T0" fmla="*/ 2147483647 w 396"/>
                <a:gd name="T1" fmla="*/ 2147483647 h 228"/>
                <a:gd name="T2" fmla="*/ 2147483647 w 396"/>
                <a:gd name="T3" fmla="*/ 2147483647 h 228"/>
                <a:gd name="T4" fmla="*/ 2147483647 w 396"/>
                <a:gd name="T5" fmla="*/ 2147483647 h 228"/>
                <a:gd name="T6" fmla="*/ 2147483647 w 396"/>
                <a:gd name="T7" fmla="*/ 2147483647 h 228"/>
                <a:gd name="T8" fmla="*/ 2147483647 w 396"/>
                <a:gd name="T9" fmla="*/ 2147483647 h 228"/>
                <a:gd name="T10" fmla="*/ 2147483647 w 396"/>
                <a:gd name="T11" fmla="*/ 2147483647 h 228"/>
                <a:gd name="T12" fmla="*/ 2147483647 w 396"/>
                <a:gd name="T13" fmla="*/ 2147483647 h 228"/>
                <a:gd name="T14" fmla="*/ 2147483647 w 396"/>
                <a:gd name="T15" fmla="*/ 0 h 228"/>
                <a:gd name="T16" fmla="*/ 2147483647 w 396"/>
                <a:gd name="T17" fmla="*/ 2147483647 h 228"/>
                <a:gd name="T18" fmla="*/ 2147483647 w 396"/>
                <a:gd name="T19" fmla="*/ 2147483647 h 228"/>
                <a:gd name="T20" fmla="*/ 2147483647 w 396"/>
                <a:gd name="T21" fmla="*/ 2147483647 h 228"/>
                <a:gd name="T22" fmla="*/ 2147483647 w 396"/>
                <a:gd name="T23" fmla="*/ 2147483647 h 228"/>
                <a:gd name="T24" fmla="*/ 2147483647 w 396"/>
                <a:gd name="T25" fmla="*/ 2147483647 h 228"/>
                <a:gd name="T26" fmla="*/ 2147483647 w 396"/>
                <a:gd name="T27" fmla="*/ 2147483647 h 228"/>
                <a:gd name="T28" fmla="*/ 2147483647 w 396"/>
                <a:gd name="T29" fmla="*/ 2147483647 h 228"/>
                <a:gd name="T30" fmla="*/ 2147483647 w 396"/>
                <a:gd name="T31" fmla="*/ 2147483647 h 228"/>
                <a:gd name="T32" fmla="*/ 2147483647 w 396"/>
                <a:gd name="T33" fmla="*/ 2147483647 h 228"/>
                <a:gd name="T34" fmla="*/ 2147483647 w 396"/>
                <a:gd name="T35" fmla="*/ 2147483647 h 228"/>
                <a:gd name="T36" fmla="*/ 2147483647 w 396"/>
                <a:gd name="T37" fmla="*/ 2147483647 h 228"/>
                <a:gd name="T38" fmla="*/ 2147483647 w 396"/>
                <a:gd name="T39" fmla="*/ 2147483647 h 228"/>
                <a:gd name="T40" fmla="*/ 2147483647 w 396"/>
                <a:gd name="T41" fmla="*/ 2147483647 h 228"/>
                <a:gd name="T42" fmla="*/ 2147483647 w 396"/>
                <a:gd name="T43" fmla="*/ 0 h 228"/>
                <a:gd name="T44" fmla="*/ 0 w 396"/>
                <a:gd name="T45" fmla="*/ 2147483647 h 228"/>
                <a:gd name="T46" fmla="*/ 2147483647 w 396"/>
                <a:gd name="T47" fmla="*/ 2147483647 h 228"/>
                <a:gd name="T48" fmla="*/ 2147483647 w 396"/>
                <a:gd name="T49" fmla="*/ 2147483647 h 228"/>
                <a:gd name="T50" fmla="*/ 2147483647 w 396"/>
                <a:gd name="T51" fmla="*/ 2147483647 h 228"/>
                <a:gd name="T52" fmla="*/ 2147483647 w 396"/>
                <a:gd name="T53" fmla="*/ 2147483647 h 228"/>
                <a:gd name="T54" fmla="*/ 2147483647 w 396"/>
                <a:gd name="T55" fmla="*/ 2147483647 h 228"/>
                <a:gd name="T56" fmla="*/ 0 w 396"/>
                <a:gd name="T57" fmla="*/ 2147483647 h 228"/>
                <a:gd name="T58" fmla="*/ 2147483647 w 396"/>
                <a:gd name="T59" fmla="*/ 2147483647 h 228"/>
                <a:gd name="T60" fmla="*/ 2147483647 w 396"/>
                <a:gd name="T61" fmla="*/ 2147483647 h 228"/>
                <a:gd name="T62" fmla="*/ 2147483647 w 396"/>
                <a:gd name="T63" fmla="*/ 2147483647 h 228"/>
                <a:gd name="T64" fmla="*/ 2147483647 w 396"/>
                <a:gd name="T65" fmla="*/ 2147483647 h 228"/>
                <a:gd name="T66" fmla="*/ 2147483647 w 396"/>
                <a:gd name="T67" fmla="*/ 2147483647 h 228"/>
                <a:gd name="T68" fmla="*/ 2147483647 w 396"/>
                <a:gd name="T69" fmla="*/ 2147483647 h 228"/>
                <a:gd name="T70" fmla="*/ 2147483647 w 396"/>
                <a:gd name="T71" fmla="*/ 2147483647 h 228"/>
                <a:gd name="T72" fmla="*/ 2147483647 w 396"/>
                <a:gd name="T73" fmla="*/ 2147483647 h 228"/>
                <a:gd name="T74" fmla="*/ 2147483647 w 396"/>
                <a:gd name="T75" fmla="*/ 2147483647 h 228"/>
                <a:gd name="T76" fmla="*/ 2147483647 w 396"/>
                <a:gd name="T77" fmla="*/ 2147483647 h 228"/>
                <a:gd name="T78" fmla="*/ 2147483647 w 396"/>
                <a:gd name="T79" fmla="*/ 2147483647 h 228"/>
                <a:gd name="T80" fmla="*/ 2147483647 w 396"/>
                <a:gd name="T81" fmla="*/ 2147483647 h 228"/>
                <a:gd name="T82" fmla="*/ 2147483647 w 396"/>
                <a:gd name="T83" fmla="*/ 2147483647 h 228"/>
                <a:gd name="T84" fmla="*/ 2147483647 w 396"/>
                <a:gd name="T85" fmla="*/ 2147483647 h 228"/>
                <a:gd name="T86" fmla="*/ 2147483647 w 396"/>
                <a:gd name="T87" fmla="*/ 2147483647 h 228"/>
                <a:gd name="T88" fmla="*/ 2147483647 w 396"/>
                <a:gd name="T89" fmla="*/ 2147483647 h 228"/>
                <a:gd name="T90" fmla="*/ 2147483647 w 396"/>
                <a:gd name="T91" fmla="*/ 2147483647 h 228"/>
                <a:gd name="T92" fmla="*/ 2147483647 w 396"/>
                <a:gd name="T93" fmla="*/ 2147483647 h 22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96"/>
                <a:gd name="T142" fmla="*/ 0 h 228"/>
                <a:gd name="T143" fmla="*/ 396 w 396"/>
                <a:gd name="T144" fmla="*/ 228 h 22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96" h="228">
                  <a:moveTo>
                    <a:pt x="372" y="168"/>
                  </a:moveTo>
                  <a:lnTo>
                    <a:pt x="336" y="126"/>
                  </a:lnTo>
                  <a:lnTo>
                    <a:pt x="354" y="108"/>
                  </a:lnTo>
                  <a:lnTo>
                    <a:pt x="354" y="78"/>
                  </a:lnTo>
                  <a:lnTo>
                    <a:pt x="360" y="72"/>
                  </a:lnTo>
                  <a:lnTo>
                    <a:pt x="372" y="66"/>
                  </a:lnTo>
                  <a:lnTo>
                    <a:pt x="396" y="66"/>
                  </a:lnTo>
                  <a:lnTo>
                    <a:pt x="396" y="48"/>
                  </a:lnTo>
                  <a:lnTo>
                    <a:pt x="390" y="36"/>
                  </a:lnTo>
                  <a:lnTo>
                    <a:pt x="372" y="36"/>
                  </a:lnTo>
                  <a:lnTo>
                    <a:pt x="348" y="12"/>
                  </a:lnTo>
                  <a:lnTo>
                    <a:pt x="324" y="12"/>
                  </a:lnTo>
                  <a:lnTo>
                    <a:pt x="312" y="6"/>
                  </a:lnTo>
                  <a:lnTo>
                    <a:pt x="300" y="6"/>
                  </a:lnTo>
                  <a:lnTo>
                    <a:pt x="288" y="0"/>
                  </a:lnTo>
                  <a:lnTo>
                    <a:pt x="282" y="0"/>
                  </a:lnTo>
                  <a:lnTo>
                    <a:pt x="282" y="12"/>
                  </a:lnTo>
                  <a:lnTo>
                    <a:pt x="252" y="6"/>
                  </a:lnTo>
                  <a:lnTo>
                    <a:pt x="252" y="12"/>
                  </a:lnTo>
                  <a:lnTo>
                    <a:pt x="246" y="12"/>
                  </a:lnTo>
                  <a:lnTo>
                    <a:pt x="234" y="18"/>
                  </a:lnTo>
                  <a:lnTo>
                    <a:pt x="228" y="18"/>
                  </a:lnTo>
                  <a:lnTo>
                    <a:pt x="222" y="24"/>
                  </a:lnTo>
                  <a:lnTo>
                    <a:pt x="222" y="36"/>
                  </a:lnTo>
                  <a:lnTo>
                    <a:pt x="216" y="42"/>
                  </a:lnTo>
                  <a:lnTo>
                    <a:pt x="198" y="42"/>
                  </a:lnTo>
                  <a:lnTo>
                    <a:pt x="186" y="36"/>
                  </a:lnTo>
                  <a:lnTo>
                    <a:pt x="180" y="30"/>
                  </a:lnTo>
                  <a:lnTo>
                    <a:pt x="156" y="30"/>
                  </a:lnTo>
                  <a:lnTo>
                    <a:pt x="138" y="24"/>
                  </a:lnTo>
                  <a:lnTo>
                    <a:pt x="138" y="30"/>
                  </a:lnTo>
                  <a:lnTo>
                    <a:pt x="132" y="36"/>
                  </a:lnTo>
                  <a:lnTo>
                    <a:pt x="108" y="36"/>
                  </a:lnTo>
                  <a:lnTo>
                    <a:pt x="102" y="30"/>
                  </a:lnTo>
                  <a:lnTo>
                    <a:pt x="90" y="30"/>
                  </a:lnTo>
                  <a:lnTo>
                    <a:pt x="66" y="18"/>
                  </a:lnTo>
                  <a:lnTo>
                    <a:pt x="54" y="30"/>
                  </a:lnTo>
                  <a:lnTo>
                    <a:pt x="36" y="30"/>
                  </a:lnTo>
                  <a:lnTo>
                    <a:pt x="30" y="24"/>
                  </a:lnTo>
                  <a:lnTo>
                    <a:pt x="36" y="18"/>
                  </a:lnTo>
                  <a:lnTo>
                    <a:pt x="36" y="12"/>
                  </a:lnTo>
                  <a:lnTo>
                    <a:pt x="42" y="6"/>
                  </a:lnTo>
                  <a:lnTo>
                    <a:pt x="36" y="0"/>
                  </a:lnTo>
                  <a:lnTo>
                    <a:pt x="12" y="0"/>
                  </a:lnTo>
                  <a:lnTo>
                    <a:pt x="12" y="12"/>
                  </a:lnTo>
                  <a:lnTo>
                    <a:pt x="0" y="24"/>
                  </a:lnTo>
                  <a:lnTo>
                    <a:pt x="0" y="42"/>
                  </a:lnTo>
                  <a:lnTo>
                    <a:pt x="18" y="48"/>
                  </a:lnTo>
                  <a:lnTo>
                    <a:pt x="12" y="60"/>
                  </a:lnTo>
                  <a:lnTo>
                    <a:pt x="30" y="66"/>
                  </a:lnTo>
                  <a:lnTo>
                    <a:pt x="36" y="72"/>
                  </a:lnTo>
                  <a:lnTo>
                    <a:pt x="36" y="96"/>
                  </a:lnTo>
                  <a:lnTo>
                    <a:pt x="30" y="102"/>
                  </a:lnTo>
                  <a:lnTo>
                    <a:pt x="6" y="102"/>
                  </a:lnTo>
                  <a:lnTo>
                    <a:pt x="6" y="108"/>
                  </a:lnTo>
                  <a:lnTo>
                    <a:pt x="12" y="114"/>
                  </a:lnTo>
                  <a:lnTo>
                    <a:pt x="12" y="138"/>
                  </a:lnTo>
                  <a:lnTo>
                    <a:pt x="0" y="138"/>
                  </a:lnTo>
                  <a:lnTo>
                    <a:pt x="12" y="156"/>
                  </a:lnTo>
                  <a:lnTo>
                    <a:pt x="18" y="156"/>
                  </a:lnTo>
                  <a:lnTo>
                    <a:pt x="18" y="168"/>
                  </a:lnTo>
                  <a:lnTo>
                    <a:pt x="36" y="180"/>
                  </a:lnTo>
                  <a:lnTo>
                    <a:pt x="42" y="186"/>
                  </a:lnTo>
                  <a:lnTo>
                    <a:pt x="48" y="198"/>
                  </a:lnTo>
                  <a:lnTo>
                    <a:pt x="48" y="210"/>
                  </a:lnTo>
                  <a:lnTo>
                    <a:pt x="42" y="222"/>
                  </a:lnTo>
                  <a:lnTo>
                    <a:pt x="48" y="222"/>
                  </a:lnTo>
                  <a:lnTo>
                    <a:pt x="54" y="228"/>
                  </a:lnTo>
                  <a:lnTo>
                    <a:pt x="66" y="228"/>
                  </a:lnTo>
                  <a:lnTo>
                    <a:pt x="78" y="222"/>
                  </a:lnTo>
                  <a:lnTo>
                    <a:pt x="84" y="216"/>
                  </a:lnTo>
                  <a:lnTo>
                    <a:pt x="108" y="222"/>
                  </a:lnTo>
                  <a:lnTo>
                    <a:pt x="114" y="204"/>
                  </a:lnTo>
                  <a:lnTo>
                    <a:pt x="144" y="198"/>
                  </a:lnTo>
                  <a:lnTo>
                    <a:pt x="144" y="204"/>
                  </a:lnTo>
                  <a:lnTo>
                    <a:pt x="162" y="222"/>
                  </a:lnTo>
                  <a:lnTo>
                    <a:pt x="174" y="222"/>
                  </a:lnTo>
                  <a:lnTo>
                    <a:pt x="180" y="216"/>
                  </a:lnTo>
                  <a:lnTo>
                    <a:pt x="192" y="228"/>
                  </a:lnTo>
                  <a:lnTo>
                    <a:pt x="204" y="228"/>
                  </a:lnTo>
                  <a:lnTo>
                    <a:pt x="216" y="216"/>
                  </a:lnTo>
                  <a:lnTo>
                    <a:pt x="228" y="228"/>
                  </a:lnTo>
                  <a:lnTo>
                    <a:pt x="246" y="228"/>
                  </a:lnTo>
                  <a:lnTo>
                    <a:pt x="252" y="222"/>
                  </a:lnTo>
                  <a:lnTo>
                    <a:pt x="252" y="204"/>
                  </a:lnTo>
                  <a:lnTo>
                    <a:pt x="246" y="198"/>
                  </a:lnTo>
                  <a:lnTo>
                    <a:pt x="264" y="192"/>
                  </a:lnTo>
                  <a:lnTo>
                    <a:pt x="282" y="168"/>
                  </a:lnTo>
                  <a:lnTo>
                    <a:pt x="312" y="174"/>
                  </a:lnTo>
                  <a:lnTo>
                    <a:pt x="324" y="156"/>
                  </a:lnTo>
                  <a:lnTo>
                    <a:pt x="336" y="174"/>
                  </a:lnTo>
                  <a:lnTo>
                    <a:pt x="348" y="174"/>
                  </a:lnTo>
                  <a:lnTo>
                    <a:pt x="360" y="180"/>
                  </a:lnTo>
                  <a:lnTo>
                    <a:pt x="372" y="180"/>
                  </a:lnTo>
                  <a:lnTo>
                    <a:pt x="372" y="168"/>
                  </a:lnTo>
                  <a:close/>
                </a:path>
              </a:pathLst>
            </a:custGeom>
            <a:solidFill>
              <a:srgbClr val="00508C"/>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93" name="Brazil" descr="© INSCALE GmbH, 05.05.2010&#10;http://www.presentationload.com/"/>
            <p:cNvSpPr>
              <a:spLocks noEditPoints="1"/>
            </p:cNvSpPr>
            <p:nvPr/>
          </p:nvSpPr>
          <p:spPr bwMode="gray">
            <a:xfrm>
              <a:off x="2098677" y="3906837"/>
              <a:ext cx="1120776" cy="1266825"/>
            </a:xfrm>
            <a:custGeom>
              <a:avLst/>
              <a:gdLst>
                <a:gd name="T0" fmla="*/ 2147483647 w 2784"/>
                <a:gd name="T1" fmla="*/ 2147483647 h 3150"/>
                <a:gd name="T2" fmla="*/ 2147483647 w 2784"/>
                <a:gd name="T3" fmla="*/ 2147483647 h 3150"/>
                <a:gd name="T4" fmla="*/ 2147483647 w 2784"/>
                <a:gd name="T5" fmla="*/ 2147483647 h 3150"/>
                <a:gd name="T6" fmla="*/ 2147483647 w 2784"/>
                <a:gd name="T7" fmla="*/ 2147483647 h 3150"/>
                <a:gd name="T8" fmla="*/ 2147483647 w 2784"/>
                <a:gd name="T9" fmla="*/ 2147483647 h 3150"/>
                <a:gd name="T10" fmla="*/ 2147483647 w 2784"/>
                <a:gd name="T11" fmla="*/ 2147483647 h 3150"/>
                <a:gd name="T12" fmla="*/ 2147483647 w 2784"/>
                <a:gd name="T13" fmla="*/ 2147483647 h 3150"/>
                <a:gd name="T14" fmla="*/ 2147483647 w 2784"/>
                <a:gd name="T15" fmla="*/ 2147483647 h 3150"/>
                <a:gd name="T16" fmla="*/ 2147483647 w 2784"/>
                <a:gd name="T17" fmla="*/ 2147483647 h 3150"/>
                <a:gd name="T18" fmla="*/ 2147483647 w 2784"/>
                <a:gd name="T19" fmla="*/ 2147483647 h 3150"/>
                <a:gd name="T20" fmla="*/ 2147483647 w 2784"/>
                <a:gd name="T21" fmla="*/ 2147483647 h 3150"/>
                <a:gd name="T22" fmla="*/ 2147483647 w 2784"/>
                <a:gd name="T23" fmla="*/ 2147483647 h 3150"/>
                <a:gd name="T24" fmla="*/ 2147483647 w 2784"/>
                <a:gd name="T25" fmla="*/ 2147483647 h 3150"/>
                <a:gd name="T26" fmla="*/ 2147483647 w 2784"/>
                <a:gd name="T27" fmla="*/ 2147483647 h 3150"/>
                <a:gd name="T28" fmla="*/ 2147483647 w 2784"/>
                <a:gd name="T29" fmla="*/ 2147483647 h 3150"/>
                <a:gd name="T30" fmla="*/ 2147483647 w 2784"/>
                <a:gd name="T31" fmla="*/ 2147483647 h 3150"/>
                <a:gd name="T32" fmla="*/ 2147483647 w 2784"/>
                <a:gd name="T33" fmla="*/ 2147483647 h 3150"/>
                <a:gd name="T34" fmla="*/ 2147483647 w 2784"/>
                <a:gd name="T35" fmla="*/ 2147483647 h 3150"/>
                <a:gd name="T36" fmla="*/ 2147483647 w 2784"/>
                <a:gd name="T37" fmla="*/ 2147483647 h 3150"/>
                <a:gd name="T38" fmla="*/ 2147483647 w 2784"/>
                <a:gd name="T39" fmla="*/ 2147483647 h 3150"/>
                <a:gd name="T40" fmla="*/ 2147483647 w 2784"/>
                <a:gd name="T41" fmla="*/ 2147483647 h 3150"/>
                <a:gd name="T42" fmla="*/ 2147483647 w 2784"/>
                <a:gd name="T43" fmla="*/ 2147483647 h 3150"/>
                <a:gd name="T44" fmla="*/ 2147483647 w 2784"/>
                <a:gd name="T45" fmla="*/ 2147483647 h 3150"/>
                <a:gd name="T46" fmla="*/ 2147483647 w 2784"/>
                <a:gd name="T47" fmla="*/ 2147483647 h 3150"/>
                <a:gd name="T48" fmla="*/ 2147483647 w 2784"/>
                <a:gd name="T49" fmla="*/ 2147483647 h 3150"/>
                <a:gd name="T50" fmla="*/ 2147483647 w 2784"/>
                <a:gd name="T51" fmla="*/ 2147483647 h 3150"/>
                <a:gd name="T52" fmla="*/ 2147483647 w 2784"/>
                <a:gd name="T53" fmla="*/ 2147483647 h 3150"/>
                <a:gd name="T54" fmla="*/ 2147483647 w 2784"/>
                <a:gd name="T55" fmla="*/ 2147483647 h 3150"/>
                <a:gd name="T56" fmla="*/ 2147483647 w 2784"/>
                <a:gd name="T57" fmla="*/ 2147483647 h 3150"/>
                <a:gd name="T58" fmla="*/ 2147483647 w 2784"/>
                <a:gd name="T59" fmla="*/ 2147483647 h 3150"/>
                <a:gd name="T60" fmla="*/ 2147483647 w 2784"/>
                <a:gd name="T61" fmla="*/ 2147483647 h 3150"/>
                <a:gd name="T62" fmla="*/ 2147483647 w 2784"/>
                <a:gd name="T63" fmla="*/ 2147483647 h 3150"/>
                <a:gd name="T64" fmla="*/ 2147483647 w 2784"/>
                <a:gd name="T65" fmla="*/ 2147483647 h 3150"/>
                <a:gd name="T66" fmla="*/ 2147483647 w 2784"/>
                <a:gd name="T67" fmla="*/ 2147483647 h 3150"/>
                <a:gd name="T68" fmla="*/ 2147483647 w 2784"/>
                <a:gd name="T69" fmla="*/ 2147483647 h 3150"/>
                <a:gd name="T70" fmla="*/ 2147483647 w 2784"/>
                <a:gd name="T71" fmla="*/ 2147483647 h 3150"/>
                <a:gd name="T72" fmla="*/ 2147483647 w 2784"/>
                <a:gd name="T73" fmla="*/ 2147483647 h 3150"/>
                <a:gd name="T74" fmla="*/ 2147483647 w 2784"/>
                <a:gd name="T75" fmla="*/ 2147483647 h 3150"/>
                <a:gd name="T76" fmla="*/ 2147483647 w 2784"/>
                <a:gd name="T77" fmla="*/ 2147483647 h 3150"/>
                <a:gd name="T78" fmla="*/ 2147483647 w 2784"/>
                <a:gd name="T79" fmla="*/ 2147483647 h 3150"/>
                <a:gd name="T80" fmla="*/ 2147483647 w 2784"/>
                <a:gd name="T81" fmla="*/ 2147483647 h 3150"/>
                <a:gd name="T82" fmla="*/ 2147483647 w 2784"/>
                <a:gd name="T83" fmla="*/ 2147483647 h 3150"/>
                <a:gd name="T84" fmla="*/ 2147483647 w 2784"/>
                <a:gd name="T85" fmla="*/ 2147483647 h 3150"/>
                <a:gd name="T86" fmla="*/ 2147483647 w 2784"/>
                <a:gd name="T87" fmla="*/ 2147483647 h 3150"/>
                <a:gd name="T88" fmla="*/ 2147483647 w 2784"/>
                <a:gd name="T89" fmla="*/ 2147483647 h 3150"/>
                <a:gd name="T90" fmla="*/ 2147483647 w 2784"/>
                <a:gd name="T91" fmla="*/ 2147483647 h 3150"/>
                <a:gd name="T92" fmla="*/ 2147483647 w 2784"/>
                <a:gd name="T93" fmla="*/ 2147483647 h 3150"/>
                <a:gd name="T94" fmla="*/ 2147483647 w 2784"/>
                <a:gd name="T95" fmla="*/ 2147483647 h 3150"/>
                <a:gd name="T96" fmla="*/ 2147483647 w 2784"/>
                <a:gd name="T97" fmla="*/ 2147483647 h 3150"/>
                <a:gd name="T98" fmla="*/ 2147483647 w 2784"/>
                <a:gd name="T99" fmla="*/ 2147483647 h 3150"/>
                <a:gd name="T100" fmla="*/ 2147483647 w 2784"/>
                <a:gd name="T101" fmla="*/ 2147483647 h 3150"/>
                <a:gd name="T102" fmla="*/ 2147483647 w 2784"/>
                <a:gd name="T103" fmla="*/ 2147483647 h 3150"/>
                <a:gd name="T104" fmla="*/ 2147483647 w 2784"/>
                <a:gd name="T105" fmla="*/ 2147483647 h 3150"/>
                <a:gd name="T106" fmla="*/ 2147483647 w 2784"/>
                <a:gd name="T107" fmla="*/ 2147483647 h 3150"/>
                <a:gd name="T108" fmla="*/ 2147483647 w 2784"/>
                <a:gd name="T109" fmla="*/ 2147483647 h 3150"/>
                <a:gd name="T110" fmla="*/ 2147483647 w 2784"/>
                <a:gd name="T111" fmla="*/ 2147483647 h 3150"/>
                <a:gd name="T112" fmla="*/ 2147483647 w 2784"/>
                <a:gd name="T113" fmla="*/ 2147483647 h 3150"/>
                <a:gd name="T114" fmla="*/ 2147483647 w 2784"/>
                <a:gd name="T115" fmla="*/ 2147483647 h 3150"/>
                <a:gd name="T116" fmla="*/ 2147483647 w 2784"/>
                <a:gd name="T117" fmla="*/ 2147483647 h 3150"/>
                <a:gd name="T118" fmla="*/ 2147483647 w 2784"/>
                <a:gd name="T119" fmla="*/ 2147483647 h 31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784"/>
                <a:gd name="T181" fmla="*/ 0 h 3150"/>
                <a:gd name="T182" fmla="*/ 2784 w 2784"/>
                <a:gd name="T183" fmla="*/ 3150 h 315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784" h="3150">
                  <a:moveTo>
                    <a:pt x="1716" y="450"/>
                  </a:moveTo>
                  <a:lnTo>
                    <a:pt x="1710" y="450"/>
                  </a:lnTo>
                  <a:lnTo>
                    <a:pt x="1698" y="444"/>
                  </a:lnTo>
                  <a:lnTo>
                    <a:pt x="1680" y="444"/>
                  </a:lnTo>
                  <a:lnTo>
                    <a:pt x="1662" y="438"/>
                  </a:lnTo>
                  <a:lnTo>
                    <a:pt x="1650" y="438"/>
                  </a:lnTo>
                  <a:lnTo>
                    <a:pt x="1644" y="444"/>
                  </a:lnTo>
                  <a:lnTo>
                    <a:pt x="1644" y="450"/>
                  </a:lnTo>
                  <a:lnTo>
                    <a:pt x="1650" y="462"/>
                  </a:lnTo>
                  <a:lnTo>
                    <a:pt x="1650" y="468"/>
                  </a:lnTo>
                  <a:lnTo>
                    <a:pt x="1656" y="480"/>
                  </a:lnTo>
                  <a:lnTo>
                    <a:pt x="1638" y="480"/>
                  </a:lnTo>
                  <a:lnTo>
                    <a:pt x="1638" y="504"/>
                  </a:lnTo>
                  <a:lnTo>
                    <a:pt x="1656" y="516"/>
                  </a:lnTo>
                  <a:lnTo>
                    <a:pt x="1644" y="528"/>
                  </a:lnTo>
                  <a:lnTo>
                    <a:pt x="1644" y="540"/>
                  </a:lnTo>
                  <a:lnTo>
                    <a:pt x="1656" y="564"/>
                  </a:lnTo>
                  <a:lnTo>
                    <a:pt x="1668" y="570"/>
                  </a:lnTo>
                  <a:lnTo>
                    <a:pt x="1674" y="576"/>
                  </a:lnTo>
                  <a:lnTo>
                    <a:pt x="1686" y="576"/>
                  </a:lnTo>
                  <a:lnTo>
                    <a:pt x="1698" y="570"/>
                  </a:lnTo>
                  <a:lnTo>
                    <a:pt x="1710" y="570"/>
                  </a:lnTo>
                  <a:lnTo>
                    <a:pt x="1716" y="564"/>
                  </a:lnTo>
                  <a:lnTo>
                    <a:pt x="1716" y="558"/>
                  </a:lnTo>
                  <a:lnTo>
                    <a:pt x="1728" y="558"/>
                  </a:lnTo>
                  <a:lnTo>
                    <a:pt x="1740" y="552"/>
                  </a:lnTo>
                  <a:lnTo>
                    <a:pt x="1758" y="552"/>
                  </a:lnTo>
                  <a:lnTo>
                    <a:pt x="1770" y="546"/>
                  </a:lnTo>
                  <a:lnTo>
                    <a:pt x="1776" y="534"/>
                  </a:lnTo>
                  <a:lnTo>
                    <a:pt x="1788" y="492"/>
                  </a:lnTo>
                  <a:lnTo>
                    <a:pt x="1794" y="480"/>
                  </a:lnTo>
                  <a:lnTo>
                    <a:pt x="1794" y="474"/>
                  </a:lnTo>
                  <a:lnTo>
                    <a:pt x="1800" y="462"/>
                  </a:lnTo>
                  <a:lnTo>
                    <a:pt x="1800" y="444"/>
                  </a:lnTo>
                  <a:lnTo>
                    <a:pt x="1794" y="438"/>
                  </a:lnTo>
                  <a:lnTo>
                    <a:pt x="1752" y="438"/>
                  </a:lnTo>
                  <a:lnTo>
                    <a:pt x="1740" y="444"/>
                  </a:lnTo>
                  <a:lnTo>
                    <a:pt x="1734" y="444"/>
                  </a:lnTo>
                  <a:lnTo>
                    <a:pt x="1722" y="450"/>
                  </a:lnTo>
                  <a:lnTo>
                    <a:pt x="1716" y="450"/>
                  </a:lnTo>
                  <a:close/>
                  <a:moveTo>
                    <a:pt x="1716" y="438"/>
                  </a:moveTo>
                  <a:lnTo>
                    <a:pt x="1740" y="432"/>
                  </a:lnTo>
                  <a:lnTo>
                    <a:pt x="1722" y="414"/>
                  </a:lnTo>
                  <a:lnTo>
                    <a:pt x="1698" y="438"/>
                  </a:lnTo>
                  <a:lnTo>
                    <a:pt x="1716" y="438"/>
                  </a:lnTo>
                  <a:close/>
                  <a:moveTo>
                    <a:pt x="1686" y="408"/>
                  </a:moveTo>
                  <a:lnTo>
                    <a:pt x="1662" y="408"/>
                  </a:lnTo>
                  <a:lnTo>
                    <a:pt x="1662" y="426"/>
                  </a:lnTo>
                  <a:lnTo>
                    <a:pt x="1698" y="426"/>
                  </a:lnTo>
                  <a:lnTo>
                    <a:pt x="1716" y="402"/>
                  </a:lnTo>
                  <a:lnTo>
                    <a:pt x="1698" y="384"/>
                  </a:lnTo>
                  <a:lnTo>
                    <a:pt x="1686" y="408"/>
                  </a:lnTo>
                  <a:close/>
                  <a:moveTo>
                    <a:pt x="1572" y="492"/>
                  </a:moveTo>
                  <a:lnTo>
                    <a:pt x="1572" y="510"/>
                  </a:lnTo>
                  <a:lnTo>
                    <a:pt x="1554" y="546"/>
                  </a:lnTo>
                  <a:lnTo>
                    <a:pt x="1584" y="528"/>
                  </a:lnTo>
                  <a:lnTo>
                    <a:pt x="1590" y="516"/>
                  </a:lnTo>
                  <a:lnTo>
                    <a:pt x="1596" y="510"/>
                  </a:lnTo>
                  <a:lnTo>
                    <a:pt x="1608" y="486"/>
                  </a:lnTo>
                  <a:lnTo>
                    <a:pt x="1608" y="480"/>
                  </a:lnTo>
                  <a:lnTo>
                    <a:pt x="1602" y="474"/>
                  </a:lnTo>
                  <a:lnTo>
                    <a:pt x="1596" y="474"/>
                  </a:lnTo>
                  <a:lnTo>
                    <a:pt x="1584" y="480"/>
                  </a:lnTo>
                  <a:lnTo>
                    <a:pt x="1572" y="492"/>
                  </a:lnTo>
                  <a:close/>
                  <a:moveTo>
                    <a:pt x="1632" y="426"/>
                  </a:moveTo>
                  <a:lnTo>
                    <a:pt x="1608" y="450"/>
                  </a:lnTo>
                  <a:lnTo>
                    <a:pt x="1626" y="456"/>
                  </a:lnTo>
                  <a:lnTo>
                    <a:pt x="1644" y="432"/>
                  </a:lnTo>
                  <a:lnTo>
                    <a:pt x="1632" y="426"/>
                  </a:lnTo>
                  <a:close/>
                  <a:moveTo>
                    <a:pt x="2778" y="1002"/>
                  </a:moveTo>
                  <a:lnTo>
                    <a:pt x="2778" y="984"/>
                  </a:lnTo>
                  <a:lnTo>
                    <a:pt x="2772" y="972"/>
                  </a:lnTo>
                  <a:lnTo>
                    <a:pt x="2760" y="954"/>
                  </a:lnTo>
                  <a:lnTo>
                    <a:pt x="2754" y="936"/>
                  </a:lnTo>
                  <a:lnTo>
                    <a:pt x="2754" y="870"/>
                  </a:lnTo>
                  <a:lnTo>
                    <a:pt x="2724" y="840"/>
                  </a:lnTo>
                  <a:lnTo>
                    <a:pt x="2694" y="834"/>
                  </a:lnTo>
                  <a:lnTo>
                    <a:pt x="2646" y="840"/>
                  </a:lnTo>
                  <a:lnTo>
                    <a:pt x="2628" y="822"/>
                  </a:lnTo>
                  <a:lnTo>
                    <a:pt x="2610" y="822"/>
                  </a:lnTo>
                  <a:lnTo>
                    <a:pt x="2592" y="798"/>
                  </a:lnTo>
                  <a:lnTo>
                    <a:pt x="2568" y="798"/>
                  </a:lnTo>
                  <a:lnTo>
                    <a:pt x="2538" y="768"/>
                  </a:lnTo>
                  <a:lnTo>
                    <a:pt x="2526" y="750"/>
                  </a:lnTo>
                  <a:lnTo>
                    <a:pt x="2490" y="714"/>
                  </a:lnTo>
                  <a:lnTo>
                    <a:pt x="2418" y="666"/>
                  </a:lnTo>
                  <a:lnTo>
                    <a:pt x="2394" y="660"/>
                  </a:lnTo>
                  <a:lnTo>
                    <a:pt x="2316" y="660"/>
                  </a:lnTo>
                  <a:lnTo>
                    <a:pt x="2316" y="672"/>
                  </a:lnTo>
                  <a:lnTo>
                    <a:pt x="2310" y="672"/>
                  </a:lnTo>
                  <a:lnTo>
                    <a:pt x="2298" y="660"/>
                  </a:lnTo>
                  <a:lnTo>
                    <a:pt x="2286" y="654"/>
                  </a:lnTo>
                  <a:lnTo>
                    <a:pt x="2274" y="654"/>
                  </a:lnTo>
                  <a:lnTo>
                    <a:pt x="2262" y="648"/>
                  </a:lnTo>
                  <a:lnTo>
                    <a:pt x="2232" y="648"/>
                  </a:lnTo>
                  <a:lnTo>
                    <a:pt x="2226" y="642"/>
                  </a:lnTo>
                  <a:lnTo>
                    <a:pt x="2214" y="636"/>
                  </a:lnTo>
                  <a:lnTo>
                    <a:pt x="2196" y="630"/>
                  </a:lnTo>
                  <a:lnTo>
                    <a:pt x="2184" y="624"/>
                  </a:lnTo>
                  <a:lnTo>
                    <a:pt x="2166" y="618"/>
                  </a:lnTo>
                  <a:lnTo>
                    <a:pt x="2154" y="618"/>
                  </a:lnTo>
                  <a:lnTo>
                    <a:pt x="2142" y="624"/>
                  </a:lnTo>
                  <a:lnTo>
                    <a:pt x="2112" y="654"/>
                  </a:lnTo>
                  <a:lnTo>
                    <a:pt x="2106" y="666"/>
                  </a:lnTo>
                  <a:lnTo>
                    <a:pt x="2088" y="642"/>
                  </a:lnTo>
                  <a:lnTo>
                    <a:pt x="2088" y="678"/>
                  </a:lnTo>
                  <a:lnTo>
                    <a:pt x="2058" y="702"/>
                  </a:lnTo>
                  <a:lnTo>
                    <a:pt x="2076" y="636"/>
                  </a:lnTo>
                  <a:lnTo>
                    <a:pt x="2082" y="636"/>
                  </a:lnTo>
                  <a:lnTo>
                    <a:pt x="2094" y="624"/>
                  </a:lnTo>
                  <a:lnTo>
                    <a:pt x="2094" y="606"/>
                  </a:lnTo>
                  <a:lnTo>
                    <a:pt x="2088" y="600"/>
                  </a:lnTo>
                  <a:lnTo>
                    <a:pt x="2082" y="600"/>
                  </a:lnTo>
                  <a:lnTo>
                    <a:pt x="2064" y="618"/>
                  </a:lnTo>
                  <a:lnTo>
                    <a:pt x="2076" y="582"/>
                  </a:lnTo>
                  <a:lnTo>
                    <a:pt x="2070" y="582"/>
                  </a:lnTo>
                  <a:lnTo>
                    <a:pt x="2064" y="576"/>
                  </a:lnTo>
                  <a:lnTo>
                    <a:pt x="2064" y="570"/>
                  </a:lnTo>
                  <a:lnTo>
                    <a:pt x="2040" y="546"/>
                  </a:lnTo>
                  <a:lnTo>
                    <a:pt x="2034" y="546"/>
                  </a:lnTo>
                  <a:lnTo>
                    <a:pt x="2022" y="564"/>
                  </a:lnTo>
                  <a:lnTo>
                    <a:pt x="2016" y="552"/>
                  </a:lnTo>
                  <a:lnTo>
                    <a:pt x="2004" y="546"/>
                  </a:lnTo>
                  <a:lnTo>
                    <a:pt x="1998" y="534"/>
                  </a:lnTo>
                  <a:lnTo>
                    <a:pt x="1986" y="528"/>
                  </a:lnTo>
                  <a:lnTo>
                    <a:pt x="1980" y="522"/>
                  </a:lnTo>
                  <a:lnTo>
                    <a:pt x="1968" y="516"/>
                  </a:lnTo>
                  <a:lnTo>
                    <a:pt x="1944" y="516"/>
                  </a:lnTo>
                  <a:lnTo>
                    <a:pt x="1932" y="510"/>
                  </a:lnTo>
                  <a:lnTo>
                    <a:pt x="1926" y="510"/>
                  </a:lnTo>
                  <a:lnTo>
                    <a:pt x="1914" y="498"/>
                  </a:lnTo>
                  <a:lnTo>
                    <a:pt x="1902" y="492"/>
                  </a:lnTo>
                  <a:lnTo>
                    <a:pt x="1896" y="480"/>
                  </a:lnTo>
                  <a:lnTo>
                    <a:pt x="1884" y="474"/>
                  </a:lnTo>
                  <a:lnTo>
                    <a:pt x="1878" y="486"/>
                  </a:lnTo>
                  <a:lnTo>
                    <a:pt x="1824" y="486"/>
                  </a:lnTo>
                  <a:lnTo>
                    <a:pt x="1812" y="498"/>
                  </a:lnTo>
                  <a:lnTo>
                    <a:pt x="1806" y="510"/>
                  </a:lnTo>
                  <a:lnTo>
                    <a:pt x="1806" y="522"/>
                  </a:lnTo>
                  <a:lnTo>
                    <a:pt x="1800" y="528"/>
                  </a:lnTo>
                  <a:lnTo>
                    <a:pt x="1800" y="534"/>
                  </a:lnTo>
                  <a:lnTo>
                    <a:pt x="1812" y="552"/>
                  </a:lnTo>
                  <a:lnTo>
                    <a:pt x="1776" y="552"/>
                  </a:lnTo>
                  <a:lnTo>
                    <a:pt x="1770" y="564"/>
                  </a:lnTo>
                  <a:lnTo>
                    <a:pt x="1758" y="576"/>
                  </a:lnTo>
                  <a:lnTo>
                    <a:pt x="1752" y="588"/>
                  </a:lnTo>
                  <a:lnTo>
                    <a:pt x="1752" y="594"/>
                  </a:lnTo>
                  <a:lnTo>
                    <a:pt x="1746" y="600"/>
                  </a:lnTo>
                  <a:lnTo>
                    <a:pt x="1746" y="612"/>
                  </a:lnTo>
                  <a:lnTo>
                    <a:pt x="1740" y="624"/>
                  </a:lnTo>
                  <a:lnTo>
                    <a:pt x="1728" y="636"/>
                  </a:lnTo>
                  <a:lnTo>
                    <a:pt x="1722" y="636"/>
                  </a:lnTo>
                  <a:lnTo>
                    <a:pt x="1728" y="630"/>
                  </a:lnTo>
                  <a:lnTo>
                    <a:pt x="1728" y="618"/>
                  </a:lnTo>
                  <a:lnTo>
                    <a:pt x="1734" y="606"/>
                  </a:lnTo>
                  <a:lnTo>
                    <a:pt x="1734" y="600"/>
                  </a:lnTo>
                  <a:lnTo>
                    <a:pt x="1740" y="588"/>
                  </a:lnTo>
                  <a:lnTo>
                    <a:pt x="1740" y="582"/>
                  </a:lnTo>
                  <a:lnTo>
                    <a:pt x="1734" y="576"/>
                  </a:lnTo>
                  <a:lnTo>
                    <a:pt x="1728" y="576"/>
                  </a:lnTo>
                  <a:lnTo>
                    <a:pt x="1722" y="582"/>
                  </a:lnTo>
                  <a:lnTo>
                    <a:pt x="1716" y="582"/>
                  </a:lnTo>
                  <a:lnTo>
                    <a:pt x="1704" y="594"/>
                  </a:lnTo>
                  <a:lnTo>
                    <a:pt x="1692" y="588"/>
                  </a:lnTo>
                  <a:lnTo>
                    <a:pt x="1656" y="588"/>
                  </a:lnTo>
                  <a:lnTo>
                    <a:pt x="1644" y="582"/>
                  </a:lnTo>
                  <a:lnTo>
                    <a:pt x="1632" y="570"/>
                  </a:lnTo>
                  <a:lnTo>
                    <a:pt x="1632" y="522"/>
                  </a:lnTo>
                  <a:lnTo>
                    <a:pt x="1626" y="516"/>
                  </a:lnTo>
                  <a:lnTo>
                    <a:pt x="1626" y="504"/>
                  </a:lnTo>
                  <a:lnTo>
                    <a:pt x="1620" y="504"/>
                  </a:lnTo>
                  <a:lnTo>
                    <a:pt x="1614" y="510"/>
                  </a:lnTo>
                  <a:lnTo>
                    <a:pt x="1602" y="516"/>
                  </a:lnTo>
                  <a:lnTo>
                    <a:pt x="1596" y="522"/>
                  </a:lnTo>
                  <a:lnTo>
                    <a:pt x="1590" y="534"/>
                  </a:lnTo>
                  <a:lnTo>
                    <a:pt x="1584" y="540"/>
                  </a:lnTo>
                  <a:lnTo>
                    <a:pt x="1560" y="552"/>
                  </a:lnTo>
                  <a:lnTo>
                    <a:pt x="1554" y="558"/>
                  </a:lnTo>
                  <a:lnTo>
                    <a:pt x="1512" y="558"/>
                  </a:lnTo>
                  <a:lnTo>
                    <a:pt x="1500" y="552"/>
                  </a:lnTo>
                  <a:lnTo>
                    <a:pt x="1542" y="540"/>
                  </a:lnTo>
                  <a:lnTo>
                    <a:pt x="1548" y="528"/>
                  </a:lnTo>
                  <a:lnTo>
                    <a:pt x="1566" y="510"/>
                  </a:lnTo>
                  <a:lnTo>
                    <a:pt x="1566" y="492"/>
                  </a:lnTo>
                  <a:lnTo>
                    <a:pt x="1572" y="486"/>
                  </a:lnTo>
                  <a:lnTo>
                    <a:pt x="1590" y="450"/>
                  </a:lnTo>
                  <a:lnTo>
                    <a:pt x="1626" y="414"/>
                  </a:lnTo>
                  <a:lnTo>
                    <a:pt x="1638" y="408"/>
                  </a:lnTo>
                  <a:lnTo>
                    <a:pt x="1656" y="390"/>
                  </a:lnTo>
                  <a:lnTo>
                    <a:pt x="1656" y="378"/>
                  </a:lnTo>
                  <a:lnTo>
                    <a:pt x="1662" y="366"/>
                  </a:lnTo>
                  <a:lnTo>
                    <a:pt x="1674" y="354"/>
                  </a:lnTo>
                  <a:lnTo>
                    <a:pt x="1686" y="348"/>
                  </a:lnTo>
                  <a:lnTo>
                    <a:pt x="1692" y="342"/>
                  </a:lnTo>
                  <a:lnTo>
                    <a:pt x="1704" y="336"/>
                  </a:lnTo>
                  <a:lnTo>
                    <a:pt x="1680" y="330"/>
                  </a:lnTo>
                  <a:lnTo>
                    <a:pt x="1698" y="312"/>
                  </a:lnTo>
                  <a:lnTo>
                    <a:pt x="1698" y="294"/>
                  </a:lnTo>
                  <a:lnTo>
                    <a:pt x="1692" y="288"/>
                  </a:lnTo>
                  <a:lnTo>
                    <a:pt x="1680" y="282"/>
                  </a:lnTo>
                  <a:lnTo>
                    <a:pt x="1662" y="282"/>
                  </a:lnTo>
                  <a:lnTo>
                    <a:pt x="1650" y="276"/>
                  </a:lnTo>
                  <a:lnTo>
                    <a:pt x="1644" y="270"/>
                  </a:lnTo>
                  <a:lnTo>
                    <a:pt x="1638" y="252"/>
                  </a:lnTo>
                  <a:lnTo>
                    <a:pt x="1632" y="216"/>
                  </a:lnTo>
                  <a:lnTo>
                    <a:pt x="1626" y="168"/>
                  </a:lnTo>
                  <a:lnTo>
                    <a:pt x="1620" y="138"/>
                  </a:lnTo>
                  <a:lnTo>
                    <a:pt x="1614" y="114"/>
                  </a:lnTo>
                  <a:lnTo>
                    <a:pt x="1608" y="96"/>
                  </a:lnTo>
                  <a:lnTo>
                    <a:pt x="1602" y="84"/>
                  </a:lnTo>
                  <a:lnTo>
                    <a:pt x="1590" y="78"/>
                  </a:lnTo>
                  <a:lnTo>
                    <a:pt x="1584" y="78"/>
                  </a:lnTo>
                  <a:lnTo>
                    <a:pt x="1584" y="90"/>
                  </a:lnTo>
                  <a:lnTo>
                    <a:pt x="1590" y="96"/>
                  </a:lnTo>
                  <a:lnTo>
                    <a:pt x="1590" y="108"/>
                  </a:lnTo>
                  <a:lnTo>
                    <a:pt x="1572" y="108"/>
                  </a:lnTo>
                  <a:lnTo>
                    <a:pt x="1572" y="102"/>
                  </a:lnTo>
                  <a:lnTo>
                    <a:pt x="1566" y="108"/>
                  </a:lnTo>
                  <a:lnTo>
                    <a:pt x="1560" y="120"/>
                  </a:lnTo>
                  <a:lnTo>
                    <a:pt x="1560" y="126"/>
                  </a:lnTo>
                  <a:lnTo>
                    <a:pt x="1554" y="132"/>
                  </a:lnTo>
                  <a:lnTo>
                    <a:pt x="1548" y="144"/>
                  </a:lnTo>
                  <a:lnTo>
                    <a:pt x="1536" y="156"/>
                  </a:lnTo>
                  <a:lnTo>
                    <a:pt x="1518" y="192"/>
                  </a:lnTo>
                  <a:lnTo>
                    <a:pt x="1518" y="210"/>
                  </a:lnTo>
                  <a:lnTo>
                    <a:pt x="1494" y="246"/>
                  </a:lnTo>
                  <a:lnTo>
                    <a:pt x="1488" y="246"/>
                  </a:lnTo>
                  <a:lnTo>
                    <a:pt x="1482" y="252"/>
                  </a:lnTo>
                  <a:lnTo>
                    <a:pt x="1464" y="252"/>
                  </a:lnTo>
                  <a:lnTo>
                    <a:pt x="1452" y="240"/>
                  </a:lnTo>
                  <a:lnTo>
                    <a:pt x="1446" y="246"/>
                  </a:lnTo>
                  <a:lnTo>
                    <a:pt x="1434" y="246"/>
                  </a:lnTo>
                  <a:lnTo>
                    <a:pt x="1428" y="240"/>
                  </a:lnTo>
                  <a:lnTo>
                    <a:pt x="1416" y="240"/>
                  </a:lnTo>
                  <a:lnTo>
                    <a:pt x="1410" y="246"/>
                  </a:lnTo>
                  <a:lnTo>
                    <a:pt x="1410" y="252"/>
                  </a:lnTo>
                  <a:lnTo>
                    <a:pt x="1404" y="258"/>
                  </a:lnTo>
                  <a:lnTo>
                    <a:pt x="1380" y="258"/>
                  </a:lnTo>
                  <a:lnTo>
                    <a:pt x="1368" y="246"/>
                  </a:lnTo>
                  <a:lnTo>
                    <a:pt x="1368" y="240"/>
                  </a:lnTo>
                  <a:lnTo>
                    <a:pt x="1350" y="234"/>
                  </a:lnTo>
                  <a:lnTo>
                    <a:pt x="1344" y="228"/>
                  </a:lnTo>
                  <a:lnTo>
                    <a:pt x="1338" y="216"/>
                  </a:lnTo>
                  <a:lnTo>
                    <a:pt x="1332" y="216"/>
                  </a:lnTo>
                  <a:lnTo>
                    <a:pt x="1320" y="222"/>
                  </a:lnTo>
                  <a:lnTo>
                    <a:pt x="1314" y="228"/>
                  </a:lnTo>
                  <a:lnTo>
                    <a:pt x="1302" y="234"/>
                  </a:lnTo>
                  <a:lnTo>
                    <a:pt x="1278" y="234"/>
                  </a:lnTo>
                  <a:lnTo>
                    <a:pt x="1278" y="222"/>
                  </a:lnTo>
                  <a:lnTo>
                    <a:pt x="1272" y="222"/>
                  </a:lnTo>
                  <a:lnTo>
                    <a:pt x="1260" y="228"/>
                  </a:lnTo>
                  <a:lnTo>
                    <a:pt x="1260" y="252"/>
                  </a:lnTo>
                  <a:lnTo>
                    <a:pt x="1272" y="264"/>
                  </a:lnTo>
                  <a:lnTo>
                    <a:pt x="1272" y="270"/>
                  </a:lnTo>
                  <a:lnTo>
                    <a:pt x="1278" y="276"/>
                  </a:lnTo>
                  <a:lnTo>
                    <a:pt x="1272" y="282"/>
                  </a:lnTo>
                  <a:lnTo>
                    <a:pt x="1254" y="282"/>
                  </a:lnTo>
                  <a:lnTo>
                    <a:pt x="1230" y="270"/>
                  </a:lnTo>
                  <a:lnTo>
                    <a:pt x="1224" y="270"/>
                  </a:lnTo>
                  <a:lnTo>
                    <a:pt x="1212" y="264"/>
                  </a:lnTo>
                  <a:lnTo>
                    <a:pt x="1212" y="270"/>
                  </a:lnTo>
                  <a:lnTo>
                    <a:pt x="1206" y="276"/>
                  </a:lnTo>
                  <a:lnTo>
                    <a:pt x="1200" y="276"/>
                  </a:lnTo>
                  <a:lnTo>
                    <a:pt x="1188" y="264"/>
                  </a:lnTo>
                  <a:lnTo>
                    <a:pt x="1176" y="264"/>
                  </a:lnTo>
                  <a:lnTo>
                    <a:pt x="1158" y="282"/>
                  </a:lnTo>
                  <a:lnTo>
                    <a:pt x="1158" y="288"/>
                  </a:lnTo>
                  <a:lnTo>
                    <a:pt x="1128" y="288"/>
                  </a:lnTo>
                  <a:lnTo>
                    <a:pt x="1122" y="300"/>
                  </a:lnTo>
                  <a:lnTo>
                    <a:pt x="1104" y="300"/>
                  </a:lnTo>
                  <a:lnTo>
                    <a:pt x="1092" y="312"/>
                  </a:lnTo>
                  <a:lnTo>
                    <a:pt x="1092" y="324"/>
                  </a:lnTo>
                  <a:lnTo>
                    <a:pt x="1086" y="330"/>
                  </a:lnTo>
                  <a:lnTo>
                    <a:pt x="1050" y="330"/>
                  </a:lnTo>
                  <a:lnTo>
                    <a:pt x="1044" y="318"/>
                  </a:lnTo>
                  <a:lnTo>
                    <a:pt x="1032" y="318"/>
                  </a:lnTo>
                  <a:lnTo>
                    <a:pt x="1002" y="282"/>
                  </a:lnTo>
                  <a:lnTo>
                    <a:pt x="1002" y="252"/>
                  </a:lnTo>
                  <a:lnTo>
                    <a:pt x="978" y="228"/>
                  </a:lnTo>
                  <a:lnTo>
                    <a:pt x="972" y="216"/>
                  </a:lnTo>
                  <a:lnTo>
                    <a:pt x="972" y="210"/>
                  </a:lnTo>
                  <a:lnTo>
                    <a:pt x="978" y="198"/>
                  </a:lnTo>
                  <a:lnTo>
                    <a:pt x="978" y="192"/>
                  </a:lnTo>
                  <a:lnTo>
                    <a:pt x="984" y="180"/>
                  </a:lnTo>
                  <a:lnTo>
                    <a:pt x="996" y="138"/>
                  </a:lnTo>
                  <a:lnTo>
                    <a:pt x="1008" y="126"/>
                  </a:lnTo>
                  <a:lnTo>
                    <a:pt x="1014" y="114"/>
                  </a:lnTo>
                  <a:lnTo>
                    <a:pt x="1014" y="102"/>
                  </a:lnTo>
                  <a:lnTo>
                    <a:pt x="1008" y="102"/>
                  </a:lnTo>
                  <a:lnTo>
                    <a:pt x="1002" y="96"/>
                  </a:lnTo>
                  <a:lnTo>
                    <a:pt x="1002" y="66"/>
                  </a:lnTo>
                  <a:lnTo>
                    <a:pt x="996" y="66"/>
                  </a:lnTo>
                  <a:lnTo>
                    <a:pt x="984" y="72"/>
                  </a:lnTo>
                  <a:lnTo>
                    <a:pt x="978" y="72"/>
                  </a:lnTo>
                  <a:lnTo>
                    <a:pt x="972" y="66"/>
                  </a:lnTo>
                  <a:lnTo>
                    <a:pt x="972" y="60"/>
                  </a:lnTo>
                  <a:lnTo>
                    <a:pt x="978" y="54"/>
                  </a:lnTo>
                  <a:lnTo>
                    <a:pt x="984" y="42"/>
                  </a:lnTo>
                  <a:lnTo>
                    <a:pt x="984" y="24"/>
                  </a:lnTo>
                  <a:lnTo>
                    <a:pt x="978" y="12"/>
                  </a:lnTo>
                  <a:lnTo>
                    <a:pt x="966" y="0"/>
                  </a:lnTo>
                  <a:lnTo>
                    <a:pt x="960" y="12"/>
                  </a:lnTo>
                  <a:lnTo>
                    <a:pt x="936" y="6"/>
                  </a:lnTo>
                  <a:lnTo>
                    <a:pt x="936" y="42"/>
                  </a:lnTo>
                  <a:lnTo>
                    <a:pt x="930" y="48"/>
                  </a:lnTo>
                  <a:lnTo>
                    <a:pt x="918" y="48"/>
                  </a:lnTo>
                  <a:lnTo>
                    <a:pt x="918" y="60"/>
                  </a:lnTo>
                  <a:lnTo>
                    <a:pt x="894" y="60"/>
                  </a:lnTo>
                  <a:lnTo>
                    <a:pt x="882" y="66"/>
                  </a:lnTo>
                  <a:lnTo>
                    <a:pt x="858" y="90"/>
                  </a:lnTo>
                  <a:lnTo>
                    <a:pt x="846" y="96"/>
                  </a:lnTo>
                  <a:lnTo>
                    <a:pt x="828" y="96"/>
                  </a:lnTo>
                  <a:lnTo>
                    <a:pt x="822" y="90"/>
                  </a:lnTo>
                  <a:lnTo>
                    <a:pt x="804" y="90"/>
                  </a:lnTo>
                  <a:lnTo>
                    <a:pt x="798" y="96"/>
                  </a:lnTo>
                  <a:lnTo>
                    <a:pt x="798" y="108"/>
                  </a:lnTo>
                  <a:lnTo>
                    <a:pt x="792" y="120"/>
                  </a:lnTo>
                  <a:lnTo>
                    <a:pt x="792" y="138"/>
                  </a:lnTo>
                  <a:lnTo>
                    <a:pt x="786" y="144"/>
                  </a:lnTo>
                  <a:lnTo>
                    <a:pt x="774" y="138"/>
                  </a:lnTo>
                  <a:lnTo>
                    <a:pt x="762" y="126"/>
                  </a:lnTo>
                  <a:lnTo>
                    <a:pt x="756" y="114"/>
                  </a:lnTo>
                  <a:lnTo>
                    <a:pt x="750" y="108"/>
                  </a:lnTo>
                  <a:lnTo>
                    <a:pt x="738" y="108"/>
                  </a:lnTo>
                  <a:lnTo>
                    <a:pt x="732" y="114"/>
                  </a:lnTo>
                  <a:lnTo>
                    <a:pt x="720" y="108"/>
                  </a:lnTo>
                  <a:lnTo>
                    <a:pt x="708" y="114"/>
                  </a:lnTo>
                  <a:lnTo>
                    <a:pt x="696" y="114"/>
                  </a:lnTo>
                  <a:lnTo>
                    <a:pt x="696" y="96"/>
                  </a:lnTo>
                  <a:lnTo>
                    <a:pt x="690" y="90"/>
                  </a:lnTo>
                  <a:lnTo>
                    <a:pt x="648" y="90"/>
                  </a:lnTo>
                  <a:lnTo>
                    <a:pt x="648" y="84"/>
                  </a:lnTo>
                  <a:lnTo>
                    <a:pt x="642" y="78"/>
                  </a:lnTo>
                  <a:lnTo>
                    <a:pt x="642" y="108"/>
                  </a:lnTo>
                  <a:lnTo>
                    <a:pt x="660" y="126"/>
                  </a:lnTo>
                  <a:lnTo>
                    <a:pt x="672" y="132"/>
                  </a:lnTo>
                  <a:lnTo>
                    <a:pt x="678" y="138"/>
                  </a:lnTo>
                  <a:lnTo>
                    <a:pt x="678" y="168"/>
                  </a:lnTo>
                  <a:lnTo>
                    <a:pt x="672" y="174"/>
                  </a:lnTo>
                  <a:lnTo>
                    <a:pt x="684" y="186"/>
                  </a:lnTo>
                  <a:lnTo>
                    <a:pt x="690" y="198"/>
                  </a:lnTo>
                  <a:lnTo>
                    <a:pt x="690" y="228"/>
                  </a:lnTo>
                  <a:lnTo>
                    <a:pt x="738" y="234"/>
                  </a:lnTo>
                  <a:lnTo>
                    <a:pt x="744" y="240"/>
                  </a:lnTo>
                  <a:lnTo>
                    <a:pt x="744" y="246"/>
                  </a:lnTo>
                  <a:lnTo>
                    <a:pt x="738" y="258"/>
                  </a:lnTo>
                  <a:lnTo>
                    <a:pt x="732" y="264"/>
                  </a:lnTo>
                  <a:lnTo>
                    <a:pt x="690" y="264"/>
                  </a:lnTo>
                  <a:lnTo>
                    <a:pt x="690" y="294"/>
                  </a:lnTo>
                  <a:lnTo>
                    <a:pt x="684" y="306"/>
                  </a:lnTo>
                  <a:lnTo>
                    <a:pt x="648" y="324"/>
                  </a:lnTo>
                  <a:lnTo>
                    <a:pt x="642" y="330"/>
                  </a:lnTo>
                  <a:lnTo>
                    <a:pt x="624" y="330"/>
                  </a:lnTo>
                  <a:lnTo>
                    <a:pt x="612" y="342"/>
                  </a:lnTo>
                  <a:lnTo>
                    <a:pt x="600" y="366"/>
                  </a:lnTo>
                  <a:lnTo>
                    <a:pt x="588" y="378"/>
                  </a:lnTo>
                  <a:lnTo>
                    <a:pt x="582" y="378"/>
                  </a:lnTo>
                  <a:lnTo>
                    <a:pt x="582" y="354"/>
                  </a:lnTo>
                  <a:lnTo>
                    <a:pt x="576" y="348"/>
                  </a:lnTo>
                  <a:lnTo>
                    <a:pt x="570" y="354"/>
                  </a:lnTo>
                  <a:lnTo>
                    <a:pt x="558" y="360"/>
                  </a:lnTo>
                  <a:lnTo>
                    <a:pt x="552" y="366"/>
                  </a:lnTo>
                  <a:lnTo>
                    <a:pt x="540" y="372"/>
                  </a:lnTo>
                  <a:lnTo>
                    <a:pt x="534" y="372"/>
                  </a:lnTo>
                  <a:lnTo>
                    <a:pt x="522" y="366"/>
                  </a:lnTo>
                  <a:lnTo>
                    <a:pt x="516" y="366"/>
                  </a:lnTo>
                  <a:lnTo>
                    <a:pt x="504" y="354"/>
                  </a:lnTo>
                  <a:lnTo>
                    <a:pt x="504" y="348"/>
                  </a:lnTo>
                  <a:lnTo>
                    <a:pt x="498" y="336"/>
                  </a:lnTo>
                  <a:lnTo>
                    <a:pt x="492" y="330"/>
                  </a:lnTo>
                  <a:lnTo>
                    <a:pt x="468" y="330"/>
                  </a:lnTo>
                  <a:lnTo>
                    <a:pt x="468" y="300"/>
                  </a:lnTo>
                  <a:lnTo>
                    <a:pt x="462" y="288"/>
                  </a:lnTo>
                  <a:lnTo>
                    <a:pt x="462" y="276"/>
                  </a:lnTo>
                  <a:lnTo>
                    <a:pt x="456" y="270"/>
                  </a:lnTo>
                  <a:lnTo>
                    <a:pt x="456" y="258"/>
                  </a:lnTo>
                  <a:lnTo>
                    <a:pt x="450" y="258"/>
                  </a:lnTo>
                  <a:lnTo>
                    <a:pt x="420" y="288"/>
                  </a:lnTo>
                  <a:lnTo>
                    <a:pt x="396" y="264"/>
                  </a:lnTo>
                  <a:lnTo>
                    <a:pt x="390" y="264"/>
                  </a:lnTo>
                  <a:lnTo>
                    <a:pt x="384" y="270"/>
                  </a:lnTo>
                  <a:lnTo>
                    <a:pt x="384" y="288"/>
                  </a:lnTo>
                  <a:lnTo>
                    <a:pt x="318" y="294"/>
                  </a:lnTo>
                  <a:lnTo>
                    <a:pt x="306" y="282"/>
                  </a:lnTo>
                  <a:lnTo>
                    <a:pt x="288" y="282"/>
                  </a:lnTo>
                  <a:lnTo>
                    <a:pt x="282" y="288"/>
                  </a:lnTo>
                  <a:lnTo>
                    <a:pt x="276" y="300"/>
                  </a:lnTo>
                  <a:lnTo>
                    <a:pt x="276" y="312"/>
                  </a:lnTo>
                  <a:lnTo>
                    <a:pt x="282" y="324"/>
                  </a:lnTo>
                  <a:lnTo>
                    <a:pt x="282" y="336"/>
                  </a:lnTo>
                  <a:lnTo>
                    <a:pt x="306" y="348"/>
                  </a:lnTo>
                  <a:lnTo>
                    <a:pt x="318" y="342"/>
                  </a:lnTo>
                  <a:lnTo>
                    <a:pt x="330" y="354"/>
                  </a:lnTo>
                  <a:lnTo>
                    <a:pt x="330" y="360"/>
                  </a:lnTo>
                  <a:lnTo>
                    <a:pt x="336" y="366"/>
                  </a:lnTo>
                  <a:lnTo>
                    <a:pt x="336" y="372"/>
                  </a:lnTo>
                  <a:lnTo>
                    <a:pt x="330" y="378"/>
                  </a:lnTo>
                  <a:lnTo>
                    <a:pt x="300" y="378"/>
                  </a:lnTo>
                  <a:lnTo>
                    <a:pt x="294" y="372"/>
                  </a:lnTo>
                  <a:lnTo>
                    <a:pt x="264" y="378"/>
                  </a:lnTo>
                  <a:lnTo>
                    <a:pt x="258" y="444"/>
                  </a:lnTo>
                  <a:lnTo>
                    <a:pt x="264" y="444"/>
                  </a:lnTo>
                  <a:lnTo>
                    <a:pt x="276" y="456"/>
                  </a:lnTo>
                  <a:lnTo>
                    <a:pt x="288" y="462"/>
                  </a:lnTo>
                  <a:lnTo>
                    <a:pt x="294" y="468"/>
                  </a:lnTo>
                  <a:lnTo>
                    <a:pt x="294" y="492"/>
                  </a:lnTo>
                  <a:lnTo>
                    <a:pt x="300" y="498"/>
                  </a:lnTo>
                  <a:lnTo>
                    <a:pt x="300" y="504"/>
                  </a:lnTo>
                  <a:lnTo>
                    <a:pt x="312" y="516"/>
                  </a:lnTo>
                  <a:lnTo>
                    <a:pt x="318" y="528"/>
                  </a:lnTo>
                  <a:lnTo>
                    <a:pt x="318" y="540"/>
                  </a:lnTo>
                  <a:lnTo>
                    <a:pt x="312" y="552"/>
                  </a:lnTo>
                  <a:lnTo>
                    <a:pt x="300" y="564"/>
                  </a:lnTo>
                  <a:lnTo>
                    <a:pt x="306" y="612"/>
                  </a:lnTo>
                  <a:lnTo>
                    <a:pt x="288" y="660"/>
                  </a:lnTo>
                  <a:lnTo>
                    <a:pt x="282" y="732"/>
                  </a:lnTo>
                  <a:lnTo>
                    <a:pt x="282" y="762"/>
                  </a:lnTo>
                  <a:lnTo>
                    <a:pt x="276" y="774"/>
                  </a:lnTo>
                  <a:lnTo>
                    <a:pt x="270" y="780"/>
                  </a:lnTo>
                  <a:lnTo>
                    <a:pt x="252" y="780"/>
                  </a:lnTo>
                  <a:lnTo>
                    <a:pt x="252" y="774"/>
                  </a:lnTo>
                  <a:lnTo>
                    <a:pt x="240" y="762"/>
                  </a:lnTo>
                  <a:lnTo>
                    <a:pt x="222" y="762"/>
                  </a:lnTo>
                  <a:lnTo>
                    <a:pt x="216" y="768"/>
                  </a:lnTo>
                  <a:lnTo>
                    <a:pt x="210" y="780"/>
                  </a:lnTo>
                  <a:lnTo>
                    <a:pt x="204" y="786"/>
                  </a:lnTo>
                  <a:lnTo>
                    <a:pt x="174" y="780"/>
                  </a:lnTo>
                  <a:lnTo>
                    <a:pt x="168" y="792"/>
                  </a:lnTo>
                  <a:lnTo>
                    <a:pt x="138" y="792"/>
                  </a:lnTo>
                  <a:lnTo>
                    <a:pt x="126" y="798"/>
                  </a:lnTo>
                  <a:lnTo>
                    <a:pt x="120" y="804"/>
                  </a:lnTo>
                  <a:lnTo>
                    <a:pt x="108" y="810"/>
                  </a:lnTo>
                  <a:lnTo>
                    <a:pt x="96" y="822"/>
                  </a:lnTo>
                  <a:lnTo>
                    <a:pt x="96" y="828"/>
                  </a:lnTo>
                  <a:lnTo>
                    <a:pt x="90" y="834"/>
                  </a:lnTo>
                  <a:lnTo>
                    <a:pt x="90" y="840"/>
                  </a:lnTo>
                  <a:lnTo>
                    <a:pt x="66" y="840"/>
                  </a:lnTo>
                  <a:lnTo>
                    <a:pt x="66" y="894"/>
                  </a:lnTo>
                  <a:lnTo>
                    <a:pt x="48" y="912"/>
                  </a:lnTo>
                  <a:lnTo>
                    <a:pt x="48" y="924"/>
                  </a:lnTo>
                  <a:lnTo>
                    <a:pt x="54" y="930"/>
                  </a:lnTo>
                  <a:lnTo>
                    <a:pt x="54" y="948"/>
                  </a:lnTo>
                  <a:lnTo>
                    <a:pt x="60" y="954"/>
                  </a:lnTo>
                  <a:lnTo>
                    <a:pt x="54" y="954"/>
                  </a:lnTo>
                  <a:lnTo>
                    <a:pt x="48" y="948"/>
                  </a:lnTo>
                  <a:lnTo>
                    <a:pt x="18" y="978"/>
                  </a:lnTo>
                  <a:lnTo>
                    <a:pt x="12" y="990"/>
                  </a:lnTo>
                  <a:lnTo>
                    <a:pt x="12" y="1014"/>
                  </a:lnTo>
                  <a:lnTo>
                    <a:pt x="18" y="1020"/>
                  </a:lnTo>
                  <a:lnTo>
                    <a:pt x="6" y="1026"/>
                  </a:lnTo>
                  <a:lnTo>
                    <a:pt x="0" y="1032"/>
                  </a:lnTo>
                  <a:lnTo>
                    <a:pt x="0" y="1044"/>
                  </a:lnTo>
                  <a:lnTo>
                    <a:pt x="6" y="1050"/>
                  </a:lnTo>
                  <a:lnTo>
                    <a:pt x="18" y="1056"/>
                  </a:lnTo>
                  <a:lnTo>
                    <a:pt x="24" y="1080"/>
                  </a:lnTo>
                  <a:lnTo>
                    <a:pt x="24" y="1086"/>
                  </a:lnTo>
                  <a:lnTo>
                    <a:pt x="30" y="1092"/>
                  </a:lnTo>
                  <a:lnTo>
                    <a:pt x="42" y="1116"/>
                  </a:lnTo>
                  <a:lnTo>
                    <a:pt x="54" y="1128"/>
                  </a:lnTo>
                  <a:lnTo>
                    <a:pt x="66" y="1134"/>
                  </a:lnTo>
                  <a:lnTo>
                    <a:pt x="90" y="1158"/>
                  </a:lnTo>
                  <a:lnTo>
                    <a:pt x="84" y="1164"/>
                  </a:lnTo>
                  <a:lnTo>
                    <a:pt x="78" y="1176"/>
                  </a:lnTo>
                  <a:lnTo>
                    <a:pt x="66" y="1182"/>
                  </a:lnTo>
                  <a:lnTo>
                    <a:pt x="60" y="1188"/>
                  </a:lnTo>
                  <a:lnTo>
                    <a:pt x="102" y="1188"/>
                  </a:lnTo>
                  <a:lnTo>
                    <a:pt x="114" y="1194"/>
                  </a:lnTo>
                  <a:lnTo>
                    <a:pt x="120" y="1194"/>
                  </a:lnTo>
                  <a:lnTo>
                    <a:pt x="126" y="1200"/>
                  </a:lnTo>
                  <a:lnTo>
                    <a:pt x="126" y="1212"/>
                  </a:lnTo>
                  <a:lnTo>
                    <a:pt x="132" y="1224"/>
                  </a:lnTo>
                  <a:lnTo>
                    <a:pt x="138" y="1230"/>
                  </a:lnTo>
                  <a:lnTo>
                    <a:pt x="138" y="1236"/>
                  </a:lnTo>
                  <a:lnTo>
                    <a:pt x="198" y="1230"/>
                  </a:lnTo>
                  <a:lnTo>
                    <a:pt x="252" y="1182"/>
                  </a:lnTo>
                  <a:lnTo>
                    <a:pt x="252" y="1194"/>
                  </a:lnTo>
                  <a:lnTo>
                    <a:pt x="258" y="1206"/>
                  </a:lnTo>
                  <a:lnTo>
                    <a:pt x="258" y="1224"/>
                  </a:lnTo>
                  <a:lnTo>
                    <a:pt x="252" y="1230"/>
                  </a:lnTo>
                  <a:lnTo>
                    <a:pt x="252" y="1242"/>
                  </a:lnTo>
                  <a:lnTo>
                    <a:pt x="246" y="1254"/>
                  </a:lnTo>
                  <a:lnTo>
                    <a:pt x="246" y="1266"/>
                  </a:lnTo>
                  <a:lnTo>
                    <a:pt x="252" y="1284"/>
                  </a:lnTo>
                  <a:lnTo>
                    <a:pt x="252" y="1314"/>
                  </a:lnTo>
                  <a:lnTo>
                    <a:pt x="264" y="1308"/>
                  </a:lnTo>
                  <a:lnTo>
                    <a:pt x="264" y="1314"/>
                  </a:lnTo>
                  <a:lnTo>
                    <a:pt x="270" y="1320"/>
                  </a:lnTo>
                  <a:lnTo>
                    <a:pt x="282" y="1320"/>
                  </a:lnTo>
                  <a:lnTo>
                    <a:pt x="282" y="1314"/>
                  </a:lnTo>
                  <a:lnTo>
                    <a:pt x="288" y="1314"/>
                  </a:lnTo>
                  <a:lnTo>
                    <a:pt x="294" y="1308"/>
                  </a:lnTo>
                  <a:lnTo>
                    <a:pt x="324" y="1308"/>
                  </a:lnTo>
                  <a:lnTo>
                    <a:pt x="336" y="1314"/>
                  </a:lnTo>
                  <a:lnTo>
                    <a:pt x="366" y="1314"/>
                  </a:lnTo>
                  <a:lnTo>
                    <a:pt x="372" y="1320"/>
                  </a:lnTo>
                  <a:lnTo>
                    <a:pt x="372" y="1326"/>
                  </a:lnTo>
                  <a:lnTo>
                    <a:pt x="390" y="1326"/>
                  </a:lnTo>
                  <a:lnTo>
                    <a:pt x="414" y="1314"/>
                  </a:lnTo>
                  <a:lnTo>
                    <a:pt x="420" y="1308"/>
                  </a:lnTo>
                  <a:lnTo>
                    <a:pt x="432" y="1290"/>
                  </a:lnTo>
                  <a:lnTo>
                    <a:pt x="468" y="1290"/>
                  </a:lnTo>
                  <a:lnTo>
                    <a:pt x="474" y="1260"/>
                  </a:lnTo>
                  <a:lnTo>
                    <a:pt x="510" y="1260"/>
                  </a:lnTo>
                  <a:lnTo>
                    <a:pt x="510" y="1254"/>
                  </a:lnTo>
                  <a:lnTo>
                    <a:pt x="516" y="1248"/>
                  </a:lnTo>
                  <a:lnTo>
                    <a:pt x="522" y="1236"/>
                  </a:lnTo>
                  <a:lnTo>
                    <a:pt x="528" y="1230"/>
                  </a:lnTo>
                  <a:lnTo>
                    <a:pt x="540" y="1224"/>
                  </a:lnTo>
                  <a:lnTo>
                    <a:pt x="576" y="1224"/>
                  </a:lnTo>
                  <a:lnTo>
                    <a:pt x="588" y="1212"/>
                  </a:lnTo>
                  <a:lnTo>
                    <a:pt x="600" y="1224"/>
                  </a:lnTo>
                  <a:lnTo>
                    <a:pt x="606" y="1224"/>
                  </a:lnTo>
                  <a:lnTo>
                    <a:pt x="606" y="1218"/>
                  </a:lnTo>
                  <a:lnTo>
                    <a:pt x="618" y="1212"/>
                  </a:lnTo>
                  <a:lnTo>
                    <a:pt x="630" y="1212"/>
                  </a:lnTo>
                  <a:lnTo>
                    <a:pt x="630" y="1242"/>
                  </a:lnTo>
                  <a:lnTo>
                    <a:pt x="624" y="1248"/>
                  </a:lnTo>
                  <a:lnTo>
                    <a:pt x="624" y="1254"/>
                  </a:lnTo>
                  <a:lnTo>
                    <a:pt x="618" y="1260"/>
                  </a:lnTo>
                  <a:lnTo>
                    <a:pt x="618" y="1290"/>
                  </a:lnTo>
                  <a:lnTo>
                    <a:pt x="624" y="1296"/>
                  </a:lnTo>
                  <a:lnTo>
                    <a:pt x="630" y="1308"/>
                  </a:lnTo>
                  <a:lnTo>
                    <a:pt x="630" y="1326"/>
                  </a:lnTo>
                  <a:lnTo>
                    <a:pt x="624" y="1332"/>
                  </a:lnTo>
                  <a:lnTo>
                    <a:pt x="624" y="1344"/>
                  </a:lnTo>
                  <a:lnTo>
                    <a:pt x="636" y="1356"/>
                  </a:lnTo>
                  <a:lnTo>
                    <a:pt x="648" y="1362"/>
                  </a:lnTo>
                  <a:lnTo>
                    <a:pt x="654" y="1368"/>
                  </a:lnTo>
                  <a:lnTo>
                    <a:pt x="660" y="1398"/>
                  </a:lnTo>
                  <a:lnTo>
                    <a:pt x="684" y="1398"/>
                  </a:lnTo>
                  <a:lnTo>
                    <a:pt x="690" y="1404"/>
                  </a:lnTo>
                  <a:lnTo>
                    <a:pt x="690" y="1410"/>
                  </a:lnTo>
                  <a:lnTo>
                    <a:pt x="696" y="1422"/>
                  </a:lnTo>
                  <a:lnTo>
                    <a:pt x="696" y="1428"/>
                  </a:lnTo>
                  <a:lnTo>
                    <a:pt x="702" y="1434"/>
                  </a:lnTo>
                  <a:lnTo>
                    <a:pt x="714" y="1440"/>
                  </a:lnTo>
                  <a:lnTo>
                    <a:pt x="744" y="1440"/>
                  </a:lnTo>
                  <a:lnTo>
                    <a:pt x="750" y="1434"/>
                  </a:lnTo>
                  <a:lnTo>
                    <a:pt x="756" y="1446"/>
                  </a:lnTo>
                  <a:lnTo>
                    <a:pt x="768" y="1452"/>
                  </a:lnTo>
                  <a:lnTo>
                    <a:pt x="780" y="1452"/>
                  </a:lnTo>
                  <a:lnTo>
                    <a:pt x="786" y="1446"/>
                  </a:lnTo>
                  <a:lnTo>
                    <a:pt x="798" y="1446"/>
                  </a:lnTo>
                  <a:lnTo>
                    <a:pt x="798" y="1452"/>
                  </a:lnTo>
                  <a:lnTo>
                    <a:pt x="804" y="1464"/>
                  </a:lnTo>
                  <a:lnTo>
                    <a:pt x="816" y="1470"/>
                  </a:lnTo>
                  <a:lnTo>
                    <a:pt x="828" y="1482"/>
                  </a:lnTo>
                  <a:lnTo>
                    <a:pt x="840" y="1488"/>
                  </a:lnTo>
                  <a:lnTo>
                    <a:pt x="864" y="1488"/>
                  </a:lnTo>
                  <a:lnTo>
                    <a:pt x="864" y="1494"/>
                  </a:lnTo>
                  <a:lnTo>
                    <a:pt x="876" y="1506"/>
                  </a:lnTo>
                  <a:lnTo>
                    <a:pt x="888" y="1512"/>
                  </a:lnTo>
                  <a:lnTo>
                    <a:pt x="894" y="1518"/>
                  </a:lnTo>
                  <a:lnTo>
                    <a:pt x="954" y="1518"/>
                  </a:lnTo>
                  <a:lnTo>
                    <a:pt x="978" y="1530"/>
                  </a:lnTo>
                  <a:lnTo>
                    <a:pt x="984" y="1542"/>
                  </a:lnTo>
                  <a:lnTo>
                    <a:pt x="990" y="1548"/>
                  </a:lnTo>
                  <a:lnTo>
                    <a:pt x="990" y="1578"/>
                  </a:lnTo>
                  <a:lnTo>
                    <a:pt x="996" y="1590"/>
                  </a:lnTo>
                  <a:lnTo>
                    <a:pt x="1002" y="1596"/>
                  </a:lnTo>
                  <a:lnTo>
                    <a:pt x="1008" y="1608"/>
                  </a:lnTo>
                  <a:lnTo>
                    <a:pt x="1008" y="1638"/>
                  </a:lnTo>
                  <a:lnTo>
                    <a:pt x="990" y="1638"/>
                  </a:lnTo>
                  <a:lnTo>
                    <a:pt x="990" y="1644"/>
                  </a:lnTo>
                  <a:lnTo>
                    <a:pt x="996" y="1650"/>
                  </a:lnTo>
                  <a:lnTo>
                    <a:pt x="1002" y="1662"/>
                  </a:lnTo>
                  <a:lnTo>
                    <a:pt x="1014" y="1668"/>
                  </a:lnTo>
                  <a:lnTo>
                    <a:pt x="1020" y="1674"/>
                  </a:lnTo>
                  <a:lnTo>
                    <a:pt x="1014" y="1686"/>
                  </a:lnTo>
                  <a:lnTo>
                    <a:pt x="1014" y="1728"/>
                  </a:lnTo>
                  <a:lnTo>
                    <a:pt x="1020" y="1734"/>
                  </a:lnTo>
                  <a:lnTo>
                    <a:pt x="1050" y="1740"/>
                  </a:lnTo>
                  <a:lnTo>
                    <a:pt x="1098" y="1746"/>
                  </a:lnTo>
                  <a:lnTo>
                    <a:pt x="1158" y="1746"/>
                  </a:lnTo>
                  <a:lnTo>
                    <a:pt x="1158" y="1752"/>
                  </a:lnTo>
                  <a:lnTo>
                    <a:pt x="1152" y="1758"/>
                  </a:lnTo>
                  <a:lnTo>
                    <a:pt x="1152" y="1770"/>
                  </a:lnTo>
                  <a:lnTo>
                    <a:pt x="1146" y="1788"/>
                  </a:lnTo>
                  <a:lnTo>
                    <a:pt x="1146" y="1800"/>
                  </a:lnTo>
                  <a:lnTo>
                    <a:pt x="1152" y="1812"/>
                  </a:lnTo>
                  <a:lnTo>
                    <a:pt x="1164" y="1818"/>
                  </a:lnTo>
                  <a:lnTo>
                    <a:pt x="1170" y="1824"/>
                  </a:lnTo>
                  <a:lnTo>
                    <a:pt x="1194" y="1836"/>
                  </a:lnTo>
                  <a:lnTo>
                    <a:pt x="1206" y="1848"/>
                  </a:lnTo>
                  <a:lnTo>
                    <a:pt x="1212" y="1860"/>
                  </a:lnTo>
                  <a:lnTo>
                    <a:pt x="1224" y="1896"/>
                  </a:lnTo>
                  <a:lnTo>
                    <a:pt x="1224" y="1908"/>
                  </a:lnTo>
                  <a:lnTo>
                    <a:pt x="1218" y="1920"/>
                  </a:lnTo>
                  <a:lnTo>
                    <a:pt x="1218" y="1944"/>
                  </a:lnTo>
                  <a:lnTo>
                    <a:pt x="1212" y="1950"/>
                  </a:lnTo>
                  <a:lnTo>
                    <a:pt x="1212" y="1956"/>
                  </a:lnTo>
                  <a:lnTo>
                    <a:pt x="1218" y="1968"/>
                  </a:lnTo>
                  <a:lnTo>
                    <a:pt x="1212" y="1980"/>
                  </a:lnTo>
                  <a:lnTo>
                    <a:pt x="1206" y="1986"/>
                  </a:lnTo>
                  <a:lnTo>
                    <a:pt x="1200" y="1998"/>
                  </a:lnTo>
                  <a:lnTo>
                    <a:pt x="1200" y="2022"/>
                  </a:lnTo>
                  <a:lnTo>
                    <a:pt x="1206" y="2028"/>
                  </a:lnTo>
                  <a:lnTo>
                    <a:pt x="1218" y="2034"/>
                  </a:lnTo>
                  <a:lnTo>
                    <a:pt x="1212" y="2040"/>
                  </a:lnTo>
                  <a:lnTo>
                    <a:pt x="1200" y="2046"/>
                  </a:lnTo>
                  <a:lnTo>
                    <a:pt x="1194" y="2052"/>
                  </a:lnTo>
                  <a:lnTo>
                    <a:pt x="1194" y="2064"/>
                  </a:lnTo>
                  <a:lnTo>
                    <a:pt x="1200" y="2070"/>
                  </a:lnTo>
                  <a:lnTo>
                    <a:pt x="1212" y="2076"/>
                  </a:lnTo>
                  <a:lnTo>
                    <a:pt x="1212" y="2112"/>
                  </a:lnTo>
                  <a:lnTo>
                    <a:pt x="1224" y="2112"/>
                  </a:lnTo>
                  <a:lnTo>
                    <a:pt x="1224" y="2130"/>
                  </a:lnTo>
                  <a:lnTo>
                    <a:pt x="1218" y="2142"/>
                  </a:lnTo>
                  <a:lnTo>
                    <a:pt x="1218" y="2184"/>
                  </a:lnTo>
                  <a:lnTo>
                    <a:pt x="1224" y="2196"/>
                  </a:lnTo>
                  <a:lnTo>
                    <a:pt x="1230" y="2202"/>
                  </a:lnTo>
                  <a:lnTo>
                    <a:pt x="1266" y="2214"/>
                  </a:lnTo>
                  <a:lnTo>
                    <a:pt x="1308" y="2220"/>
                  </a:lnTo>
                  <a:lnTo>
                    <a:pt x="1380" y="2220"/>
                  </a:lnTo>
                  <a:lnTo>
                    <a:pt x="1392" y="2226"/>
                  </a:lnTo>
                  <a:lnTo>
                    <a:pt x="1398" y="2232"/>
                  </a:lnTo>
                  <a:lnTo>
                    <a:pt x="1398" y="2256"/>
                  </a:lnTo>
                  <a:lnTo>
                    <a:pt x="1404" y="2274"/>
                  </a:lnTo>
                  <a:lnTo>
                    <a:pt x="1404" y="2298"/>
                  </a:lnTo>
                  <a:lnTo>
                    <a:pt x="1410" y="2316"/>
                  </a:lnTo>
                  <a:lnTo>
                    <a:pt x="1410" y="2334"/>
                  </a:lnTo>
                  <a:lnTo>
                    <a:pt x="1422" y="2358"/>
                  </a:lnTo>
                  <a:lnTo>
                    <a:pt x="1434" y="2364"/>
                  </a:lnTo>
                  <a:lnTo>
                    <a:pt x="1446" y="2364"/>
                  </a:lnTo>
                  <a:lnTo>
                    <a:pt x="1464" y="2346"/>
                  </a:lnTo>
                  <a:lnTo>
                    <a:pt x="1476" y="2346"/>
                  </a:lnTo>
                  <a:lnTo>
                    <a:pt x="1488" y="2352"/>
                  </a:lnTo>
                  <a:lnTo>
                    <a:pt x="1500" y="2364"/>
                  </a:lnTo>
                  <a:lnTo>
                    <a:pt x="1506" y="2376"/>
                  </a:lnTo>
                  <a:lnTo>
                    <a:pt x="1506" y="2394"/>
                  </a:lnTo>
                  <a:lnTo>
                    <a:pt x="1500" y="2412"/>
                  </a:lnTo>
                  <a:lnTo>
                    <a:pt x="1500" y="2442"/>
                  </a:lnTo>
                  <a:lnTo>
                    <a:pt x="1494" y="2448"/>
                  </a:lnTo>
                  <a:lnTo>
                    <a:pt x="1494" y="2454"/>
                  </a:lnTo>
                  <a:lnTo>
                    <a:pt x="1488" y="2466"/>
                  </a:lnTo>
                  <a:lnTo>
                    <a:pt x="1488" y="2478"/>
                  </a:lnTo>
                  <a:lnTo>
                    <a:pt x="1494" y="2496"/>
                  </a:lnTo>
                  <a:lnTo>
                    <a:pt x="1506" y="2490"/>
                  </a:lnTo>
                  <a:lnTo>
                    <a:pt x="1512" y="2484"/>
                  </a:lnTo>
                  <a:lnTo>
                    <a:pt x="1530" y="2484"/>
                  </a:lnTo>
                  <a:lnTo>
                    <a:pt x="1536" y="2490"/>
                  </a:lnTo>
                  <a:lnTo>
                    <a:pt x="1548" y="2514"/>
                  </a:lnTo>
                  <a:lnTo>
                    <a:pt x="1548" y="2526"/>
                  </a:lnTo>
                  <a:lnTo>
                    <a:pt x="1554" y="2526"/>
                  </a:lnTo>
                  <a:lnTo>
                    <a:pt x="1560" y="2532"/>
                  </a:lnTo>
                  <a:lnTo>
                    <a:pt x="1560" y="2562"/>
                  </a:lnTo>
                  <a:lnTo>
                    <a:pt x="1566" y="2580"/>
                  </a:lnTo>
                  <a:lnTo>
                    <a:pt x="1566" y="2616"/>
                  </a:lnTo>
                  <a:lnTo>
                    <a:pt x="1512" y="2634"/>
                  </a:lnTo>
                  <a:lnTo>
                    <a:pt x="1506" y="2640"/>
                  </a:lnTo>
                  <a:lnTo>
                    <a:pt x="1500" y="2652"/>
                  </a:lnTo>
                  <a:lnTo>
                    <a:pt x="1500" y="2670"/>
                  </a:lnTo>
                  <a:lnTo>
                    <a:pt x="1464" y="2670"/>
                  </a:lnTo>
                  <a:lnTo>
                    <a:pt x="1464" y="2688"/>
                  </a:lnTo>
                  <a:lnTo>
                    <a:pt x="1458" y="2694"/>
                  </a:lnTo>
                  <a:lnTo>
                    <a:pt x="1452" y="2718"/>
                  </a:lnTo>
                  <a:lnTo>
                    <a:pt x="1428" y="2724"/>
                  </a:lnTo>
                  <a:lnTo>
                    <a:pt x="1428" y="2736"/>
                  </a:lnTo>
                  <a:lnTo>
                    <a:pt x="1422" y="2748"/>
                  </a:lnTo>
                  <a:lnTo>
                    <a:pt x="1422" y="2760"/>
                  </a:lnTo>
                  <a:lnTo>
                    <a:pt x="1404" y="2778"/>
                  </a:lnTo>
                  <a:lnTo>
                    <a:pt x="1392" y="2778"/>
                  </a:lnTo>
                  <a:lnTo>
                    <a:pt x="1392" y="2802"/>
                  </a:lnTo>
                  <a:lnTo>
                    <a:pt x="1386" y="2808"/>
                  </a:lnTo>
                  <a:lnTo>
                    <a:pt x="1380" y="2820"/>
                  </a:lnTo>
                  <a:lnTo>
                    <a:pt x="1374" y="2826"/>
                  </a:lnTo>
                  <a:lnTo>
                    <a:pt x="1356" y="2826"/>
                  </a:lnTo>
                  <a:lnTo>
                    <a:pt x="1350" y="2832"/>
                  </a:lnTo>
                  <a:lnTo>
                    <a:pt x="1350" y="2844"/>
                  </a:lnTo>
                  <a:lnTo>
                    <a:pt x="1344" y="2856"/>
                  </a:lnTo>
                  <a:lnTo>
                    <a:pt x="1344" y="2868"/>
                  </a:lnTo>
                  <a:lnTo>
                    <a:pt x="1368" y="2868"/>
                  </a:lnTo>
                  <a:lnTo>
                    <a:pt x="1374" y="2862"/>
                  </a:lnTo>
                  <a:lnTo>
                    <a:pt x="1386" y="2856"/>
                  </a:lnTo>
                  <a:lnTo>
                    <a:pt x="1398" y="2856"/>
                  </a:lnTo>
                  <a:lnTo>
                    <a:pt x="1404" y="2862"/>
                  </a:lnTo>
                  <a:lnTo>
                    <a:pt x="1428" y="2874"/>
                  </a:lnTo>
                  <a:lnTo>
                    <a:pt x="1434" y="2886"/>
                  </a:lnTo>
                  <a:lnTo>
                    <a:pt x="1446" y="2892"/>
                  </a:lnTo>
                  <a:lnTo>
                    <a:pt x="1452" y="2898"/>
                  </a:lnTo>
                  <a:lnTo>
                    <a:pt x="1458" y="2910"/>
                  </a:lnTo>
                  <a:lnTo>
                    <a:pt x="1470" y="2922"/>
                  </a:lnTo>
                  <a:lnTo>
                    <a:pt x="1470" y="2934"/>
                  </a:lnTo>
                  <a:lnTo>
                    <a:pt x="1482" y="2934"/>
                  </a:lnTo>
                  <a:lnTo>
                    <a:pt x="1482" y="2928"/>
                  </a:lnTo>
                  <a:lnTo>
                    <a:pt x="1494" y="2916"/>
                  </a:lnTo>
                  <a:lnTo>
                    <a:pt x="1500" y="2916"/>
                  </a:lnTo>
                  <a:lnTo>
                    <a:pt x="1512" y="2922"/>
                  </a:lnTo>
                  <a:lnTo>
                    <a:pt x="1518" y="2934"/>
                  </a:lnTo>
                  <a:lnTo>
                    <a:pt x="1536" y="2952"/>
                  </a:lnTo>
                  <a:lnTo>
                    <a:pt x="1554" y="2952"/>
                  </a:lnTo>
                  <a:lnTo>
                    <a:pt x="1572" y="2970"/>
                  </a:lnTo>
                  <a:lnTo>
                    <a:pt x="1578" y="2970"/>
                  </a:lnTo>
                  <a:lnTo>
                    <a:pt x="1578" y="2982"/>
                  </a:lnTo>
                  <a:lnTo>
                    <a:pt x="1584" y="2988"/>
                  </a:lnTo>
                  <a:lnTo>
                    <a:pt x="1596" y="2994"/>
                  </a:lnTo>
                  <a:lnTo>
                    <a:pt x="1614" y="3000"/>
                  </a:lnTo>
                  <a:lnTo>
                    <a:pt x="1626" y="3000"/>
                  </a:lnTo>
                  <a:lnTo>
                    <a:pt x="1632" y="3012"/>
                  </a:lnTo>
                  <a:lnTo>
                    <a:pt x="1638" y="3018"/>
                  </a:lnTo>
                  <a:lnTo>
                    <a:pt x="1644" y="3030"/>
                  </a:lnTo>
                  <a:lnTo>
                    <a:pt x="1662" y="3048"/>
                  </a:lnTo>
                  <a:lnTo>
                    <a:pt x="1668" y="3048"/>
                  </a:lnTo>
                  <a:lnTo>
                    <a:pt x="1680" y="3054"/>
                  </a:lnTo>
                  <a:lnTo>
                    <a:pt x="1686" y="3054"/>
                  </a:lnTo>
                  <a:lnTo>
                    <a:pt x="1686" y="3066"/>
                  </a:lnTo>
                  <a:lnTo>
                    <a:pt x="1674" y="3090"/>
                  </a:lnTo>
                  <a:lnTo>
                    <a:pt x="1668" y="3096"/>
                  </a:lnTo>
                  <a:lnTo>
                    <a:pt x="1668" y="3120"/>
                  </a:lnTo>
                  <a:lnTo>
                    <a:pt x="1674" y="3120"/>
                  </a:lnTo>
                  <a:lnTo>
                    <a:pt x="1674" y="3150"/>
                  </a:lnTo>
                  <a:lnTo>
                    <a:pt x="1692" y="3150"/>
                  </a:lnTo>
                  <a:lnTo>
                    <a:pt x="1692" y="3144"/>
                  </a:lnTo>
                  <a:lnTo>
                    <a:pt x="1698" y="3132"/>
                  </a:lnTo>
                  <a:lnTo>
                    <a:pt x="1710" y="3126"/>
                  </a:lnTo>
                  <a:lnTo>
                    <a:pt x="1716" y="3114"/>
                  </a:lnTo>
                  <a:lnTo>
                    <a:pt x="1728" y="3102"/>
                  </a:lnTo>
                  <a:lnTo>
                    <a:pt x="1734" y="3090"/>
                  </a:lnTo>
                  <a:lnTo>
                    <a:pt x="1734" y="3060"/>
                  </a:lnTo>
                  <a:lnTo>
                    <a:pt x="1728" y="3054"/>
                  </a:lnTo>
                  <a:lnTo>
                    <a:pt x="1728" y="3048"/>
                  </a:lnTo>
                  <a:lnTo>
                    <a:pt x="1746" y="3018"/>
                  </a:lnTo>
                  <a:lnTo>
                    <a:pt x="1734" y="3012"/>
                  </a:lnTo>
                  <a:lnTo>
                    <a:pt x="1728" y="3000"/>
                  </a:lnTo>
                  <a:lnTo>
                    <a:pt x="1728" y="2988"/>
                  </a:lnTo>
                  <a:lnTo>
                    <a:pt x="1740" y="2976"/>
                  </a:lnTo>
                  <a:lnTo>
                    <a:pt x="1746" y="2976"/>
                  </a:lnTo>
                  <a:lnTo>
                    <a:pt x="1746" y="2952"/>
                  </a:lnTo>
                  <a:lnTo>
                    <a:pt x="1764" y="2952"/>
                  </a:lnTo>
                  <a:lnTo>
                    <a:pt x="1776" y="2940"/>
                  </a:lnTo>
                  <a:lnTo>
                    <a:pt x="1776" y="2904"/>
                  </a:lnTo>
                  <a:lnTo>
                    <a:pt x="1782" y="2898"/>
                  </a:lnTo>
                  <a:lnTo>
                    <a:pt x="1788" y="2886"/>
                  </a:lnTo>
                  <a:lnTo>
                    <a:pt x="1800" y="2874"/>
                  </a:lnTo>
                  <a:lnTo>
                    <a:pt x="1812" y="2868"/>
                  </a:lnTo>
                  <a:lnTo>
                    <a:pt x="1818" y="2862"/>
                  </a:lnTo>
                  <a:lnTo>
                    <a:pt x="1824" y="2862"/>
                  </a:lnTo>
                  <a:lnTo>
                    <a:pt x="1824" y="2898"/>
                  </a:lnTo>
                  <a:lnTo>
                    <a:pt x="1818" y="2904"/>
                  </a:lnTo>
                  <a:lnTo>
                    <a:pt x="1818" y="2910"/>
                  </a:lnTo>
                  <a:lnTo>
                    <a:pt x="1812" y="2916"/>
                  </a:lnTo>
                  <a:lnTo>
                    <a:pt x="1812" y="2934"/>
                  </a:lnTo>
                  <a:lnTo>
                    <a:pt x="1800" y="2940"/>
                  </a:lnTo>
                  <a:lnTo>
                    <a:pt x="1800" y="2952"/>
                  </a:lnTo>
                  <a:lnTo>
                    <a:pt x="1776" y="2982"/>
                  </a:lnTo>
                  <a:lnTo>
                    <a:pt x="1746" y="3006"/>
                  </a:lnTo>
                  <a:lnTo>
                    <a:pt x="1752" y="3012"/>
                  </a:lnTo>
                  <a:lnTo>
                    <a:pt x="1770" y="3012"/>
                  </a:lnTo>
                  <a:lnTo>
                    <a:pt x="1770" y="2994"/>
                  </a:lnTo>
                  <a:lnTo>
                    <a:pt x="1776" y="2988"/>
                  </a:lnTo>
                  <a:lnTo>
                    <a:pt x="1788" y="2988"/>
                  </a:lnTo>
                  <a:lnTo>
                    <a:pt x="1794" y="2982"/>
                  </a:lnTo>
                  <a:lnTo>
                    <a:pt x="1800" y="2982"/>
                  </a:lnTo>
                  <a:lnTo>
                    <a:pt x="1812" y="2964"/>
                  </a:lnTo>
                  <a:lnTo>
                    <a:pt x="1824" y="2940"/>
                  </a:lnTo>
                  <a:lnTo>
                    <a:pt x="1848" y="2880"/>
                  </a:lnTo>
                  <a:lnTo>
                    <a:pt x="1860" y="2832"/>
                  </a:lnTo>
                  <a:lnTo>
                    <a:pt x="1872" y="2808"/>
                  </a:lnTo>
                  <a:lnTo>
                    <a:pt x="1878" y="2790"/>
                  </a:lnTo>
                  <a:lnTo>
                    <a:pt x="1884" y="2778"/>
                  </a:lnTo>
                  <a:lnTo>
                    <a:pt x="1896" y="2772"/>
                  </a:lnTo>
                  <a:lnTo>
                    <a:pt x="1902" y="2760"/>
                  </a:lnTo>
                  <a:lnTo>
                    <a:pt x="1926" y="2736"/>
                  </a:lnTo>
                  <a:lnTo>
                    <a:pt x="1926" y="2724"/>
                  </a:lnTo>
                  <a:lnTo>
                    <a:pt x="1920" y="2718"/>
                  </a:lnTo>
                  <a:lnTo>
                    <a:pt x="1938" y="2706"/>
                  </a:lnTo>
                  <a:lnTo>
                    <a:pt x="1932" y="2670"/>
                  </a:lnTo>
                  <a:lnTo>
                    <a:pt x="1938" y="2646"/>
                  </a:lnTo>
                  <a:lnTo>
                    <a:pt x="1926" y="2640"/>
                  </a:lnTo>
                  <a:lnTo>
                    <a:pt x="1932" y="2634"/>
                  </a:lnTo>
                  <a:lnTo>
                    <a:pt x="1938" y="2622"/>
                  </a:lnTo>
                  <a:lnTo>
                    <a:pt x="1938" y="2610"/>
                  </a:lnTo>
                  <a:lnTo>
                    <a:pt x="1932" y="2604"/>
                  </a:lnTo>
                  <a:lnTo>
                    <a:pt x="1920" y="2598"/>
                  </a:lnTo>
                  <a:lnTo>
                    <a:pt x="1914" y="2592"/>
                  </a:lnTo>
                  <a:lnTo>
                    <a:pt x="1914" y="2556"/>
                  </a:lnTo>
                  <a:lnTo>
                    <a:pt x="1896" y="2544"/>
                  </a:lnTo>
                  <a:lnTo>
                    <a:pt x="1920" y="2544"/>
                  </a:lnTo>
                  <a:lnTo>
                    <a:pt x="1914" y="2520"/>
                  </a:lnTo>
                  <a:lnTo>
                    <a:pt x="1902" y="2508"/>
                  </a:lnTo>
                  <a:lnTo>
                    <a:pt x="1908" y="2508"/>
                  </a:lnTo>
                  <a:lnTo>
                    <a:pt x="1920" y="2502"/>
                  </a:lnTo>
                  <a:lnTo>
                    <a:pt x="1920" y="2490"/>
                  </a:lnTo>
                  <a:lnTo>
                    <a:pt x="1914" y="2490"/>
                  </a:lnTo>
                  <a:lnTo>
                    <a:pt x="1902" y="2484"/>
                  </a:lnTo>
                  <a:lnTo>
                    <a:pt x="1896" y="2478"/>
                  </a:lnTo>
                  <a:lnTo>
                    <a:pt x="1920" y="2460"/>
                  </a:lnTo>
                  <a:lnTo>
                    <a:pt x="1932" y="2472"/>
                  </a:lnTo>
                  <a:lnTo>
                    <a:pt x="1944" y="2478"/>
                  </a:lnTo>
                  <a:lnTo>
                    <a:pt x="1950" y="2478"/>
                  </a:lnTo>
                  <a:lnTo>
                    <a:pt x="1950" y="2448"/>
                  </a:lnTo>
                  <a:lnTo>
                    <a:pt x="1962" y="2424"/>
                  </a:lnTo>
                  <a:lnTo>
                    <a:pt x="1974" y="2418"/>
                  </a:lnTo>
                  <a:lnTo>
                    <a:pt x="1980" y="2418"/>
                  </a:lnTo>
                  <a:lnTo>
                    <a:pt x="2004" y="2406"/>
                  </a:lnTo>
                  <a:lnTo>
                    <a:pt x="2010" y="2394"/>
                  </a:lnTo>
                  <a:lnTo>
                    <a:pt x="2010" y="2382"/>
                  </a:lnTo>
                  <a:lnTo>
                    <a:pt x="2016" y="2376"/>
                  </a:lnTo>
                  <a:lnTo>
                    <a:pt x="2028" y="2376"/>
                  </a:lnTo>
                  <a:lnTo>
                    <a:pt x="2034" y="2370"/>
                  </a:lnTo>
                  <a:lnTo>
                    <a:pt x="2046" y="2370"/>
                  </a:lnTo>
                  <a:lnTo>
                    <a:pt x="2046" y="2358"/>
                  </a:lnTo>
                  <a:lnTo>
                    <a:pt x="2070" y="2358"/>
                  </a:lnTo>
                  <a:lnTo>
                    <a:pt x="2070" y="2340"/>
                  </a:lnTo>
                  <a:lnTo>
                    <a:pt x="2118" y="2340"/>
                  </a:lnTo>
                  <a:lnTo>
                    <a:pt x="2124" y="2358"/>
                  </a:lnTo>
                  <a:lnTo>
                    <a:pt x="2136" y="2352"/>
                  </a:lnTo>
                  <a:lnTo>
                    <a:pt x="2118" y="2334"/>
                  </a:lnTo>
                  <a:lnTo>
                    <a:pt x="2136" y="2316"/>
                  </a:lnTo>
                  <a:lnTo>
                    <a:pt x="2142" y="2316"/>
                  </a:lnTo>
                  <a:lnTo>
                    <a:pt x="2154" y="2310"/>
                  </a:lnTo>
                  <a:lnTo>
                    <a:pt x="2178" y="2310"/>
                  </a:lnTo>
                  <a:lnTo>
                    <a:pt x="2160" y="2292"/>
                  </a:lnTo>
                  <a:lnTo>
                    <a:pt x="2172" y="2286"/>
                  </a:lnTo>
                  <a:lnTo>
                    <a:pt x="2178" y="2280"/>
                  </a:lnTo>
                  <a:lnTo>
                    <a:pt x="2190" y="2280"/>
                  </a:lnTo>
                  <a:lnTo>
                    <a:pt x="2190" y="2304"/>
                  </a:lnTo>
                  <a:lnTo>
                    <a:pt x="2196" y="2304"/>
                  </a:lnTo>
                  <a:lnTo>
                    <a:pt x="2196" y="2298"/>
                  </a:lnTo>
                  <a:lnTo>
                    <a:pt x="2202" y="2286"/>
                  </a:lnTo>
                  <a:lnTo>
                    <a:pt x="2208" y="2280"/>
                  </a:lnTo>
                  <a:lnTo>
                    <a:pt x="2244" y="2286"/>
                  </a:lnTo>
                  <a:lnTo>
                    <a:pt x="2244" y="2280"/>
                  </a:lnTo>
                  <a:lnTo>
                    <a:pt x="2250" y="2274"/>
                  </a:lnTo>
                  <a:lnTo>
                    <a:pt x="2250" y="2268"/>
                  </a:lnTo>
                  <a:lnTo>
                    <a:pt x="2256" y="2262"/>
                  </a:lnTo>
                  <a:lnTo>
                    <a:pt x="2268" y="2256"/>
                  </a:lnTo>
                  <a:lnTo>
                    <a:pt x="2274" y="2256"/>
                  </a:lnTo>
                  <a:lnTo>
                    <a:pt x="2280" y="2262"/>
                  </a:lnTo>
                  <a:lnTo>
                    <a:pt x="2280" y="2286"/>
                  </a:lnTo>
                  <a:lnTo>
                    <a:pt x="2346" y="2280"/>
                  </a:lnTo>
                  <a:lnTo>
                    <a:pt x="2352" y="2262"/>
                  </a:lnTo>
                  <a:lnTo>
                    <a:pt x="2346" y="2250"/>
                  </a:lnTo>
                  <a:lnTo>
                    <a:pt x="2352" y="2244"/>
                  </a:lnTo>
                  <a:lnTo>
                    <a:pt x="2358" y="2232"/>
                  </a:lnTo>
                  <a:lnTo>
                    <a:pt x="2370" y="2220"/>
                  </a:lnTo>
                  <a:lnTo>
                    <a:pt x="2406" y="2202"/>
                  </a:lnTo>
                  <a:lnTo>
                    <a:pt x="2418" y="2202"/>
                  </a:lnTo>
                  <a:lnTo>
                    <a:pt x="2412" y="2190"/>
                  </a:lnTo>
                  <a:lnTo>
                    <a:pt x="2412" y="2112"/>
                  </a:lnTo>
                  <a:lnTo>
                    <a:pt x="2442" y="2082"/>
                  </a:lnTo>
                  <a:lnTo>
                    <a:pt x="2442" y="2058"/>
                  </a:lnTo>
                  <a:lnTo>
                    <a:pt x="2460" y="2052"/>
                  </a:lnTo>
                  <a:lnTo>
                    <a:pt x="2460" y="2022"/>
                  </a:lnTo>
                  <a:lnTo>
                    <a:pt x="2466" y="2022"/>
                  </a:lnTo>
                  <a:lnTo>
                    <a:pt x="2472" y="2016"/>
                  </a:lnTo>
                  <a:lnTo>
                    <a:pt x="2478" y="2016"/>
                  </a:lnTo>
                  <a:lnTo>
                    <a:pt x="2478" y="2010"/>
                  </a:lnTo>
                  <a:lnTo>
                    <a:pt x="2484" y="2004"/>
                  </a:lnTo>
                  <a:lnTo>
                    <a:pt x="2484" y="1956"/>
                  </a:lnTo>
                  <a:lnTo>
                    <a:pt x="2478" y="1944"/>
                  </a:lnTo>
                  <a:lnTo>
                    <a:pt x="2478" y="1926"/>
                  </a:lnTo>
                  <a:lnTo>
                    <a:pt x="2472" y="1908"/>
                  </a:lnTo>
                  <a:lnTo>
                    <a:pt x="2484" y="1884"/>
                  </a:lnTo>
                  <a:lnTo>
                    <a:pt x="2514" y="1854"/>
                  </a:lnTo>
                  <a:lnTo>
                    <a:pt x="2514" y="1848"/>
                  </a:lnTo>
                  <a:lnTo>
                    <a:pt x="2508" y="1836"/>
                  </a:lnTo>
                  <a:lnTo>
                    <a:pt x="2508" y="1830"/>
                  </a:lnTo>
                  <a:lnTo>
                    <a:pt x="2502" y="1818"/>
                  </a:lnTo>
                  <a:lnTo>
                    <a:pt x="2508" y="1764"/>
                  </a:lnTo>
                  <a:lnTo>
                    <a:pt x="2508" y="1758"/>
                  </a:lnTo>
                  <a:lnTo>
                    <a:pt x="2514" y="1752"/>
                  </a:lnTo>
                  <a:lnTo>
                    <a:pt x="2514" y="1722"/>
                  </a:lnTo>
                  <a:lnTo>
                    <a:pt x="2520" y="1710"/>
                  </a:lnTo>
                  <a:lnTo>
                    <a:pt x="2520" y="1680"/>
                  </a:lnTo>
                  <a:lnTo>
                    <a:pt x="2508" y="1644"/>
                  </a:lnTo>
                  <a:lnTo>
                    <a:pt x="2502" y="1608"/>
                  </a:lnTo>
                  <a:lnTo>
                    <a:pt x="2502" y="1596"/>
                  </a:lnTo>
                  <a:lnTo>
                    <a:pt x="2508" y="1560"/>
                  </a:lnTo>
                  <a:lnTo>
                    <a:pt x="2508" y="1548"/>
                  </a:lnTo>
                  <a:lnTo>
                    <a:pt x="2502" y="1536"/>
                  </a:lnTo>
                  <a:lnTo>
                    <a:pt x="2502" y="1500"/>
                  </a:lnTo>
                  <a:lnTo>
                    <a:pt x="2508" y="1488"/>
                  </a:lnTo>
                  <a:lnTo>
                    <a:pt x="2520" y="1476"/>
                  </a:lnTo>
                  <a:lnTo>
                    <a:pt x="2508" y="1458"/>
                  </a:lnTo>
                  <a:lnTo>
                    <a:pt x="2520" y="1446"/>
                  </a:lnTo>
                  <a:lnTo>
                    <a:pt x="2532" y="1446"/>
                  </a:lnTo>
                  <a:lnTo>
                    <a:pt x="2532" y="1452"/>
                  </a:lnTo>
                  <a:lnTo>
                    <a:pt x="2538" y="1464"/>
                  </a:lnTo>
                  <a:lnTo>
                    <a:pt x="2544" y="1470"/>
                  </a:lnTo>
                  <a:lnTo>
                    <a:pt x="2556" y="1464"/>
                  </a:lnTo>
                  <a:lnTo>
                    <a:pt x="2562" y="1452"/>
                  </a:lnTo>
                  <a:lnTo>
                    <a:pt x="2574" y="1446"/>
                  </a:lnTo>
                  <a:lnTo>
                    <a:pt x="2580" y="1434"/>
                  </a:lnTo>
                  <a:lnTo>
                    <a:pt x="2586" y="1428"/>
                  </a:lnTo>
                  <a:lnTo>
                    <a:pt x="2592" y="1416"/>
                  </a:lnTo>
                  <a:lnTo>
                    <a:pt x="2592" y="1404"/>
                  </a:lnTo>
                  <a:lnTo>
                    <a:pt x="2598" y="1386"/>
                  </a:lnTo>
                  <a:lnTo>
                    <a:pt x="2598" y="1374"/>
                  </a:lnTo>
                  <a:lnTo>
                    <a:pt x="2604" y="1356"/>
                  </a:lnTo>
                  <a:lnTo>
                    <a:pt x="2604" y="1344"/>
                  </a:lnTo>
                  <a:lnTo>
                    <a:pt x="2610" y="1338"/>
                  </a:lnTo>
                  <a:lnTo>
                    <a:pt x="2616" y="1338"/>
                  </a:lnTo>
                  <a:lnTo>
                    <a:pt x="2628" y="1326"/>
                  </a:lnTo>
                  <a:lnTo>
                    <a:pt x="2634" y="1314"/>
                  </a:lnTo>
                  <a:lnTo>
                    <a:pt x="2640" y="1308"/>
                  </a:lnTo>
                  <a:lnTo>
                    <a:pt x="2640" y="1296"/>
                  </a:lnTo>
                  <a:lnTo>
                    <a:pt x="2652" y="1290"/>
                  </a:lnTo>
                  <a:lnTo>
                    <a:pt x="2658" y="1284"/>
                  </a:lnTo>
                  <a:lnTo>
                    <a:pt x="2670" y="1284"/>
                  </a:lnTo>
                  <a:lnTo>
                    <a:pt x="2682" y="1272"/>
                  </a:lnTo>
                  <a:lnTo>
                    <a:pt x="2682" y="1254"/>
                  </a:lnTo>
                  <a:lnTo>
                    <a:pt x="2688" y="1254"/>
                  </a:lnTo>
                  <a:lnTo>
                    <a:pt x="2724" y="1218"/>
                  </a:lnTo>
                  <a:lnTo>
                    <a:pt x="2736" y="1188"/>
                  </a:lnTo>
                  <a:lnTo>
                    <a:pt x="2754" y="1158"/>
                  </a:lnTo>
                  <a:lnTo>
                    <a:pt x="2760" y="1134"/>
                  </a:lnTo>
                  <a:lnTo>
                    <a:pt x="2766" y="1122"/>
                  </a:lnTo>
                  <a:lnTo>
                    <a:pt x="2772" y="1116"/>
                  </a:lnTo>
                  <a:lnTo>
                    <a:pt x="2778" y="1104"/>
                  </a:lnTo>
                  <a:lnTo>
                    <a:pt x="2784" y="1098"/>
                  </a:lnTo>
                  <a:lnTo>
                    <a:pt x="2784" y="1080"/>
                  </a:lnTo>
                  <a:lnTo>
                    <a:pt x="2778" y="1068"/>
                  </a:lnTo>
                  <a:lnTo>
                    <a:pt x="2778" y="1002"/>
                  </a:lnTo>
                  <a:close/>
                </a:path>
              </a:pathLst>
            </a:custGeom>
            <a:solidFill>
              <a:srgbClr val="658B26"/>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94" name="Botswana" descr="© INSCALE GmbH, 05.05.2010&#10;http://www.presentationload.com/"/>
            <p:cNvSpPr>
              <a:spLocks/>
            </p:cNvSpPr>
            <p:nvPr/>
          </p:nvSpPr>
          <p:spPr bwMode="gray">
            <a:xfrm>
              <a:off x="4778380" y="4654549"/>
              <a:ext cx="260350" cy="293687"/>
            </a:xfrm>
            <a:custGeom>
              <a:avLst/>
              <a:gdLst>
                <a:gd name="T0" fmla="*/ 2147483647 w 648"/>
                <a:gd name="T1" fmla="*/ 2147483647 h 732"/>
                <a:gd name="T2" fmla="*/ 2147483647 w 648"/>
                <a:gd name="T3" fmla="*/ 2147483647 h 732"/>
                <a:gd name="T4" fmla="*/ 2147483647 w 648"/>
                <a:gd name="T5" fmla="*/ 2147483647 h 732"/>
                <a:gd name="T6" fmla="*/ 2147483647 w 648"/>
                <a:gd name="T7" fmla="*/ 2147483647 h 732"/>
                <a:gd name="T8" fmla="*/ 2147483647 w 648"/>
                <a:gd name="T9" fmla="*/ 2147483647 h 732"/>
                <a:gd name="T10" fmla="*/ 2147483647 w 648"/>
                <a:gd name="T11" fmla="*/ 2147483647 h 732"/>
                <a:gd name="T12" fmla="*/ 2147483647 w 648"/>
                <a:gd name="T13" fmla="*/ 2147483647 h 732"/>
                <a:gd name="T14" fmla="*/ 2147483647 w 648"/>
                <a:gd name="T15" fmla="*/ 2147483647 h 732"/>
                <a:gd name="T16" fmla="*/ 2147483647 w 648"/>
                <a:gd name="T17" fmla="*/ 2147483647 h 732"/>
                <a:gd name="T18" fmla="*/ 2147483647 w 648"/>
                <a:gd name="T19" fmla="*/ 2147483647 h 732"/>
                <a:gd name="T20" fmla="*/ 2147483647 w 648"/>
                <a:gd name="T21" fmla="*/ 2147483647 h 732"/>
                <a:gd name="T22" fmla="*/ 2147483647 w 648"/>
                <a:gd name="T23" fmla="*/ 2147483647 h 732"/>
                <a:gd name="T24" fmla="*/ 2147483647 w 648"/>
                <a:gd name="T25" fmla="*/ 2147483647 h 732"/>
                <a:gd name="T26" fmla="*/ 2147483647 w 648"/>
                <a:gd name="T27" fmla="*/ 2147483647 h 732"/>
                <a:gd name="T28" fmla="*/ 2147483647 w 648"/>
                <a:gd name="T29" fmla="*/ 2147483647 h 732"/>
                <a:gd name="T30" fmla="*/ 2147483647 w 648"/>
                <a:gd name="T31" fmla="*/ 2147483647 h 732"/>
                <a:gd name="T32" fmla="*/ 2147483647 w 648"/>
                <a:gd name="T33" fmla="*/ 2147483647 h 732"/>
                <a:gd name="T34" fmla="*/ 2147483647 w 648"/>
                <a:gd name="T35" fmla="*/ 2147483647 h 732"/>
                <a:gd name="T36" fmla="*/ 2147483647 w 648"/>
                <a:gd name="T37" fmla="*/ 2147483647 h 732"/>
                <a:gd name="T38" fmla="*/ 2147483647 w 648"/>
                <a:gd name="T39" fmla="*/ 2147483647 h 732"/>
                <a:gd name="T40" fmla="*/ 2147483647 w 648"/>
                <a:gd name="T41" fmla="*/ 2147483647 h 732"/>
                <a:gd name="T42" fmla="*/ 2147483647 w 648"/>
                <a:gd name="T43" fmla="*/ 2147483647 h 732"/>
                <a:gd name="T44" fmla="*/ 2147483647 w 648"/>
                <a:gd name="T45" fmla="*/ 2147483647 h 732"/>
                <a:gd name="T46" fmla="*/ 2147483647 w 648"/>
                <a:gd name="T47" fmla="*/ 2147483647 h 732"/>
                <a:gd name="T48" fmla="*/ 2147483647 w 648"/>
                <a:gd name="T49" fmla="*/ 2147483647 h 732"/>
                <a:gd name="T50" fmla="*/ 2147483647 w 648"/>
                <a:gd name="T51" fmla="*/ 2147483647 h 732"/>
                <a:gd name="T52" fmla="*/ 2147483647 w 648"/>
                <a:gd name="T53" fmla="*/ 2147483647 h 732"/>
                <a:gd name="T54" fmla="*/ 2147483647 w 648"/>
                <a:gd name="T55" fmla="*/ 2147483647 h 732"/>
                <a:gd name="T56" fmla="*/ 2147483647 w 648"/>
                <a:gd name="T57" fmla="*/ 2147483647 h 732"/>
                <a:gd name="T58" fmla="*/ 2147483647 w 648"/>
                <a:gd name="T59" fmla="*/ 2147483647 h 732"/>
                <a:gd name="T60" fmla="*/ 2147483647 w 648"/>
                <a:gd name="T61" fmla="*/ 2147483647 h 732"/>
                <a:gd name="T62" fmla="*/ 2147483647 w 648"/>
                <a:gd name="T63" fmla="*/ 2147483647 h 732"/>
                <a:gd name="T64" fmla="*/ 2147483647 w 648"/>
                <a:gd name="T65" fmla="*/ 2147483647 h 732"/>
                <a:gd name="T66" fmla="*/ 2147483647 w 648"/>
                <a:gd name="T67" fmla="*/ 2147483647 h 732"/>
                <a:gd name="T68" fmla="*/ 2147483647 w 648"/>
                <a:gd name="T69" fmla="*/ 2147483647 h 732"/>
                <a:gd name="T70" fmla="*/ 2147483647 w 648"/>
                <a:gd name="T71" fmla="*/ 2147483647 h 732"/>
                <a:gd name="T72" fmla="*/ 2147483647 w 648"/>
                <a:gd name="T73" fmla="*/ 2147483647 h 732"/>
                <a:gd name="T74" fmla="*/ 2147483647 w 648"/>
                <a:gd name="T75" fmla="*/ 2147483647 h 732"/>
                <a:gd name="T76" fmla="*/ 2147483647 w 648"/>
                <a:gd name="T77" fmla="*/ 2147483647 h 732"/>
                <a:gd name="T78" fmla="*/ 2147483647 w 648"/>
                <a:gd name="T79" fmla="*/ 2147483647 h 732"/>
                <a:gd name="T80" fmla="*/ 2147483647 w 648"/>
                <a:gd name="T81" fmla="*/ 2147483647 h 732"/>
                <a:gd name="T82" fmla="*/ 2147483647 w 648"/>
                <a:gd name="T83" fmla="*/ 2147483647 h 732"/>
                <a:gd name="T84" fmla="*/ 2147483647 w 648"/>
                <a:gd name="T85" fmla="*/ 2147483647 h 732"/>
                <a:gd name="T86" fmla="*/ 2147483647 w 648"/>
                <a:gd name="T87" fmla="*/ 2147483647 h 732"/>
                <a:gd name="T88" fmla="*/ 2147483647 w 648"/>
                <a:gd name="T89" fmla="*/ 2147483647 h 732"/>
                <a:gd name="T90" fmla="*/ 2147483647 w 648"/>
                <a:gd name="T91" fmla="*/ 2147483647 h 732"/>
                <a:gd name="T92" fmla="*/ 2147483647 w 648"/>
                <a:gd name="T93" fmla="*/ 2147483647 h 732"/>
                <a:gd name="T94" fmla="*/ 2147483647 w 648"/>
                <a:gd name="T95" fmla="*/ 0 h 732"/>
                <a:gd name="T96" fmla="*/ 2147483647 w 648"/>
                <a:gd name="T97" fmla="*/ 2147483647 h 732"/>
                <a:gd name="T98" fmla="*/ 2147483647 w 648"/>
                <a:gd name="T99" fmla="*/ 2147483647 h 732"/>
                <a:gd name="T100" fmla="*/ 2147483647 w 648"/>
                <a:gd name="T101" fmla="*/ 2147483647 h 732"/>
                <a:gd name="T102" fmla="*/ 2147483647 w 648"/>
                <a:gd name="T103" fmla="*/ 2147483647 h 732"/>
                <a:gd name="T104" fmla="*/ 2147483647 w 648"/>
                <a:gd name="T105" fmla="*/ 2147483647 h 732"/>
                <a:gd name="T106" fmla="*/ 2147483647 w 648"/>
                <a:gd name="T107" fmla="*/ 2147483647 h 732"/>
                <a:gd name="T108" fmla="*/ 2147483647 w 648"/>
                <a:gd name="T109" fmla="*/ 2147483647 h 732"/>
                <a:gd name="T110" fmla="*/ 2147483647 w 648"/>
                <a:gd name="T111" fmla="*/ 2147483647 h 732"/>
                <a:gd name="T112" fmla="*/ 2147483647 w 648"/>
                <a:gd name="T113" fmla="*/ 2147483647 h 732"/>
                <a:gd name="T114" fmla="*/ 0 w 648"/>
                <a:gd name="T115" fmla="*/ 2147483647 h 7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48"/>
                <a:gd name="T175" fmla="*/ 0 h 732"/>
                <a:gd name="T176" fmla="*/ 648 w 648"/>
                <a:gd name="T177" fmla="*/ 732 h 7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48" h="732">
                  <a:moveTo>
                    <a:pt x="0" y="570"/>
                  </a:moveTo>
                  <a:lnTo>
                    <a:pt x="12" y="576"/>
                  </a:lnTo>
                  <a:lnTo>
                    <a:pt x="18" y="582"/>
                  </a:lnTo>
                  <a:lnTo>
                    <a:pt x="30" y="588"/>
                  </a:lnTo>
                  <a:lnTo>
                    <a:pt x="36" y="594"/>
                  </a:lnTo>
                  <a:lnTo>
                    <a:pt x="42" y="612"/>
                  </a:lnTo>
                  <a:lnTo>
                    <a:pt x="48" y="624"/>
                  </a:lnTo>
                  <a:lnTo>
                    <a:pt x="48" y="642"/>
                  </a:lnTo>
                  <a:lnTo>
                    <a:pt x="54" y="648"/>
                  </a:lnTo>
                  <a:lnTo>
                    <a:pt x="54" y="672"/>
                  </a:lnTo>
                  <a:lnTo>
                    <a:pt x="48" y="684"/>
                  </a:lnTo>
                  <a:lnTo>
                    <a:pt x="48" y="690"/>
                  </a:lnTo>
                  <a:lnTo>
                    <a:pt x="42" y="702"/>
                  </a:lnTo>
                  <a:lnTo>
                    <a:pt x="42" y="732"/>
                  </a:lnTo>
                  <a:lnTo>
                    <a:pt x="120" y="732"/>
                  </a:lnTo>
                  <a:lnTo>
                    <a:pt x="120" y="714"/>
                  </a:lnTo>
                  <a:lnTo>
                    <a:pt x="144" y="714"/>
                  </a:lnTo>
                  <a:lnTo>
                    <a:pt x="144" y="708"/>
                  </a:lnTo>
                  <a:lnTo>
                    <a:pt x="150" y="702"/>
                  </a:lnTo>
                  <a:lnTo>
                    <a:pt x="156" y="690"/>
                  </a:lnTo>
                  <a:lnTo>
                    <a:pt x="162" y="684"/>
                  </a:lnTo>
                  <a:lnTo>
                    <a:pt x="168" y="684"/>
                  </a:lnTo>
                  <a:lnTo>
                    <a:pt x="174" y="678"/>
                  </a:lnTo>
                  <a:lnTo>
                    <a:pt x="186" y="678"/>
                  </a:lnTo>
                  <a:lnTo>
                    <a:pt x="186" y="654"/>
                  </a:lnTo>
                  <a:lnTo>
                    <a:pt x="192" y="642"/>
                  </a:lnTo>
                  <a:lnTo>
                    <a:pt x="192" y="630"/>
                  </a:lnTo>
                  <a:lnTo>
                    <a:pt x="198" y="618"/>
                  </a:lnTo>
                  <a:lnTo>
                    <a:pt x="204" y="612"/>
                  </a:lnTo>
                  <a:lnTo>
                    <a:pt x="216" y="606"/>
                  </a:lnTo>
                  <a:lnTo>
                    <a:pt x="228" y="606"/>
                  </a:lnTo>
                  <a:lnTo>
                    <a:pt x="240" y="612"/>
                  </a:lnTo>
                  <a:lnTo>
                    <a:pt x="246" y="618"/>
                  </a:lnTo>
                  <a:lnTo>
                    <a:pt x="258" y="624"/>
                  </a:lnTo>
                  <a:lnTo>
                    <a:pt x="270" y="636"/>
                  </a:lnTo>
                  <a:lnTo>
                    <a:pt x="300" y="636"/>
                  </a:lnTo>
                  <a:lnTo>
                    <a:pt x="306" y="642"/>
                  </a:lnTo>
                  <a:lnTo>
                    <a:pt x="318" y="648"/>
                  </a:lnTo>
                  <a:lnTo>
                    <a:pt x="324" y="654"/>
                  </a:lnTo>
                  <a:lnTo>
                    <a:pt x="336" y="654"/>
                  </a:lnTo>
                  <a:lnTo>
                    <a:pt x="348" y="648"/>
                  </a:lnTo>
                  <a:lnTo>
                    <a:pt x="354" y="642"/>
                  </a:lnTo>
                  <a:lnTo>
                    <a:pt x="360" y="648"/>
                  </a:lnTo>
                  <a:lnTo>
                    <a:pt x="372" y="648"/>
                  </a:lnTo>
                  <a:lnTo>
                    <a:pt x="384" y="642"/>
                  </a:lnTo>
                  <a:lnTo>
                    <a:pt x="390" y="636"/>
                  </a:lnTo>
                  <a:lnTo>
                    <a:pt x="396" y="624"/>
                  </a:lnTo>
                  <a:lnTo>
                    <a:pt x="402" y="606"/>
                  </a:lnTo>
                  <a:lnTo>
                    <a:pt x="408" y="594"/>
                  </a:lnTo>
                  <a:lnTo>
                    <a:pt x="408" y="582"/>
                  </a:lnTo>
                  <a:lnTo>
                    <a:pt x="426" y="564"/>
                  </a:lnTo>
                  <a:lnTo>
                    <a:pt x="444" y="558"/>
                  </a:lnTo>
                  <a:lnTo>
                    <a:pt x="456" y="552"/>
                  </a:lnTo>
                  <a:lnTo>
                    <a:pt x="462" y="546"/>
                  </a:lnTo>
                  <a:lnTo>
                    <a:pt x="468" y="534"/>
                  </a:lnTo>
                  <a:lnTo>
                    <a:pt x="480" y="528"/>
                  </a:lnTo>
                  <a:lnTo>
                    <a:pt x="480" y="492"/>
                  </a:lnTo>
                  <a:lnTo>
                    <a:pt x="492" y="468"/>
                  </a:lnTo>
                  <a:lnTo>
                    <a:pt x="504" y="462"/>
                  </a:lnTo>
                  <a:lnTo>
                    <a:pt x="510" y="462"/>
                  </a:lnTo>
                  <a:lnTo>
                    <a:pt x="522" y="456"/>
                  </a:lnTo>
                  <a:lnTo>
                    <a:pt x="564" y="414"/>
                  </a:lnTo>
                  <a:lnTo>
                    <a:pt x="576" y="390"/>
                  </a:lnTo>
                  <a:lnTo>
                    <a:pt x="582" y="384"/>
                  </a:lnTo>
                  <a:lnTo>
                    <a:pt x="594" y="384"/>
                  </a:lnTo>
                  <a:lnTo>
                    <a:pt x="606" y="378"/>
                  </a:lnTo>
                  <a:lnTo>
                    <a:pt x="618" y="378"/>
                  </a:lnTo>
                  <a:lnTo>
                    <a:pt x="630" y="354"/>
                  </a:lnTo>
                  <a:lnTo>
                    <a:pt x="648" y="354"/>
                  </a:lnTo>
                  <a:lnTo>
                    <a:pt x="648" y="348"/>
                  </a:lnTo>
                  <a:lnTo>
                    <a:pt x="642" y="336"/>
                  </a:lnTo>
                  <a:lnTo>
                    <a:pt x="624" y="318"/>
                  </a:lnTo>
                  <a:lnTo>
                    <a:pt x="606" y="312"/>
                  </a:lnTo>
                  <a:lnTo>
                    <a:pt x="594" y="312"/>
                  </a:lnTo>
                  <a:lnTo>
                    <a:pt x="576" y="306"/>
                  </a:lnTo>
                  <a:lnTo>
                    <a:pt x="564" y="306"/>
                  </a:lnTo>
                  <a:lnTo>
                    <a:pt x="564" y="276"/>
                  </a:lnTo>
                  <a:lnTo>
                    <a:pt x="546" y="276"/>
                  </a:lnTo>
                  <a:lnTo>
                    <a:pt x="546" y="246"/>
                  </a:lnTo>
                  <a:lnTo>
                    <a:pt x="552" y="240"/>
                  </a:lnTo>
                  <a:lnTo>
                    <a:pt x="546" y="216"/>
                  </a:lnTo>
                  <a:lnTo>
                    <a:pt x="516" y="216"/>
                  </a:lnTo>
                  <a:lnTo>
                    <a:pt x="516" y="186"/>
                  </a:lnTo>
                  <a:lnTo>
                    <a:pt x="510" y="180"/>
                  </a:lnTo>
                  <a:lnTo>
                    <a:pt x="480" y="180"/>
                  </a:lnTo>
                  <a:lnTo>
                    <a:pt x="462" y="162"/>
                  </a:lnTo>
                  <a:lnTo>
                    <a:pt x="450" y="156"/>
                  </a:lnTo>
                  <a:lnTo>
                    <a:pt x="432" y="120"/>
                  </a:lnTo>
                  <a:lnTo>
                    <a:pt x="432" y="96"/>
                  </a:lnTo>
                  <a:lnTo>
                    <a:pt x="426" y="90"/>
                  </a:lnTo>
                  <a:lnTo>
                    <a:pt x="414" y="66"/>
                  </a:lnTo>
                  <a:lnTo>
                    <a:pt x="408" y="60"/>
                  </a:lnTo>
                  <a:lnTo>
                    <a:pt x="396" y="60"/>
                  </a:lnTo>
                  <a:lnTo>
                    <a:pt x="396" y="30"/>
                  </a:lnTo>
                  <a:lnTo>
                    <a:pt x="384" y="18"/>
                  </a:lnTo>
                  <a:lnTo>
                    <a:pt x="378" y="0"/>
                  </a:lnTo>
                  <a:lnTo>
                    <a:pt x="342" y="6"/>
                  </a:lnTo>
                  <a:lnTo>
                    <a:pt x="330" y="18"/>
                  </a:lnTo>
                  <a:lnTo>
                    <a:pt x="306" y="18"/>
                  </a:lnTo>
                  <a:lnTo>
                    <a:pt x="264" y="60"/>
                  </a:lnTo>
                  <a:lnTo>
                    <a:pt x="258" y="60"/>
                  </a:lnTo>
                  <a:lnTo>
                    <a:pt x="258" y="42"/>
                  </a:lnTo>
                  <a:lnTo>
                    <a:pt x="252" y="42"/>
                  </a:lnTo>
                  <a:lnTo>
                    <a:pt x="252" y="24"/>
                  </a:lnTo>
                  <a:lnTo>
                    <a:pt x="246" y="18"/>
                  </a:lnTo>
                  <a:lnTo>
                    <a:pt x="228" y="18"/>
                  </a:lnTo>
                  <a:lnTo>
                    <a:pt x="216" y="24"/>
                  </a:lnTo>
                  <a:lnTo>
                    <a:pt x="168" y="36"/>
                  </a:lnTo>
                  <a:lnTo>
                    <a:pt x="132" y="36"/>
                  </a:lnTo>
                  <a:lnTo>
                    <a:pt x="114" y="42"/>
                  </a:lnTo>
                  <a:lnTo>
                    <a:pt x="78" y="42"/>
                  </a:lnTo>
                  <a:lnTo>
                    <a:pt x="78" y="216"/>
                  </a:lnTo>
                  <a:lnTo>
                    <a:pt x="72" y="222"/>
                  </a:lnTo>
                  <a:lnTo>
                    <a:pt x="78" y="348"/>
                  </a:lnTo>
                  <a:lnTo>
                    <a:pt x="6" y="348"/>
                  </a:lnTo>
                  <a:lnTo>
                    <a:pt x="0" y="570"/>
                  </a:lnTo>
                  <a:close/>
                </a:path>
              </a:pathLst>
            </a:custGeom>
            <a:solidFill>
              <a:srgbClr val="692864"/>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95" name="Bosnia and Herzegovina" descr="© INSCALE GmbH, 05.05.2010&#10;http://www.presentationload.com/"/>
            <p:cNvSpPr>
              <a:spLocks/>
            </p:cNvSpPr>
            <p:nvPr/>
          </p:nvSpPr>
          <p:spPr bwMode="gray">
            <a:xfrm>
              <a:off x="4643441" y="2611437"/>
              <a:ext cx="106362" cy="95250"/>
            </a:xfrm>
            <a:custGeom>
              <a:avLst/>
              <a:gdLst>
                <a:gd name="T0" fmla="*/ 2147483647 w 264"/>
                <a:gd name="T1" fmla="*/ 2147483647 h 234"/>
                <a:gd name="T2" fmla="*/ 2147483647 w 264"/>
                <a:gd name="T3" fmla="*/ 2147483647 h 234"/>
                <a:gd name="T4" fmla="*/ 2147483647 w 264"/>
                <a:gd name="T5" fmla="*/ 2147483647 h 234"/>
                <a:gd name="T6" fmla="*/ 2147483647 w 264"/>
                <a:gd name="T7" fmla="*/ 2147483647 h 234"/>
                <a:gd name="T8" fmla="*/ 2147483647 w 264"/>
                <a:gd name="T9" fmla="*/ 2147483647 h 234"/>
                <a:gd name="T10" fmla="*/ 2147483647 w 264"/>
                <a:gd name="T11" fmla="*/ 2147483647 h 234"/>
                <a:gd name="T12" fmla="*/ 2147483647 w 264"/>
                <a:gd name="T13" fmla="*/ 2147483647 h 234"/>
                <a:gd name="T14" fmla="*/ 2147483647 w 264"/>
                <a:gd name="T15" fmla="*/ 2147483647 h 234"/>
                <a:gd name="T16" fmla="*/ 2147483647 w 264"/>
                <a:gd name="T17" fmla="*/ 2147483647 h 234"/>
                <a:gd name="T18" fmla="*/ 2147483647 w 264"/>
                <a:gd name="T19" fmla="*/ 2147483647 h 234"/>
                <a:gd name="T20" fmla="*/ 2147483647 w 264"/>
                <a:gd name="T21" fmla="*/ 2147483647 h 234"/>
                <a:gd name="T22" fmla="*/ 2147483647 w 264"/>
                <a:gd name="T23" fmla="*/ 2147483647 h 234"/>
                <a:gd name="T24" fmla="*/ 2147483647 w 264"/>
                <a:gd name="T25" fmla="*/ 2147483647 h 234"/>
                <a:gd name="T26" fmla="*/ 2147483647 w 264"/>
                <a:gd name="T27" fmla="*/ 2147483647 h 234"/>
                <a:gd name="T28" fmla="*/ 2147483647 w 264"/>
                <a:gd name="T29" fmla="*/ 2147483647 h 234"/>
                <a:gd name="T30" fmla="*/ 2147483647 w 264"/>
                <a:gd name="T31" fmla="*/ 2147483647 h 234"/>
                <a:gd name="T32" fmla="*/ 2147483647 w 264"/>
                <a:gd name="T33" fmla="*/ 2147483647 h 234"/>
                <a:gd name="T34" fmla="*/ 2147483647 w 264"/>
                <a:gd name="T35" fmla="*/ 2147483647 h 234"/>
                <a:gd name="T36" fmla="*/ 2147483647 w 264"/>
                <a:gd name="T37" fmla="*/ 2147483647 h 234"/>
                <a:gd name="T38" fmla="*/ 2147483647 w 264"/>
                <a:gd name="T39" fmla="*/ 0 h 234"/>
                <a:gd name="T40" fmla="*/ 2147483647 w 264"/>
                <a:gd name="T41" fmla="*/ 0 h 234"/>
                <a:gd name="T42" fmla="*/ 2147483647 w 264"/>
                <a:gd name="T43" fmla="*/ 2147483647 h 234"/>
                <a:gd name="T44" fmla="*/ 0 w 264"/>
                <a:gd name="T45" fmla="*/ 2147483647 h 234"/>
                <a:gd name="T46" fmla="*/ 2147483647 w 264"/>
                <a:gd name="T47" fmla="*/ 2147483647 h 234"/>
                <a:gd name="T48" fmla="*/ 2147483647 w 264"/>
                <a:gd name="T49" fmla="*/ 2147483647 h 234"/>
                <a:gd name="T50" fmla="*/ 2147483647 w 264"/>
                <a:gd name="T51" fmla="*/ 2147483647 h 234"/>
                <a:gd name="T52" fmla="*/ 2147483647 w 264"/>
                <a:gd name="T53" fmla="*/ 2147483647 h 234"/>
                <a:gd name="T54" fmla="*/ 2147483647 w 264"/>
                <a:gd name="T55" fmla="*/ 2147483647 h 234"/>
                <a:gd name="T56" fmla="*/ 2147483647 w 264"/>
                <a:gd name="T57" fmla="*/ 2147483647 h 234"/>
                <a:gd name="T58" fmla="*/ 2147483647 w 264"/>
                <a:gd name="T59" fmla="*/ 2147483647 h 234"/>
                <a:gd name="T60" fmla="*/ 2147483647 w 264"/>
                <a:gd name="T61" fmla="*/ 2147483647 h 234"/>
                <a:gd name="T62" fmla="*/ 2147483647 w 264"/>
                <a:gd name="T63" fmla="*/ 2147483647 h 234"/>
                <a:gd name="T64" fmla="*/ 2147483647 w 264"/>
                <a:gd name="T65" fmla="*/ 2147483647 h 234"/>
                <a:gd name="T66" fmla="*/ 2147483647 w 264"/>
                <a:gd name="T67" fmla="*/ 2147483647 h 234"/>
                <a:gd name="T68" fmla="*/ 2147483647 w 264"/>
                <a:gd name="T69" fmla="*/ 2147483647 h 234"/>
                <a:gd name="T70" fmla="*/ 2147483647 w 264"/>
                <a:gd name="T71" fmla="*/ 2147483647 h 234"/>
                <a:gd name="T72" fmla="*/ 2147483647 w 264"/>
                <a:gd name="T73" fmla="*/ 2147483647 h 234"/>
                <a:gd name="T74" fmla="*/ 2147483647 w 264"/>
                <a:gd name="T75" fmla="*/ 2147483647 h 234"/>
                <a:gd name="T76" fmla="*/ 2147483647 w 264"/>
                <a:gd name="T77" fmla="*/ 2147483647 h 234"/>
                <a:gd name="T78" fmla="*/ 2147483647 w 264"/>
                <a:gd name="T79" fmla="*/ 2147483647 h 234"/>
                <a:gd name="T80" fmla="*/ 2147483647 w 264"/>
                <a:gd name="T81" fmla="*/ 2147483647 h 234"/>
                <a:gd name="T82" fmla="*/ 2147483647 w 264"/>
                <a:gd name="T83" fmla="*/ 2147483647 h 234"/>
                <a:gd name="T84" fmla="*/ 2147483647 w 264"/>
                <a:gd name="T85" fmla="*/ 2147483647 h 234"/>
                <a:gd name="T86" fmla="*/ 2147483647 w 264"/>
                <a:gd name="T87" fmla="*/ 2147483647 h 234"/>
                <a:gd name="T88" fmla="*/ 2147483647 w 264"/>
                <a:gd name="T89" fmla="*/ 2147483647 h 234"/>
                <a:gd name="T90" fmla="*/ 2147483647 w 264"/>
                <a:gd name="T91" fmla="*/ 2147483647 h 234"/>
                <a:gd name="T92" fmla="*/ 2147483647 w 264"/>
                <a:gd name="T93" fmla="*/ 2147483647 h 234"/>
                <a:gd name="T94" fmla="*/ 2147483647 w 264"/>
                <a:gd name="T95" fmla="*/ 2147483647 h 234"/>
                <a:gd name="T96" fmla="*/ 2147483647 w 264"/>
                <a:gd name="T97" fmla="*/ 2147483647 h 234"/>
                <a:gd name="T98" fmla="*/ 2147483647 w 264"/>
                <a:gd name="T99" fmla="*/ 2147483647 h 234"/>
                <a:gd name="T100" fmla="*/ 2147483647 w 264"/>
                <a:gd name="T101" fmla="*/ 2147483647 h 234"/>
                <a:gd name="T102" fmla="*/ 2147483647 w 264"/>
                <a:gd name="T103" fmla="*/ 2147483647 h 234"/>
                <a:gd name="T104" fmla="*/ 2147483647 w 264"/>
                <a:gd name="T105" fmla="*/ 2147483647 h 234"/>
                <a:gd name="T106" fmla="*/ 2147483647 w 264"/>
                <a:gd name="T107" fmla="*/ 2147483647 h 234"/>
                <a:gd name="T108" fmla="*/ 2147483647 w 264"/>
                <a:gd name="T109" fmla="*/ 2147483647 h 234"/>
                <a:gd name="T110" fmla="*/ 2147483647 w 264"/>
                <a:gd name="T111" fmla="*/ 2147483647 h 234"/>
                <a:gd name="T112" fmla="*/ 2147483647 w 264"/>
                <a:gd name="T113" fmla="*/ 2147483647 h 234"/>
                <a:gd name="T114" fmla="*/ 2147483647 w 264"/>
                <a:gd name="T115" fmla="*/ 2147483647 h 234"/>
                <a:gd name="T116" fmla="*/ 2147483647 w 264"/>
                <a:gd name="T117" fmla="*/ 2147483647 h 234"/>
                <a:gd name="T118" fmla="*/ 2147483647 w 264"/>
                <a:gd name="T119" fmla="*/ 2147483647 h 234"/>
                <a:gd name="T120" fmla="*/ 2147483647 w 264"/>
                <a:gd name="T121" fmla="*/ 2147483647 h 234"/>
                <a:gd name="T122" fmla="*/ 2147483647 w 264"/>
                <a:gd name="T123" fmla="*/ 2147483647 h 234"/>
                <a:gd name="T124" fmla="*/ 2147483647 w 264"/>
                <a:gd name="T125" fmla="*/ 2147483647 h 2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64"/>
                <a:gd name="T190" fmla="*/ 0 h 234"/>
                <a:gd name="T191" fmla="*/ 264 w 264"/>
                <a:gd name="T192" fmla="*/ 234 h 2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64" h="234">
                  <a:moveTo>
                    <a:pt x="246" y="78"/>
                  </a:moveTo>
                  <a:lnTo>
                    <a:pt x="228" y="78"/>
                  </a:lnTo>
                  <a:lnTo>
                    <a:pt x="228" y="60"/>
                  </a:lnTo>
                  <a:lnTo>
                    <a:pt x="246" y="42"/>
                  </a:lnTo>
                  <a:lnTo>
                    <a:pt x="246" y="30"/>
                  </a:lnTo>
                  <a:lnTo>
                    <a:pt x="234" y="30"/>
                  </a:lnTo>
                  <a:lnTo>
                    <a:pt x="222" y="36"/>
                  </a:lnTo>
                  <a:lnTo>
                    <a:pt x="216" y="36"/>
                  </a:lnTo>
                  <a:lnTo>
                    <a:pt x="216" y="30"/>
                  </a:lnTo>
                  <a:lnTo>
                    <a:pt x="204" y="30"/>
                  </a:lnTo>
                  <a:lnTo>
                    <a:pt x="192" y="12"/>
                  </a:lnTo>
                  <a:lnTo>
                    <a:pt x="138" y="12"/>
                  </a:lnTo>
                  <a:lnTo>
                    <a:pt x="132" y="6"/>
                  </a:lnTo>
                  <a:lnTo>
                    <a:pt x="120" y="6"/>
                  </a:lnTo>
                  <a:lnTo>
                    <a:pt x="108" y="12"/>
                  </a:lnTo>
                  <a:lnTo>
                    <a:pt x="90" y="6"/>
                  </a:lnTo>
                  <a:lnTo>
                    <a:pt x="66" y="6"/>
                  </a:lnTo>
                  <a:lnTo>
                    <a:pt x="42" y="12"/>
                  </a:lnTo>
                  <a:lnTo>
                    <a:pt x="30" y="6"/>
                  </a:lnTo>
                  <a:lnTo>
                    <a:pt x="24" y="0"/>
                  </a:lnTo>
                  <a:lnTo>
                    <a:pt x="18" y="0"/>
                  </a:lnTo>
                  <a:lnTo>
                    <a:pt x="18" y="24"/>
                  </a:lnTo>
                  <a:lnTo>
                    <a:pt x="0" y="30"/>
                  </a:lnTo>
                  <a:lnTo>
                    <a:pt x="12" y="42"/>
                  </a:lnTo>
                  <a:lnTo>
                    <a:pt x="30" y="48"/>
                  </a:lnTo>
                  <a:lnTo>
                    <a:pt x="30" y="60"/>
                  </a:lnTo>
                  <a:lnTo>
                    <a:pt x="36" y="60"/>
                  </a:lnTo>
                  <a:lnTo>
                    <a:pt x="42" y="66"/>
                  </a:lnTo>
                  <a:lnTo>
                    <a:pt x="42" y="84"/>
                  </a:lnTo>
                  <a:lnTo>
                    <a:pt x="60" y="90"/>
                  </a:lnTo>
                  <a:lnTo>
                    <a:pt x="72" y="120"/>
                  </a:lnTo>
                  <a:lnTo>
                    <a:pt x="84" y="132"/>
                  </a:lnTo>
                  <a:lnTo>
                    <a:pt x="96" y="138"/>
                  </a:lnTo>
                  <a:lnTo>
                    <a:pt x="114" y="150"/>
                  </a:lnTo>
                  <a:lnTo>
                    <a:pt x="126" y="156"/>
                  </a:lnTo>
                  <a:lnTo>
                    <a:pt x="132" y="168"/>
                  </a:lnTo>
                  <a:lnTo>
                    <a:pt x="132" y="174"/>
                  </a:lnTo>
                  <a:lnTo>
                    <a:pt x="126" y="180"/>
                  </a:lnTo>
                  <a:lnTo>
                    <a:pt x="138" y="180"/>
                  </a:lnTo>
                  <a:lnTo>
                    <a:pt x="156" y="198"/>
                  </a:lnTo>
                  <a:lnTo>
                    <a:pt x="162" y="210"/>
                  </a:lnTo>
                  <a:lnTo>
                    <a:pt x="174" y="216"/>
                  </a:lnTo>
                  <a:lnTo>
                    <a:pt x="192" y="234"/>
                  </a:lnTo>
                  <a:lnTo>
                    <a:pt x="210" y="204"/>
                  </a:lnTo>
                  <a:lnTo>
                    <a:pt x="198" y="198"/>
                  </a:lnTo>
                  <a:lnTo>
                    <a:pt x="192" y="198"/>
                  </a:lnTo>
                  <a:lnTo>
                    <a:pt x="186" y="192"/>
                  </a:lnTo>
                  <a:lnTo>
                    <a:pt x="186" y="186"/>
                  </a:lnTo>
                  <a:lnTo>
                    <a:pt x="192" y="180"/>
                  </a:lnTo>
                  <a:lnTo>
                    <a:pt x="198" y="180"/>
                  </a:lnTo>
                  <a:lnTo>
                    <a:pt x="204" y="168"/>
                  </a:lnTo>
                  <a:lnTo>
                    <a:pt x="204" y="162"/>
                  </a:lnTo>
                  <a:lnTo>
                    <a:pt x="210" y="156"/>
                  </a:lnTo>
                  <a:lnTo>
                    <a:pt x="228" y="156"/>
                  </a:lnTo>
                  <a:lnTo>
                    <a:pt x="228" y="132"/>
                  </a:lnTo>
                  <a:lnTo>
                    <a:pt x="258" y="132"/>
                  </a:lnTo>
                  <a:lnTo>
                    <a:pt x="258" y="126"/>
                  </a:lnTo>
                  <a:lnTo>
                    <a:pt x="252" y="114"/>
                  </a:lnTo>
                  <a:lnTo>
                    <a:pt x="240" y="102"/>
                  </a:lnTo>
                  <a:lnTo>
                    <a:pt x="264" y="96"/>
                  </a:lnTo>
                  <a:lnTo>
                    <a:pt x="258" y="84"/>
                  </a:lnTo>
                  <a:lnTo>
                    <a:pt x="252" y="78"/>
                  </a:lnTo>
                  <a:lnTo>
                    <a:pt x="246" y="78"/>
                  </a:lnTo>
                  <a:close/>
                </a:path>
              </a:pathLst>
            </a:custGeom>
            <a:solidFill>
              <a:srgbClr val="00508C"/>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96" name="Bolivia" descr="© INSCALE GmbH, 05.05.2010&#10;http://www.presentationload.com/"/>
            <p:cNvSpPr>
              <a:spLocks/>
            </p:cNvSpPr>
            <p:nvPr/>
          </p:nvSpPr>
          <p:spPr bwMode="gray">
            <a:xfrm>
              <a:off x="2233614" y="4392611"/>
              <a:ext cx="358775" cy="427037"/>
            </a:xfrm>
            <a:custGeom>
              <a:avLst/>
              <a:gdLst>
                <a:gd name="T0" fmla="*/ 2147483647 w 894"/>
                <a:gd name="T1" fmla="*/ 2147483647 h 1056"/>
                <a:gd name="T2" fmla="*/ 2147483647 w 894"/>
                <a:gd name="T3" fmla="*/ 2147483647 h 1056"/>
                <a:gd name="T4" fmla="*/ 2147483647 w 894"/>
                <a:gd name="T5" fmla="*/ 2147483647 h 1056"/>
                <a:gd name="T6" fmla="*/ 2147483647 w 894"/>
                <a:gd name="T7" fmla="*/ 2147483647 h 1056"/>
                <a:gd name="T8" fmla="*/ 2147483647 w 894"/>
                <a:gd name="T9" fmla="*/ 2147483647 h 1056"/>
                <a:gd name="T10" fmla="*/ 2147483647 w 894"/>
                <a:gd name="T11" fmla="*/ 2147483647 h 1056"/>
                <a:gd name="T12" fmla="*/ 2147483647 w 894"/>
                <a:gd name="T13" fmla="*/ 2147483647 h 1056"/>
                <a:gd name="T14" fmla="*/ 2147483647 w 894"/>
                <a:gd name="T15" fmla="*/ 2147483647 h 1056"/>
                <a:gd name="T16" fmla="*/ 2147483647 w 894"/>
                <a:gd name="T17" fmla="*/ 2147483647 h 1056"/>
                <a:gd name="T18" fmla="*/ 2147483647 w 894"/>
                <a:gd name="T19" fmla="*/ 2147483647 h 1056"/>
                <a:gd name="T20" fmla="*/ 2147483647 w 894"/>
                <a:gd name="T21" fmla="*/ 2147483647 h 1056"/>
                <a:gd name="T22" fmla="*/ 2147483647 w 894"/>
                <a:gd name="T23" fmla="*/ 2147483647 h 1056"/>
                <a:gd name="T24" fmla="*/ 2147483647 w 894"/>
                <a:gd name="T25" fmla="*/ 2147483647 h 1056"/>
                <a:gd name="T26" fmla="*/ 2147483647 w 894"/>
                <a:gd name="T27" fmla="*/ 2147483647 h 1056"/>
                <a:gd name="T28" fmla="*/ 2147483647 w 894"/>
                <a:gd name="T29" fmla="*/ 2147483647 h 1056"/>
                <a:gd name="T30" fmla="*/ 2147483647 w 894"/>
                <a:gd name="T31" fmla="*/ 2147483647 h 1056"/>
                <a:gd name="T32" fmla="*/ 2147483647 w 894"/>
                <a:gd name="T33" fmla="*/ 2147483647 h 1056"/>
                <a:gd name="T34" fmla="*/ 2147483647 w 894"/>
                <a:gd name="T35" fmla="*/ 2147483647 h 1056"/>
                <a:gd name="T36" fmla="*/ 2147483647 w 894"/>
                <a:gd name="T37" fmla="*/ 2147483647 h 1056"/>
                <a:gd name="T38" fmla="*/ 2147483647 w 894"/>
                <a:gd name="T39" fmla="*/ 2147483647 h 1056"/>
                <a:gd name="T40" fmla="*/ 2147483647 w 894"/>
                <a:gd name="T41" fmla="*/ 2147483647 h 1056"/>
                <a:gd name="T42" fmla="*/ 2147483647 w 894"/>
                <a:gd name="T43" fmla="*/ 2147483647 h 1056"/>
                <a:gd name="T44" fmla="*/ 2147483647 w 894"/>
                <a:gd name="T45" fmla="*/ 2147483647 h 1056"/>
                <a:gd name="T46" fmla="*/ 2147483647 w 894"/>
                <a:gd name="T47" fmla="*/ 2147483647 h 1056"/>
                <a:gd name="T48" fmla="*/ 0 w 894"/>
                <a:gd name="T49" fmla="*/ 2147483647 h 1056"/>
                <a:gd name="T50" fmla="*/ 2147483647 w 894"/>
                <a:gd name="T51" fmla="*/ 2147483647 h 1056"/>
                <a:gd name="T52" fmla="*/ 2147483647 w 894"/>
                <a:gd name="T53" fmla="*/ 2147483647 h 1056"/>
                <a:gd name="T54" fmla="*/ 2147483647 w 894"/>
                <a:gd name="T55" fmla="*/ 2147483647 h 1056"/>
                <a:gd name="T56" fmla="*/ 2147483647 w 894"/>
                <a:gd name="T57" fmla="*/ 2147483647 h 1056"/>
                <a:gd name="T58" fmla="*/ 2147483647 w 894"/>
                <a:gd name="T59" fmla="*/ 2147483647 h 1056"/>
                <a:gd name="T60" fmla="*/ 2147483647 w 894"/>
                <a:gd name="T61" fmla="*/ 2147483647 h 1056"/>
                <a:gd name="T62" fmla="*/ 2147483647 w 894"/>
                <a:gd name="T63" fmla="*/ 2147483647 h 1056"/>
                <a:gd name="T64" fmla="*/ 2147483647 w 894"/>
                <a:gd name="T65" fmla="*/ 2147483647 h 1056"/>
                <a:gd name="T66" fmla="*/ 2147483647 w 894"/>
                <a:gd name="T67" fmla="*/ 2147483647 h 1056"/>
                <a:gd name="T68" fmla="*/ 2147483647 w 894"/>
                <a:gd name="T69" fmla="*/ 2147483647 h 1056"/>
                <a:gd name="T70" fmla="*/ 2147483647 w 894"/>
                <a:gd name="T71" fmla="*/ 2147483647 h 1056"/>
                <a:gd name="T72" fmla="*/ 2147483647 w 894"/>
                <a:gd name="T73" fmla="*/ 2147483647 h 1056"/>
                <a:gd name="T74" fmla="*/ 2147483647 w 894"/>
                <a:gd name="T75" fmla="*/ 2147483647 h 1056"/>
                <a:gd name="T76" fmla="*/ 2147483647 w 894"/>
                <a:gd name="T77" fmla="*/ 2147483647 h 1056"/>
                <a:gd name="T78" fmla="*/ 2147483647 w 894"/>
                <a:gd name="T79" fmla="*/ 2147483647 h 1056"/>
                <a:gd name="T80" fmla="*/ 2147483647 w 894"/>
                <a:gd name="T81" fmla="*/ 2147483647 h 1056"/>
                <a:gd name="T82" fmla="*/ 2147483647 w 894"/>
                <a:gd name="T83" fmla="*/ 2147483647 h 1056"/>
                <a:gd name="T84" fmla="*/ 2147483647 w 894"/>
                <a:gd name="T85" fmla="*/ 2147483647 h 1056"/>
                <a:gd name="T86" fmla="*/ 2147483647 w 894"/>
                <a:gd name="T87" fmla="*/ 2147483647 h 1056"/>
                <a:gd name="T88" fmla="*/ 2147483647 w 894"/>
                <a:gd name="T89" fmla="*/ 2147483647 h 1056"/>
                <a:gd name="T90" fmla="*/ 2147483647 w 894"/>
                <a:gd name="T91" fmla="*/ 2147483647 h 1056"/>
                <a:gd name="T92" fmla="*/ 2147483647 w 894"/>
                <a:gd name="T93" fmla="*/ 2147483647 h 1056"/>
                <a:gd name="T94" fmla="*/ 2147483647 w 894"/>
                <a:gd name="T95" fmla="*/ 2147483647 h 1056"/>
                <a:gd name="T96" fmla="*/ 2147483647 w 894"/>
                <a:gd name="T97" fmla="*/ 2147483647 h 1056"/>
                <a:gd name="T98" fmla="*/ 2147483647 w 894"/>
                <a:gd name="T99" fmla="*/ 2147483647 h 1056"/>
                <a:gd name="T100" fmla="*/ 2147483647 w 894"/>
                <a:gd name="T101" fmla="*/ 2147483647 h 10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94"/>
                <a:gd name="T154" fmla="*/ 0 h 1056"/>
                <a:gd name="T155" fmla="*/ 894 w 894"/>
                <a:gd name="T156" fmla="*/ 1056 h 10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94" h="1056">
                  <a:moveTo>
                    <a:pt x="882" y="744"/>
                  </a:moveTo>
                  <a:lnTo>
                    <a:pt x="882" y="738"/>
                  </a:lnTo>
                  <a:lnTo>
                    <a:pt x="888" y="732"/>
                  </a:lnTo>
                  <a:lnTo>
                    <a:pt x="888" y="708"/>
                  </a:lnTo>
                  <a:lnTo>
                    <a:pt x="894" y="696"/>
                  </a:lnTo>
                  <a:lnTo>
                    <a:pt x="894" y="684"/>
                  </a:lnTo>
                  <a:lnTo>
                    <a:pt x="882" y="648"/>
                  </a:lnTo>
                  <a:lnTo>
                    <a:pt x="876" y="636"/>
                  </a:lnTo>
                  <a:lnTo>
                    <a:pt x="864" y="624"/>
                  </a:lnTo>
                  <a:lnTo>
                    <a:pt x="840" y="612"/>
                  </a:lnTo>
                  <a:lnTo>
                    <a:pt x="834" y="606"/>
                  </a:lnTo>
                  <a:lnTo>
                    <a:pt x="822" y="600"/>
                  </a:lnTo>
                  <a:lnTo>
                    <a:pt x="816" y="588"/>
                  </a:lnTo>
                  <a:lnTo>
                    <a:pt x="816" y="576"/>
                  </a:lnTo>
                  <a:lnTo>
                    <a:pt x="822" y="558"/>
                  </a:lnTo>
                  <a:lnTo>
                    <a:pt x="822" y="546"/>
                  </a:lnTo>
                  <a:lnTo>
                    <a:pt x="828" y="540"/>
                  </a:lnTo>
                  <a:lnTo>
                    <a:pt x="828" y="534"/>
                  </a:lnTo>
                  <a:lnTo>
                    <a:pt x="768" y="534"/>
                  </a:lnTo>
                  <a:lnTo>
                    <a:pt x="720" y="528"/>
                  </a:lnTo>
                  <a:lnTo>
                    <a:pt x="690" y="522"/>
                  </a:lnTo>
                  <a:lnTo>
                    <a:pt x="684" y="516"/>
                  </a:lnTo>
                  <a:lnTo>
                    <a:pt x="684" y="474"/>
                  </a:lnTo>
                  <a:lnTo>
                    <a:pt x="690" y="462"/>
                  </a:lnTo>
                  <a:lnTo>
                    <a:pt x="684" y="456"/>
                  </a:lnTo>
                  <a:lnTo>
                    <a:pt x="672" y="450"/>
                  </a:lnTo>
                  <a:lnTo>
                    <a:pt x="666" y="438"/>
                  </a:lnTo>
                  <a:lnTo>
                    <a:pt x="660" y="432"/>
                  </a:lnTo>
                  <a:lnTo>
                    <a:pt x="660" y="426"/>
                  </a:lnTo>
                  <a:lnTo>
                    <a:pt x="678" y="426"/>
                  </a:lnTo>
                  <a:lnTo>
                    <a:pt x="678" y="396"/>
                  </a:lnTo>
                  <a:lnTo>
                    <a:pt x="672" y="384"/>
                  </a:lnTo>
                  <a:lnTo>
                    <a:pt x="666" y="378"/>
                  </a:lnTo>
                  <a:lnTo>
                    <a:pt x="660" y="366"/>
                  </a:lnTo>
                  <a:lnTo>
                    <a:pt x="660" y="336"/>
                  </a:lnTo>
                  <a:lnTo>
                    <a:pt x="654" y="330"/>
                  </a:lnTo>
                  <a:lnTo>
                    <a:pt x="648" y="318"/>
                  </a:lnTo>
                  <a:lnTo>
                    <a:pt x="624" y="306"/>
                  </a:lnTo>
                  <a:lnTo>
                    <a:pt x="564" y="306"/>
                  </a:lnTo>
                  <a:lnTo>
                    <a:pt x="558" y="300"/>
                  </a:lnTo>
                  <a:lnTo>
                    <a:pt x="546" y="294"/>
                  </a:lnTo>
                  <a:lnTo>
                    <a:pt x="534" y="282"/>
                  </a:lnTo>
                  <a:lnTo>
                    <a:pt x="534" y="276"/>
                  </a:lnTo>
                  <a:lnTo>
                    <a:pt x="510" y="276"/>
                  </a:lnTo>
                  <a:lnTo>
                    <a:pt x="498" y="270"/>
                  </a:lnTo>
                  <a:lnTo>
                    <a:pt x="486" y="258"/>
                  </a:lnTo>
                  <a:lnTo>
                    <a:pt x="474" y="252"/>
                  </a:lnTo>
                  <a:lnTo>
                    <a:pt x="468" y="240"/>
                  </a:lnTo>
                  <a:lnTo>
                    <a:pt x="468" y="234"/>
                  </a:lnTo>
                  <a:lnTo>
                    <a:pt x="456" y="234"/>
                  </a:lnTo>
                  <a:lnTo>
                    <a:pt x="450" y="240"/>
                  </a:lnTo>
                  <a:lnTo>
                    <a:pt x="438" y="240"/>
                  </a:lnTo>
                  <a:lnTo>
                    <a:pt x="426" y="234"/>
                  </a:lnTo>
                  <a:lnTo>
                    <a:pt x="420" y="222"/>
                  </a:lnTo>
                  <a:lnTo>
                    <a:pt x="414" y="228"/>
                  </a:lnTo>
                  <a:lnTo>
                    <a:pt x="384" y="228"/>
                  </a:lnTo>
                  <a:lnTo>
                    <a:pt x="372" y="222"/>
                  </a:lnTo>
                  <a:lnTo>
                    <a:pt x="366" y="216"/>
                  </a:lnTo>
                  <a:lnTo>
                    <a:pt x="366" y="210"/>
                  </a:lnTo>
                  <a:lnTo>
                    <a:pt x="360" y="198"/>
                  </a:lnTo>
                  <a:lnTo>
                    <a:pt x="360" y="192"/>
                  </a:lnTo>
                  <a:lnTo>
                    <a:pt x="354" y="186"/>
                  </a:lnTo>
                  <a:lnTo>
                    <a:pt x="330" y="186"/>
                  </a:lnTo>
                  <a:lnTo>
                    <a:pt x="324" y="156"/>
                  </a:lnTo>
                  <a:lnTo>
                    <a:pt x="318" y="150"/>
                  </a:lnTo>
                  <a:lnTo>
                    <a:pt x="306" y="144"/>
                  </a:lnTo>
                  <a:lnTo>
                    <a:pt x="294" y="132"/>
                  </a:lnTo>
                  <a:lnTo>
                    <a:pt x="294" y="120"/>
                  </a:lnTo>
                  <a:lnTo>
                    <a:pt x="300" y="114"/>
                  </a:lnTo>
                  <a:lnTo>
                    <a:pt x="300" y="96"/>
                  </a:lnTo>
                  <a:lnTo>
                    <a:pt x="294" y="84"/>
                  </a:lnTo>
                  <a:lnTo>
                    <a:pt x="288" y="78"/>
                  </a:lnTo>
                  <a:lnTo>
                    <a:pt x="288" y="48"/>
                  </a:lnTo>
                  <a:lnTo>
                    <a:pt x="294" y="42"/>
                  </a:lnTo>
                  <a:lnTo>
                    <a:pt x="294" y="36"/>
                  </a:lnTo>
                  <a:lnTo>
                    <a:pt x="300" y="30"/>
                  </a:lnTo>
                  <a:lnTo>
                    <a:pt x="300" y="0"/>
                  </a:lnTo>
                  <a:lnTo>
                    <a:pt x="288" y="0"/>
                  </a:lnTo>
                  <a:lnTo>
                    <a:pt x="276" y="6"/>
                  </a:lnTo>
                  <a:lnTo>
                    <a:pt x="276" y="12"/>
                  </a:lnTo>
                  <a:lnTo>
                    <a:pt x="270" y="12"/>
                  </a:lnTo>
                  <a:lnTo>
                    <a:pt x="258" y="0"/>
                  </a:lnTo>
                  <a:lnTo>
                    <a:pt x="246" y="12"/>
                  </a:lnTo>
                  <a:lnTo>
                    <a:pt x="210" y="12"/>
                  </a:lnTo>
                  <a:lnTo>
                    <a:pt x="198" y="18"/>
                  </a:lnTo>
                  <a:lnTo>
                    <a:pt x="192" y="24"/>
                  </a:lnTo>
                  <a:lnTo>
                    <a:pt x="186" y="36"/>
                  </a:lnTo>
                  <a:lnTo>
                    <a:pt x="180" y="42"/>
                  </a:lnTo>
                  <a:lnTo>
                    <a:pt x="180" y="48"/>
                  </a:lnTo>
                  <a:lnTo>
                    <a:pt x="144" y="48"/>
                  </a:lnTo>
                  <a:lnTo>
                    <a:pt x="138" y="78"/>
                  </a:lnTo>
                  <a:lnTo>
                    <a:pt x="102" y="78"/>
                  </a:lnTo>
                  <a:lnTo>
                    <a:pt x="90" y="96"/>
                  </a:lnTo>
                  <a:lnTo>
                    <a:pt x="84" y="102"/>
                  </a:lnTo>
                  <a:lnTo>
                    <a:pt x="60" y="114"/>
                  </a:lnTo>
                  <a:lnTo>
                    <a:pt x="42" y="114"/>
                  </a:lnTo>
                  <a:lnTo>
                    <a:pt x="42" y="108"/>
                  </a:lnTo>
                  <a:lnTo>
                    <a:pt x="36" y="102"/>
                  </a:lnTo>
                  <a:lnTo>
                    <a:pt x="12" y="102"/>
                  </a:lnTo>
                  <a:lnTo>
                    <a:pt x="0" y="96"/>
                  </a:lnTo>
                  <a:lnTo>
                    <a:pt x="0" y="114"/>
                  </a:lnTo>
                  <a:lnTo>
                    <a:pt x="6" y="132"/>
                  </a:lnTo>
                  <a:lnTo>
                    <a:pt x="18" y="144"/>
                  </a:lnTo>
                  <a:lnTo>
                    <a:pt x="30" y="162"/>
                  </a:lnTo>
                  <a:lnTo>
                    <a:pt x="42" y="174"/>
                  </a:lnTo>
                  <a:lnTo>
                    <a:pt x="54" y="192"/>
                  </a:lnTo>
                  <a:lnTo>
                    <a:pt x="66" y="216"/>
                  </a:lnTo>
                  <a:lnTo>
                    <a:pt x="66" y="228"/>
                  </a:lnTo>
                  <a:lnTo>
                    <a:pt x="60" y="234"/>
                  </a:lnTo>
                  <a:lnTo>
                    <a:pt x="54" y="246"/>
                  </a:lnTo>
                  <a:lnTo>
                    <a:pt x="48" y="252"/>
                  </a:lnTo>
                  <a:lnTo>
                    <a:pt x="60" y="300"/>
                  </a:lnTo>
                  <a:lnTo>
                    <a:pt x="42" y="330"/>
                  </a:lnTo>
                  <a:lnTo>
                    <a:pt x="48" y="330"/>
                  </a:lnTo>
                  <a:lnTo>
                    <a:pt x="60" y="342"/>
                  </a:lnTo>
                  <a:lnTo>
                    <a:pt x="66" y="354"/>
                  </a:lnTo>
                  <a:lnTo>
                    <a:pt x="66" y="360"/>
                  </a:lnTo>
                  <a:lnTo>
                    <a:pt x="60" y="372"/>
                  </a:lnTo>
                  <a:lnTo>
                    <a:pt x="48" y="384"/>
                  </a:lnTo>
                  <a:lnTo>
                    <a:pt x="36" y="408"/>
                  </a:lnTo>
                  <a:lnTo>
                    <a:pt x="42" y="426"/>
                  </a:lnTo>
                  <a:lnTo>
                    <a:pt x="48" y="438"/>
                  </a:lnTo>
                  <a:lnTo>
                    <a:pt x="54" y="444"/>
                  </a:lnTo>
                  <a:lnTo>
                    <a:pt x="54" y="450"/>
                  </a:lnTo>
                  <a:lnTo>
                    <a:pt x="42" y="468"/>
                  </a:lnTo>
                  <a:lnTo>
                    <a:pt x="54" y="480"/>
                  </a:lnTo>
                  <a:lnTo>
                    <a:pt x="78" y="498"/>
                  </a:lnTo>
                  <a:lnTo>
                    <a:pt x="78" y="516"/>
                  </a:lnTo>
                  <a:lnTo>
                    <a:pt x="102" y="528"/>
                  </a:lnTo>
                  <a:lnTo>
                    <a:pt x="90" y="558"/>
                  </a:lnTo>
                  <a:lnTo>
                    <a:pt x="78" y="546"/>
                  </a:lnTo>
                  <a:lnTo>
                    <a:pt x="78" y="558"/>
                  </a:lnTo>
                  <a:lnTo>
                    <a:pt x="66" y="582"/>
                  </a:lnTo>
                  <a:lnTo>
                    <a:pt x="54" y="588"/>
                  </a:lnTo>
                  <a:lnTo>
                    <a:pt x="36" y="606"/>
                  </a:lnTo>
                  <a:lnTo>
                    <a:pt x="48" y="630"/>
                  </a:lnTo>
                  <a:lnTo>
                    <a:pt x="42" y="636"/>
                  </a:lnTo>
                  <a:lnTo>
                    <a:pt x="60" y="666"/>
                  </a:lnTo>
                  <a:lnTo>
                    <a:pt x="84" y="666"/>
                  </a:lnTo>
                  <a:lnTo>
                    <a:pt x="96" y="744"/>
                  </a:lnTo>
                  <a:lnTo>
                    <a:pt x="108" y="750"/>
                  </a:lnTo>
                  <a:lnTo>
                    <a:pt x="114" y="750"/>
                  </a:lnTo>
                  <a:lnTo>
                    <a:pt x="138" y="762"/>
                  </a:lnTo>
                  <a:lnTo>
                    <a:pt x="144" y="774"/>
                  </a:lnTo>
                  <a:lnTo>
                    <a:pt x="144" y="780"/>
                  </a:lnTo>
                  <a:lnTo>
                    <a:pt x="138" y="792"/>
                  </a:lnTo>
                  <a:lnTo>
                    <a:pt x="126" y="804"/>
                  </a:lnTo>
                  <a:lnTo>
                    <a:pt x="144" y="822"/>
                  </a:lnTo>
                  <a:lnTo>
                    <a:pt x="138" y="828"/>
                  </a:lnTo>
                  <a:lnTo>
                    <a:pt x="132" y="840"/>
                  </a:lnTo>
                  <a:lnTo>
                    <a:pt x="126" y="846"/>
                  </a:lnTo>
                  <a:lnTo>
                    <a:pt x="126" y="858"/>
                  </a:lnTo>
                  <a:lnTo>
                    <a:pt x="132" y="870"/>
                  </a:lnTo>
                  <a:lnTo>
                    <a:pt x="138" y="876"/>
                  </a:lnTo>
                  <a:lnTo>
                    <a:pt x="138" y="900"/>
                  </a:lnTo>
                  <a:lnTo>
                    <a:pt x="144" y="900"/>
                  </a:lnTo>
                  <a:lnTo>
                    <a:pt x="150" y="906"/>
                  </a:lnTo>
                  <a:lnTo>
                    <a:pt x="162" y="912"/>
                  </a:lnTo>
                  <a:lnTo>
                    <a:pt x="168" y="918"/>
                  </a:lnTo>
                  <a:lnTo>
                    <a:pt x="180" y="924"/>
                  </a:lnTo>
                  <a:lnTo>
                    <a:pt x="186" y="930"/>
                  </a:lnTo>
                  <a:lnTo>
                    <a:pt x="186" y="996"/>
                  </a:lnTo>
                  <a:lnTo>
                    <a:pt x="210" y="1020"/>
                  </a:lnTo>
                  <a:lnTo>
                    <a:pt x="210" y="1044"/>
                  </a:lnTo>
                  <a:lnTo>
                    <a:pt x="216" y="1056"/>
                  </a:lnTo>
                  <a:lnTo>
                    <a:pt x="270" y="1056"/>
                  </a:lnTo>
                  <a:lnTo>
                    <a:pt x="270" y="1026"/>
                  </a:lnTo>
                  <a:lnTo>
                    <a:pt x="282" y="1026"/>
                  </a:lnTo>
                  <a:lnTo>
                    <a:pt x="282" y="1008"/>
                  </a:lnTo>
                  <a:lnTo>
                    <a:pt x="306" y="1002"/>
                  </a:lnTo>
                  <a:lnTo>
                    <a:pt x="318" y="978"/>
                  </a:lnTo>
                  <a:lnTo>
                    <a:pt x="324" y="984"/>
                  </a:lnTo>
                  <a:lnTo>
                    <a:pt x="348" y="996"/>
                  </a:lnTo>
                  <a:lnTo>
                    <a:pt x="360" y="996"/>
                  </a:lnTo>
                  <a:lnTo>
                    <a:pt x="378" y="1002"/>
                  </a:lnTo>
                  <a:lnTo>
                    <a:pt x="432" y="1002"/>
                  </a:lnTo>
                  <a:lnTo>
                    <a:pt x="462" y="1050"/>
                  </a:lnTo>
                  <a:lnTo>
                    <a:pt x="474" y="996"/>
                  </a:lnTo>
                  <a:lnTo>
                    <a:pt x="546" y="990"/>
                  </a:lnTo>
                  <a:lnTo>
                    <a:pt x="582" y="1014"/>
                  </a:lnTo>
                  <a:lnTo>
                    <a:pt x="582" y="996"/>
                  </a:lnTo>
                  <a:lnTo>
                    <a:pt x="594" y="924"/>
                  </a:lnTo>
                  <a:lnTo>
                    <a:pt x="594" y="900"/>
                  </a:lnTo>
                  <a:lnTo>
                    <a:pt x="588" y="894"/>
                  </a:lnTo>
                  <a:lnTo>
                    <a:pt x="588" y="888"/>
                  </a:lnTo>
                  <a:lnTo>
                    <a:pt x="576" y="864"/>
                  </a:lnTo>
                  <a:lnTo>
                    <a:pt x="576" y="852"/>
                  </a:lnTo>
                  <a:lnTo>
                    <a:pt x="582" y="846"/>
                  </a:lnTo>
                  <a:lnTo>
                    <a:pt x="594" y="840"/>
                  </a:lnTo>
                  <a:lnTo>
                    <a:pt x="606" y="828"/>
                  </a:lnTo>
                  <a:lnTo>
                    <a:pt x="612" y="798"/>
                  </a:lnTo>
                  <a:lnTo>
                    <a:pt x="714" y="780"/>
                  </a:lnTo>
                  <a:lnTo>
                    <a:pt x="792" y="768"/>
                  </a:lnTo>
                  <a:lnTo>
                    <a:pt x="846" y="810"/>
                  </a:lnTo>
                  <a:lnTo>
                    <a:pt x="864" y="846"/>
                  </a:lnTo>
                  <a:lnTo>
                    <a:pt x="864" y="840"/>
                  </a:lnTo>
                  <a:lnTo>
                    <a:pt x="870" y="834"/>
                  </a:lnTo>
                  <a:lnTo>
                    <a:pt x="882" y="828"/>
                  </a:lnTo>
                  <a:lnTo>
                    <a:pt x="888" y="822"/>
                  </a:lnTo>
                  <a:lnTo>
                    <a:pt x="876" y="816"/>
                  </a:lnTo>
                  <a:lnTo>
                    <a:pt x="870" y="810"/>
                  </a:lnTo>
                  <a:lnTo>
                    <a:pt x="870" y="786"/>
                  </a:lnTo>
                  <a:lnTo>
                    <a:pt x="876" y="774"/>
                  </a:lnTo>
                  <a:lnTo>
                    <a:pt x="882" y="768"/>
                  </a:lnTo>
                  <a:lnTo>
                    <a:pt x="888" y="756"/>
                  </a:lnTo>
                  <a:lnTo>
                    <a:pt x="882" y="744"/>
                  </a:lnTo>
                  <a:close/>
                </a:path>
              </a:pathLst>
            </a:custGeom>
            <a:solidFill>
              <a:srgbClr val="658B26"/>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97" name="Bhutan" descr="© INSCALE GmbH, 05.05.2010&#10;http://www.presentationload.com/"/>
            <p:cNvSpPr>
              <a:spLocks/>
            </p:cNvSpPr>
            <p:nvPr/>
          </p:nvSpPr>
          <p:spPr bwMode="gray">
            <a:xfrm>
              <a:off x="6686556" y="3159125"/>
              <a:ext cx="93662" cy="53975"/>
            </a:xfrm>
            <a:custGeom>
              <a:avLst/>
              <a:gdLst>
                <a:gd name="T0" fmla="*/ 2147483647 w 234"/>
                <a:gd name="T1" fmla="*/ 2147483647 h 132"/>
                <a:gd name="T2" fmla="*/ 2147483647 w 234"/>
                <a:gd name="T3" fmla="*/ 2147483647 h 132"/>
                <a:gd name="T4" fmla="*/ 2147483647 w 234"/>
                <a:gd name="T5" fmla="*/ 2147483647 h 132"/>
                <a:gd name="T6" fmla="*/ 2147483647 w 234"/>
                <a:gd name="T7" fmla="*/ 2147483647 h 132"/>
                <a:gd name="T8" fmla="*/ 2147483647 w 234"/>
                <a:gd name="T9" fmla="*/ 2147483647 h 132"/>
                <a:gd name="T10" fmla="*/ 2147483647 w 234"/>
                <a:gd name="T11" fmla="*/ 2147483647 h 132"/>
                <a:gd name="T12" fmla="*/ 2147483647 w 234"/>
                <a:gd name="T13" fmla="*/ 2147483647 h 132"/>
                <a:gd name="T14" fmla="*/ 2147483647 w 234"/>
                <a:gd name="T15" fmla="*/ 2147483647 h 132"/>
                <a:gd name="T16" fmla="*/ 2147483647 w 234"/>
                <a:gd name="T17" fmla="*/ 2147483647 h 132"/>
                <a:gd name="T18" fmla="*/ 2147483647 w 234"/>
                <a:gd name="T19" fmla="*/ 2147483647 h 132"/>
                <a:gd name="T20" fmla="*/ 2147483647 w 234"/>
                <a:gd name="T21" fmla="*/ 2147483647 h 132"/>
                <a:gd name="T22" fmla="*/ 2147483647 w 234"/>
                <a:gd name="T23" fmla="*/ 2147483647 h 132"/>
                <a:gd name="T24" fmla="*/ 2147483647 w 234"/>
                <a:gd name="T25" fmla="*/ 2147483647 h 132"/>
                <a:gd name="T26" fmla="*/ 2147483647 w 234"/>
                <a:gd name="T27" fmla="*/ 2147483647 h 132"/>
                <a:gd name="T28" fmla="*/ 2147483647 w 234"/>
                <a:gd name="T29" fmla="*/ 2147483647 h 132"/>
                <a:gd name="T30" fmla="*/ 2147483647 w 234"/>
                <a:gd name="T31" fmla="*/ 2147483647 h 132"/>
                <a:gd name="T32" fmla="*/ 2147483647 w 234"/>
                <a:gd name="T33" fmla="*/ 2147483647 h 132"/>
                <a:gd name="T34" fmla="*/ 2147483647 w 234"/>
                <a:gd name="T35" fmla="*/ 2147483647 h 132"/>
                <a:gd name="T36" fmla="*/ 2147483647 w 234"/>
                <a:gd name="T37" fmla="*/ 2147483647 h 132"/>
                <a:gd name="T38" fmla="*/ 2147483647 w 234"/>
                <a:gd name="T39" fmla="*/ 2147483647 h 132"/>
                <a:gd name="T40" fmla="*/ 2147483647 w 234"/>
                <a:gd name="T41" fmla="*/ 2147483647 h 132"/>
                <a:gd name="T42" fmla="*/ 2147483647 w 234"/>
                <a:gd name="T43" fmla="*/ 2147483647 h 132"/>
                <a:gd name="T44" fmla="*/ 2147483647 w 234"/>
                <a:gd name="T45" fmla="*/ 2147483647 h 132"/>
                <a:gd name="T46" fmla="*/ 2147483647 w 234"/>
                <a:gd name="T47" fmla="*/ 2147483647 h 132"/>
                <a:gd name="T48" fmla="*/ 2147483647 w 234"/>
                <a:gd name="T49" fmla="*/ 2147483647 h 132"/>
                <a:gd name="T50" fmla="*/ 2147483647 w 234"/>
                <a:gd name="T51" fmla="*/ 2147483647 h 132"/>
                <a:gd name="T52" fmla="*/ 2147483647 w 234"/>
                <a:gd name="T53" fmla="*/ 2147483647 h 132"/>
                <a:gd name="T54" fmla="*/ 2147483647 w 234"/>
                <a:gd name="T55" fmla="*/ 2147483647 h 132"/>
                <a:gd name="T56" fmla="*/ 2147483647 w 234"/>
                <a:gd name="T57" fmla="*/ 2147483647 h 132"/>
                <a:gd name="T58" fmla="*/ 2147483647 w 234"/>
                <a:gd name="T59" fmla="*/ 0 h 132"/>
                <a:gd name="T60" fmla="*/ 2147483647 w 234"/>
                <a:gd name="T61" fmla="*/ 0 h 132"/>
                <a:gd name="T62" fmla="*/ 2147483647 w 234"/>
                <a:gd name="T63" fmla="*/ 2147483647 h 132"/>
                <a:gd name="T64" fmla="*/ 2147483647 w 234"/>
                <a:gd name="T65" fmla="*/ 2147483647 h 132"/>
                <a:gd name="T66" fmla="*/ 2147483647 w 234"/>
                <a:gd name="T67" fmla="*/ 2147483647 h 132"/>
                <a:gd name="T68" fmla="*/ 2147483647 w 234"/>
                <a:gd name="T69" fmla="*/ 2147483647 h 132"/>
                <a:gd name="T70" fmla="*/ 2147483647 w 234"/>
                <a:gd name="T71" fmla="*/ 2147483647 h 132"/>
                <a:gd name="T72" fmla="*/ 2147483647 w 234"/>
                <a:gd name="T73" fmla="*/ 2147483647 h 132"/>
                <a:gd name="T74" fmla="*/ 2147483647 w 234"/>
                <a:gd name="T75" fmla="*/ 2147483647 h 132"/>
                <a:gd name="T76" fmla="*/ 0 w 234"/>
                <a:gd name="T77" fmla="*/ 2147483647 h 132"/>
                <a:gd name="T78" fmla="*/ 0 w 234"/>
                <a:gd name="T79" fmla="*/ 2147483647 h 132"/>
                <a:gd name="T80" fmla="*/ 2147483647 w 234"/>
                <a:gd name="T81" fmla="*/ 2147483647 h 132"/>
                <a:gd name="T82" fmla="*/ 2147483647 w 234"/>
                <a:gd name="T83" fmla="*/ 2147483647 h 132"/>
                <a:gd name="T84" fmla="*/ 2147483647 w 234"/>
                <a:gd name="T85" fmla="*/ 2147483647 h 132"/>
                <a:gd name="T86" fmla="*/ 2147483647 w 234"/>
                <a:gd name="T87" fmla="*/ 2147483647 h 132"/>
                <a:gd name="T88" fmla="*/ 2147483647 w 234"/>
                <a:gd name="T89" fmla="*/ 2147483647 h 132"/>
                <a:gd name="T90" fmla="*/ 2147483647 w 234"/>
                <a:gd name="T91" fmla="*/ 2147483647 h 132"/>
                <a:gd name="T92" fmla="*/ 2147483647 w 234"/>
                <a:gd name="T93" fmla="*/ 2147483647 h 13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34"/>
                <a:gd name="T142" fmla="*/ 0 h 132"/>
                <a:gd name="T143" fmla="*/ 234 w 234"/>
                <a:gd name="T144" fmla="*/ 132 h 13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34" h="132">
                  <a:moveTo>
                    <a:pt x="78" y="132"/>
                  </a:moveTo>
                  <a:lnTo>
                    <a:pt x="90" y="132"/>
                  </a:lnTo>
                  <a:lnTo>
                    <a:pt x="102" y="126"/>
                  </a:lnTo>
                  <a:lnTo>
                    <a:pt x="108" y="120"/>
                  </a:lnTo>
                  <a:lnTo>
                    <a:pt x="126" y="120"/>
                  </a:lnTo>
                  <a:lnTo>
                    <a:pt x="138" y="126"/>
                  </a:lnTo>
                  <a:lnTo>
                    <a:pt x="168" y="126"/>
                  </a:lnTo>
                  <a:lnTo>
                    <a:pt x="180" y="120"/>
                  </a:lnTo>
                  <a:lnTo>
                    <a:pt x="192" y="120"/>
                  </a:lnTo>
                  <a:lnTo>
                    <a:pt x="198" y="126"/>
                  </a:lnTo>
                  <a:lnTo>
                    <a:pt x="210" y="126"/>
                  </a:lnTo>
                  <a:lnTo>
                    <a:pt x="234" y="114"/>
                  </a:lnTo>
                  <a:lnTo>
                    <a:pt x="234" y="108"/>
                  </a:lnTo>
                  <a:lnTo>
                    <a:pt x="222" y="96"/>
                  </a:lnTo>
                  <a:lnTo>
                    <a:pt x="222" y="72"/>
                  </a:lnTo>
                  <a:lnTo>
                    <a:pt x="198" y="72"/>
                  </a:lnTo>
                  <a:lnTo>
                    <a:pt x="192" y="66"/>
                  </a:lnTo>
                  <a:lnTo>
                    <a:pt x="192" y="42"/>
                  </a:lnTo>
                  <a:lnTo>
                    <a:pt x="186" y="30"/>
                  </a:lnTo>
                  <a:lnTo>
                    <a:pt x="174" y="18"/>
                  </a:lnTo>
                  <a:lnTo>
                    <a:pt x="162" y="12"/>
                  </a:lnTo>
                  <a:lnTo>
                    <a:pt x="150" y="12"/>
                  </a:lnTo>
                  <a:lnTo>
                    <a:pt x="138" y="18"/>
                  </a:lnTo>
                  <a:lnTo>
                    <a:pt x="126" y="18"/>
                  </a:lnTo>
                  <a:lnTo>
                    <a:pt x="114" y="24"/>
                  </a:lnTo>
                  <a:lnTo>
                    <a:pt x="108" y="30"/>
                  </a:lnTo>
                  <a:lnTo>
                    <a:pt x="102" y="30"/>
                  </a:lnTo>
                  <a:lnTo>
                    <a:pt x="102" y="6"/>
                  </a:lnTo>
                  <a:lnTo>
                    <a:pt x="78" y="6"/>
                  </a:lnTo>
                  <a:lnTo>
                    <a:pt x="66" y="0"/>
                  </a:lnTo>
                  <a:lnTo>
                    <a:pt x="54" y="0"/>
                  </a:lnTo>
                  <a:lnTo>
                    <a:pt x="48" y="12"/>
                  </a:lnTo>
                  <a:lnTo>
                    <a:pt x="36" y="24"/>
                  </a:lnTo>
                  <a:lnTo>
                    <a:pt x="30" y="36"/>
                  </a:lnTo>
                  <a:lnTo>
                    <a:pt x="18" y="54"/>
                  </a:lnTo>
                  <a:lnTo>
                    <a:pt x="12" y="66"/>
                  </a:lnTo>
                  <a:lnTo>
                    <a:pt x="6" y="72"/>
                  </a:lnTo>
                  <a:lnTo>
                    <a:pt x="6" y="78"/>
                  </a:lnTo>
                  <a:lnTo>
                    <a:pt x="0" y="78"/>
                  </a:lnTo>
                  <a:lnTo>
                    <a:pt x="0" y="90"/>
                  </a:lnTo>
                  <a:lnTo>
                    <a:pt x="18" y="108"/>
                  </a:lnTo>
                  <a:lnTo>
                    <a:pt x="42" y="120"/>
                  </a:lnTo>
                  <a:lnTo>
                    <a:pt x="54" y="120"/>
                  </a:lnTo>
                  <a:lnTo>
                    <a:pt x="54" y="114"/>
                  </a:lnTo>
                  <a:lnTo>
                    <a:pt x="54" y="120"/>
                  </a:lnTo>
                  <a:lnTo>
                    <a:pt x="66" y="132"/>
                  </a:lnTo>
                  <a:lnTo>
                    <a:pt x="78" y="132"/>
                  </a:lnTo>
                  <a:close/>
                </a:path>
              </a:pathLst>
            </a:custGeom>
            <a:solidFill>
              <a:srgbClr val="FFC000"/>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98" name="Benin" descr="© INSCALE GmbH, 05.05.2010&#10;http://www.presentationload.com/"/>
            <p:cNvSpPr>
              <a:spLocks/>
            </p:cNvSpPr>
            <p:nvPr/>
          </p:nvSpPr>
          <p:spPr bwMode="gray">
            <a:xfrm>
              <a:off x="4237042" y="3676649"/>
              <a:ext cx="88900" cy="200025"/>
            </a:xfrm>
            <a:custGeom>
              <a:avLst/>
              <a:gdLst>
                <a:gd name="T0" fmla="*/ 2147483647 w 222"/>
                <a:gd name="T1" fmla="*/ 2147483647 h 498"/>
                <a:gd name="T2" fmla="*/ 2147483647 w 222"/>
                <a:gd name="T3" fmla="*/ 2147483647 h 498"/>
                <a:gd name="T4" fmla="*/ 2147483647 w 222"/>
                <a:gd name="T5" fmla="*/ 2147483647 h 498"/>
                <a:gd name="T6" fmla="*/ 2147483647 w 222"/>
                <a:gd name="T7" fmla="*/ 2147483647 h 498"/>
                <a:gd name="T8" fmla="*/ 2147483647 w 222"/>
                <a:gd name="T9" fmla="*/ 2147483647 h 498"/>
                <a:gd name="T10" fmla="*/ 2147483647 w 222"/>
                <a:gd name="T11" fmla="*/ 2147483647 h 498"/>
                <a:gd name="T12" fmla="*/ 2147483647 w 222"/>
                <a:gd name="T13" fmla="*/ 2147483647 h 498"/>
                <a:gd name="T14" fmla="*/ 2147483647 w 222"/>
                <a:gd name="T15" fmla="*/ 2147483647 h 498"/>
                <a:gd name="T16" fmla="*/ 2147483647 w 222"/>
                <a:gd name="T17" fmla="*/ 2147483647 h 498"/>
                <a:gd name="T18" fmla="*/ 2147483647 w 222"/>
                <a:gd name="T19" fmla="*/ 2147483647 h 498"/>
                <a:gd name="T20" fmla="*/ 2147483647 w 222"/>
                <a:gd name="T21" fmla="*/ 2147483647 h 498"/>
                <a:gd name="T22" fmla="*/ 2147483647 w 222"/>
                <a:gd name="T23" fmla="*/ 2147483647 h 498"/>
                <a:gd name="T24" fmla="*/ 2147483647 w 222"/>
                <a:gd name="T25" fmla="*/ 2147483647 h 498"/>
                <a:gd name="T26" fmla="*/ 2147483647 w 222"/>
                <a:gd name="T27" fmla="*/ 2147483647 h 498"/>
                <a:gd name="T28" fmla="*/ 2147483647 w 222"/>
                <a:gd name="T29" fmla="*/ 2147483647 h 498"/>
                <a:gd name="T30" fmla="*/ 2147483647 w 222"/>
                <a:gd name="T31" fmla="*/ 2147483647 h 498"/>
                <a:gd name="T32" fmla="*/ 2147483647 w 222"/>
                <a:gd name="T33" fmla="*/ 2147483647 h 498"/>
                <a:gd name="T34" fmla="*/ 2147483647 w 222"/>
                <a:gd name="T35" fmla="*/ 2147483647 h 498"/>
                <a:gd name="T36" fmla="*/ 2147483647 w 222"/>
                <a:gd name="T37" fmla="*/ 2147483647 h 498"/>
                <a:gd name="T38" fmla="*/ 2147483647 w 222"/>
                <a:gd name="T39" fmla="*/ 2147483647 h 498"/>
                <a:gd name="T40" fmla="*/ 2147483647 w 222"/>
                <a:gd name="T41" fmla="*/ 2147483647 h 498"/>
                <a:gd name="T42" fmla="*/ 2147483647 w 222"/>
                <a:gd name="T43" fmla="*/ 2147483647 h 498"/>
                <a:gd name="T44" fmla="*/ 2147483647 w 222"/>
                <a:gd name="T45" fmla="*/ 2147483647 h 498"/>
                <a:gd name="T46" fmla="*/ 0 w 222"/>
                <a:gd name="T47" fmla="*/ 2147483647 h 498"/>
                <a:gd name="T48" fmla="*/ 2147483647 w 222"/>
                <a:gd name="T49" fmla="*/ 2147483647 h 498"/>
                <a:gd name="T50" fmla="*/ 2147483647 w 222"/>
                <a:gd name="T51" fmla="*/ 2147483647 h 498"/>
                <a:gd name="T52" fmla="*/ 2147483647 w 222"/>
                <a:gd name="T53" fmla="*/ 2147483647 h 498"/>
                <a:gd name="T54" fmla="*/ 2147483647 w 222"/>
                <a:gd name="T55" fmla="*/ 2147483647 h 498"/>
                <a:gd name="T56" fmla="*/ 2147483647 w 222"/>
                <a:gd name="T57" fmla="*/ 2147483647 h 498"/>
                <a:gd name="T58" fmla="*/ 2147483647 w 222"/>
                <a:gd name="T59" fmla="*/ 2147483647 h 498"/>
                <a:gd name="T60" fmla="*/ 2147483647 w 222"/>
                <a:gd name="T61" fmla="*/ 2147483647 h 498"/>
                <a:gd name="T62" fmla="*/ 2147483647 w 222"/>
                <a:gd name="T63" fmla="*/ 2147483647 h 498"/>
                <a:gd name="T64" fmla="*/ 2147483647 w 222"/>
                <a:gd name="T65" fmla="*/ 2147483647 h 498"/>
                <a:gd name="T66" fmla="*/ 2147483647 w 222"/>
                <a:gd name="T67" fmla="*/ 2147483647 h 498"/>
                <a:gd name="T68" fmla="*/ 2147483647 w 222"/>
                <a:gd name="T69" fmla="*/ 2147483647 h 49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22"/>
                <a:gd name="T106" fmla="*/ 0 h 498"/>
                <a:gd name="T107" fmla="*/ 222 w 222"/>
                <a:gd name="T108" fmla="*/ 498 h 49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22" h="498">
                  <a:moveTo>
                    <a:pt x="138" y="372"/>
                  </a:moveTo>
                  <a:lnTo>
                    <a:pt x="144" y="342"/>
                  </a:lnTo>
                  <a:lnTo>
                    <a:pt x="138" y="306"/>
                  </a:lnTo>
                  <a:lnTo>
                    <a:pt x="144" y="276"/>
                  </a:lnTo>
                  <a:lnTo>
                    <a:pt x="162" y="276"/>
                  </a:lnTo>
                  <a:lnTo>
                    <a:pt x="174" y="252"/>
                  </a:lnTo>
                  <a:lnTo>
                    <a:pt x="174" y="222"/>
                  </a:lnTo>
                  <a:lnTo>
                    <a:pt x="180" y="216"/>
                  </a:lnTo>
                  <a:lnTo>
                    <a:pt x="186" y="204"/>
                  </a:lnTo>
                  <a:lnTo>
                    <a:pt x="198" y="198"/>
                  </a:lnTo>
                  <a:lnTo>
                    <a:pt x="198" y="156"/>
                  </a:lnTo>
                  <a:lnTo>
                    <a:pt x="210" y="150"/>
                  </a:lnTo>
                  <a:lnTo>
                    <a:pt x="216" y="150"/>
                  </a:lnTo>
                  <a:lnTo>
                    <a:pt x="222" y="144"/>
                  </a:lnTo>
                  <a:lnTo>
                    <a:pt x="222" y="132"/>
                  </a:lnTo>
                  <a:lnTo>
                    <a:pt x="216" y="126"/>
                  </a:lnTo>
                  <a:lnTo>
                    <a:pt x="216" y="114"/>
                  </a:lnTo>
                  <a:lnTo>
                    <a:pt x="210" y="102"/>
                  </a:lnTo>
                  <a:lnTo>
                    <a:pt x="204" y="96"/>
                  </a:lnTo>
                  <a:lnTo>
                    <a:pt x="192" y="72"/>
                  </a:lnTo>
                  <a:lnTo>
                    <a:pt x="198" y="66"/>
                  </a:lnTo>
                  <a:lnTo>
                    <a:pt x="198" y="60"/>
                  </a:lnTo>
                  <a:lnTo>
                    <a:pt x="204" y="48"/>
                  </a:lnTo>
                  <a:lnTo>
                    <a:pt x="198" y="42"/>
                  </a:lnTo>
                  <a:lnTo>
                    <a:pt x="186" y="36"/>
                  </a:lnTo>
                  <a:lnTo>
                    <a:pt x="180" y="36"/>
                  </a:lnTo>
                  <a:lnTo>
                    <a:pt x="174" y="30"/>
                  </a:lnTo>
                  <a:lnTo>
                    <a:pt x="168" y="30"/>
                  </a:lnTo>
                  <a:lnTo>
                    <a:pt x="162" y="24"/>
                  </a:lnTo>
                  <a:lnTo>
                    <a:pt x="156" y="12"/>
                  </a:lnTo>
                  <a:lnTo>
                    <a:pt x="144" y="0"/>
                  </a:lnTo>
                  <a:lnTo>
                    <a:pt x="114" y="12"/>
                  </a:lnTo>
                  <a:lnTo>
                    <a:pt x="114" y="36"/>
                  </a:lnTo>
                  <a:lnTo>
                    <a:pt x="120" y="36"/>
                  </a:lnTo>
                  <a:lnTo>
                    <a:pt x="114" y="42"/>
                  </a:lnTo>
                  <a:lnTo>
                    <a:pt x="108" y="60"/>
                  </a:lnTo>
                  <a:lnTo>
                    <a:pt x="96" y="60"/>
                  </a:lnTo>
                  <a:lnTo>
                    <a:pt x="90" y="66"/>
                  </a:lnTo>
                  <a:lnTo>
                    <a:pt x="84" y="66"/>
                  </a:lnTo>
                  <a:lnTo>
                    <a:pt x="84" y="78"/>
                  </a:lnTo>
                  <a:lnTo>
                    <a:pt x="78" y="72"/>
                  </a:lnTo>
                  <a:lnTo>
                    <a:pt x="48" y="72"/>
                  </a:lnTo>
                  <a:lnTo>
                    <a:pt x="30" y="90"/>
                  </a:lnTo>
                  <a:lnTo>
                    <a:pt x="24" y="102"/>
                  </a:lnTo>
                  <a:lnTo>
                    <a:pt x="12" y="102"/>
                  </a:lnTo>
                  <a:lnTo>
                    <a:pt x="6" y="114"/>
                  </a:lnTo>
                  <a:lnTo>
                    <a:pt x="0" y="132"/>
                  </a:lnTo>
                  <a:lnTo>
                    <a:pt x="0" y="162"/>
                  </a:lnTo>
                  <a:lnTo>
                    <a:pt x="12" y="168"/>
                  </a:lnTo>
                  <a:lnTo>
                    <a:pt x="42" y="198"/>
                  </a:lnTo>
                  <a:lnTo>
                    <a:pt x="42" y="240"/>
                  </a:lnTo>
                  <a:lnTo>
                    <a:pt x="54" y="252"/>
                  </a:lnTo>
                  <a:lnTo>
                    <a:pt x="60" y="264"/>
                  </a:lnTo>
                  <a:lnTo>
                    <a:pt x="60" y="294"/>
                  </a:lnTo>
                  <a:lnTo>
                    <a:pt x="66" y="306"/>
                  </a:lnTo>
                  <a:lnTo>
                    <a:pt x="54" y="318"/>
                  </a:lnTo>
                  <a:lnTo>
                    <a:pt x="54" y="378"/>
                  </a:lnTo>
                  <a:lnTo>
                    <a:pt x="66" y="390"/>
                  </a:lnTo>
                  <a:lnTo>
                    <a:pt x="54" y="396"/>
                  </a:lnTo>
                  <a:lnTo>
                    <a:pt x="60" y="462"/>
                  </a:lnTo>
                  <a:lnTo>
                    <a:pt x="60" y="468"/>
                  </a:lnTo>
                  <a:lnTo>
                    <a:pt x="72" y="480"/>
                  </a:lnTo>
                  <a:lnTo>
                    <a:pt x="72" y="492"/>
                  </a:lnTo>
                  <a:lnTo>
                    <a:pt x="84" y="492"/>
                  </a:lnTo>
                  <a:lnTo>
                    <a:pt x="96" y="498"/>
                  </a:lnTo>
                  <a:lnTo>
                    <a:pt x="108" y="498"/>
                  </a:lnTo>
                  <a:lnTo>
                    <a:pt x="120" y="474"/>
                  </a:lnTo>
                  <a:lnTo>
                    <a:pt x="126" y="480"/>
                  </a:lnTo>
                  <a:lnTo>
                    <a:pt x="138" y="486"/>
                  </a:lnTo>
                  <a:lnTo>
                    <a:pt x="138" y="372"/>
                  </a:lnTo>
                  <a:close/>
                </a:path>
              </a:pathLst>
            </a:custGeom>
            <a:solidFill>
              <a:srgbClr val="692864"/>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199" name="Belize" descr="© INSCALE GmbH, 05.05.2010&#10;http://www.presentationload.com/"/>
            <p:cNvSpPr>
              <a:spLocks/>
            </p:cNvSpPr>
            <p:nvPr/>
          </p:nvSpPr>
          <p:spPr bwMode="gray">
            <a:xfrm>
              <a:off x="1687515" y="3478212"/>
              <a:ext cx="42862" cy="85725"/>
            </a:xfrm>
            <a:custGeom>
              <a:avLst/>
              <a:gdLst>
                <a:gd name="T0" fmla="*/ 2147483647 w 108"/>
                <a:gd name="T1" fmla="*/ 2147483647 h 210"/>
                <a:gd name="T2" fmla="*/ 2147483647 w 108"/>
                <a:gd name="T3" fmla="*/ 2147483647 h 210"/>
                <a:gd name="T4" fmla="*/ 2147483647 w 108"/>
                <a:gd name="T5" fmla="*/ 2147483647 h 210"/>
                <a:gd name="T6" fmla="*/ 2147483647 w 108"/>
                <a:gd name="T7" fmla="*/ 2147483647 h 210"/>
                <a:gd name="T8" fmla="*/ 2147483647 w 108"/>
                <a:gd name="T9" fmla="*/ 2147483647 h 210"/>
                <a:gd name="T10" fmla="*/ 2147483647 w 108"/>
                <a:gd name="T11" fmla="*/ 0 h 210"/>
                <a:gd name="T12" fmla="*/ 2147483647 w 108"/>
                <a:gd name="T13" fmla="*/ 2147483647 h 210"/>
                <a:gd name="T14" fmla="*/ 2147483647 w 108"/>
                <a:gd name="T15" fmla="*/ 2147483647 h 210"/>
                <a:gd name="T16" fmla="*/ 2147483647 w 108"/>
                <a:gd name="T17" fmla="*/ 2147483647 h 210"/>
                <a:gd name="T18" fmla="*/ 2147483647 w 108"/>
                <a:gd name="T19" fmla="*/ 2147483647 h 210"/>
                <a:gd name="T20" fmla="*/ 2147483647 w 108"/>
                <a:gd name="T21" fmla="*/ 2147483647 h 210"/>
                <a:gd name="T22" fmla="*/ 2147483647 w 108"/>
                <a:gd name="T23" fmla="*/ 2147483647 h 210"/>
                <a:gd name="T24" fmla="*/ 2147483647 w 108"/>
                <a:gd name="T25" fmla="*/ 2147483647 h 210"/>
                <a:gd name="T26" fmla="*/ 2147483647 w 108"/>
                <a:gd name="T27" fmla="*/ 2147483647 h 210"/>
                <a:gd name="T28" fmla="*/ 2147483647 w 108"/>
                <a:gd name="T29" fmla="*/ 2147483647 h 210"/>
                <a:gd name="T30" fmla="*/ 2147483647 w 108"/>
                <a:gd name="T31" fmla="*/ 2147483647 h 210"/>
                <a:gd name="T32" fmla="*/ 2147483647 w 108"/>
                <a:gd name="T33" fmla="*/ 2147483647 h 210"/>
                <a:gd name="T34" fmla="*/ 2147483647 w 108"/>
                <a:gd name="T35" fmla="*/ 2147483647 h 210"/>
                <a:gd name="T36" fmla="*/ 0 w 108"/>
                <a:gd name="T37" fmla="*/ 2147483647 h 210"/>
                <a:gd name="T38" fmla="*/ 2147483647 w 108"/>
                <a:gd name="T39" fmla="*/ 2147483647 h 210"/>
                <a:gd name="T40" fmla="*/ 2147483647 w 108"/>
                <a:gd name="T41" fmla="*/ 2147483647 h 210"/>
                <a:gd name="T42" fmla="*/ 2147483647 w 108"/>
                <a:gd name="T43" fmla="*/ 2147483647 h 210"/>
                <a:gd name="T44" fmla="*/ 2147483647 w 108"/>
                <a:gd name="T45" fmla="*/ 2147483647 h 210"/>
                <a:gd name="T46" fmla="*/ 2147483647 w 108"/>
                <a:gd name="T47" fmla="*/ 2147483647 h 210"/>
                <a:gd name="T48" fmla="*/ 2147483647 w 108"/>
                <a:gd name="T49" fmla="*/ 2147483647 h 210"/>
                <a:gd name="T50" fmla="*/ 2147483647 w 108"/>
                <a:gd name="T51" fmla="*/ 2147483647 h 210"/>
                <a:gd name="T52" fmla="*/ 2147483647 w 108"/>
                <a:gd name="T53" fmla="*/ 2147483647 h 210"/>
                <a:gd name="T54" fmla="*/ 2147483647 w 108"/>
                <a:gd name="T55" fmla="*/ 2147483647 h 21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8"/>
                <a:gd name="T85" fmla="*/ 0 h 210"/>
                <a:gd name="T86" fmla="*/ 108 w 108"/>
                <a:gd name="T87" fmla="*/ 210 h 21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8" h="210">
                  <a:moveTo>
                    <a:pt x="108" y="30"/>
                  </a:moveTo>
                  <a:lnTo>
                    <a:pt x="108" y="24"/>
                  </a:lnTo>
                  <a:lnTo>
                    <a:pt x="102" y="24"/>
                  </a:lnTo>
                  <a:lnTo>
                    <a:pt x="90" y="18"/>
                  </a:lnTo>
                  <a:lnTo>
                    <a:pt x="84" y="12"/>
                  </a:lnTo>
                  <a:lnTo>
                    <a:pt x="78" y="0"/>
                  </a:lnTo>
                  <a:lnTo>
                    <a:pt x="78" y="6"/>
                  </a:lnTo>
                  <a:lnTo>
                    <a:pt x="72" y="12"/>
                  </a:lnTo>
                  <a:lnTo>
                    <a:pt x="72" y="24"/>
                  </a:lnTo>
                  <a:lnTo>
                    <a:pt x="66" y="36"/>
                  </a:lnTo>
                  <a:lnTo>
                    <a:pt x="54" y="42"/>
                  </a:lnTo>
                  <a:lnTo>
                    <a:pt x="48" y="48"/>
                  </a:lnTo>
                  <a:lnTo>
                    <a:pt x="42" y="48"/>
                  </a:lnTo>
                  <a:lnTo>
                    <a:pt x="42" y="42"/>
                  </a:lnTo>
                  <a:lnTo>
                    <a:pt x="36" y="36"/>
                  </a:lnTo>
                  <a:lnTo>
                    <a:pt x="30" y="36"/>
                  </a:lnTo>
                  <a:lnTo>
                    <a:pt x="30" y="42"/>
                  </a:lnTo>
                  <a:lnTo>
                    <a:pt x="24" y="54"/>
                  </a:lnTo>
                  <a:lnTo>
                    <a:pt x="0" y="210"/>
                  </a:lnTo>
                  <a:lnTo>
                    <a:pt x="30" y="210"/>
                  </a:lnTo>
                  <a:lnTo>
                    <a:pt x="42" y="168"/>
                  </a:lnTo>
                  <a:lnTo>
                    <a:pt x="60" y="174"/>
                  </a:lnTo>
                  <a:lnTo>
                    <a:pt x="84" y="150"/>
                  </a:lnTo>
                  <a:lnTo>
                    <a:pt x="84" y="90"/>
                  </a:lnTo>
                  <a:lnTo>
                    <a:pt x="90" y="78"/>
                  </a:lnTo>
                  <a:lnTo>
                    <a:pt x="96" y="60"/>
                  </a:lnTo>
                  <a:lnTo>
                    <a:pt x="108" y="36"/>
                  </a:lnTo>
                  <a:lnTo>
                    <a:pt x="108" y="30"/>
                  </a:lnTo>
                  <a:close/>
                </a:path>
              </a:pathLst>
            </a:custGeom>
            <a:solidFill>
              <a:srgbClr val="658B26"/>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200" name="Belgium" descr="© INSCALE GmbH, 05.05.2010&#10;http://www.presentationload.com/"/>
            <p:cNvSpPr>
              <a:spLocks/>
            </p:cNvSpPr>
            <p:nvPr/>
          </p:nvSpPr>
          <p:spPr bwMode="gray">
            <a:xfrm>
              <a:off x="4318233" y="2427287"/>
              <a:ext cx="103187" cy="63499"/>
            </a:xfrm>
            <a:custGeom>
              <a:avLst/>
              <a:gdLst>
                <a:gd name="T0" fmla="*/ 0 w 222"/>
                <a:gd name="T1" fmla="*/ 2147483647 h 150"/>
                <a:gd name="T2" fmla="*/ 2147483647 w 222"/>
                <a:gd name="T3" fmla="*/ 2147483647 h 150"/>
                <a:gd name="T4" fmla="*/ 2147483647 w 222"/>
                <a:gd name="T5" fmla="*/ 2147483647 h 150"/>
                <a:gd name="T6" fmla="*/ 2147483647 w 222"/>
                <a:gd name="T7" fmla="*/ 2147483647 h 150"/>
                <a:gd name="T8" fmla="*/ 2147483647 w 222"/>
                <a:gd name="T9" fmla="*/ 2147483647 h 150"/>
                <a:gd name="T10" fmla="*/ 2147483647 w 222"/>
                <a:gd name="T11" fmla="*/ 2147483647 h 150"/>
                <a:gd name="T12" fmla="*/ 2147483647 w 222"/>
                <a:gd name="T13" fmla="*/ 2147483647 h 150"/>
                <a:gd name="T14" fmla="*/ 2147483647 w 222"/>
                <a:gd name="T15" fmla="*/ 2147483647 h 150"/>
                <a:gd name="T16" fmla="*/ 2147483647 w 222"/>
                <a:gd name="T17" fmla="*/ 2147483647 h 150"/>
                <a:gd name="T18" fmla="*/ 2147483647 w 222"/>
                <a:gd name="T19" fmla="*/ 2147483647 h 150"/>
                <a:gd name="T20" fmla="*/ 2147483647 w 222"/>
                <a:gd name="T21" fmla="*/ 2147483647 h 150"/>
                <a:gd name="T22" fmla="*/ 2147483647 w 222"/>
                <a:gd name="T23" fmla="*/ 2147483647 h 150"/>
                <a:gd name="T24" fmla="*/ 2147483647 w 222"/>
                <a:gd name="T25" fmla="*/ 2147483647 h 150"/>
                <a:gd name="T26" fmla="*/ 2147483647 w 222"/>
                <a:gd name="T27" fmla="*/ 2147483647 h 150"/>
                <a:gd name="T28" fmla="*/ 2147483647 w 222"/>
                <a:gd name="T29" fmla="*/ 2147483647 h 150"/>
                <a:gd name="T30" fmla="*/ 2147483647 w 222"/>
                <a:gd name="T31" fmla="*/ 2147483647 h 150"/>
                <a:gd name="T32" fmla="*/ 2147483647 w 222"/>
                <a:gd name="T33" fmla="*/ 2147483647 h 150"/>
                <a:gd name="T34" fmla="*/ 2147483647 w 222"/>
                <a:gd name="T35" fmla="*/ 2147483647 h 150"/>
                <a:gd name="T36" fmla="*/ 2147483647 w 222"/>
                <a:gd name="T37" fmla="*/ 2147483647 h 150"/>
                <a:gd name="T38" fmla="*/ 2147483647 w 222"/>
                <a:gd name="T39" fmla="*/ 2147483647 h 150"/>
                <a:gd name="T40" fmla="*/ 2147483647 w 222"/>
                <a:gd name="T41" fmla="*/ 2147483647 h 150"/>
                <a:gd name="T42" fmla="*/ 2147483647 w 222"/>
                <a:gd name="T43" fmla="*/ 2147483647 h 150"/>
                <a:gd name="T44" fmla="*/ 2147483647 w 222"/>
                <a:gd name="T45" fmla="*/ 2147483647 h 150"/>
                <a:gd name="T46" fmla="*/ 2147483647 w 222"/>
                <a:gd name="T47" fmla="*/ 2147483647 h 150"/>
                <a:gd name="T48" fmla="*/ 2147483647 w 222"/>
                <a:gd name="T49" fmla="*/ 2147483647 h 150"/>
                <a:gd name="T50" fmla="*/ 2147483647 w 222"/>
                <a:gd name="T51" fmla="*/ 2147483647 h 150"/>
                <a:gd name="T52" fmla="*/ 2147483647 w 222"/>
                <a:gd name="T53" fmla="*/ 2147483647 h 150"/>
                <a:gd name="T54" fmla="*/ 2147483647 w 222"/>
                <a:gd name="T55" fmla="*/ 2147483647 h 150"/>
                <a:gd name="T56" fmla="*/ 2147483647 w 222"/>
                <a:gd name="T57" fmla="*/ 2147483647 h 150"/>
                <a:gd name="T58" fmla="*/ 2147483647 w 222"/>
                <a:gd name="T59" fmla="*/ 2147483647 h 150"/>
                <a:gd name="T60" fmla="*/ 2147483647 w 222"/>
                <a:gd name="T61" fmla="*/ 2147483647 h 150"/>
                <a:gd name="T62" fmla="*/ 2147483647 w 222"/>
                <a:gd name="T63" fmla="*/ 2147483647 h 150"/>
                <a:gd name="T64" fmla="*/ 2147483647 w 222"/>
                <a:gd name="T65" fmla="*/ 2147483647 h 150"/>
                <a:gd name="T66" fmla="*/ 2147483647 w 222"/>
                <a:gd name="T67" fmla="*/ 2147483647 h 150"/>
                <a:gd name="T68" fmla="*/ 2147483647 w 222"/>
                <a:gd name="T69" fmla="*/ 2147483647 h 150"/>
                <a:gd name="T70" fmla="*/ 2147483647 w 222"/>
                <a:gd name="T71" fmla="*/ 2147483647 h 150"/>
                <a:gd name="T72" fmla="*/ 2147483647 w 222"/>
                <a:gd name="T73" fmla="*/ 2147483647 h 150"/>
                <a:gd name="T74" fmla="*/ 2147483647 w 222"/>
                <a:gd name="T75" fmla="*/ 2147483647 h 150"/>
                <a:gd name="T76" fmla="*/ 2147483647 w 222"/>
                <a:gd name="T77" fmla="*/ 2147483647 h 150"/>
                <a:gd name="T78" fmla="*/ 2147483647 w 222"/>
                <a:gd name="T79" fmla="*/ 2147483647 h 150"/>
                <a:gd name="T80" fmla="*/ 2147483647 w 222"/>
                <a:gd name="T81" fmla="*/ 0 h 150"/>
                <a:gd name="T82" fmla="*/ 2147483647 w 222"/>
                <a:gd name="T83" fmla="*/ 0 h 150"/>
                <a:gd name="T84" fmla="*/ 2147483647 w 222"/>
                <a:gd name="T85" fmla="*/ 2147483647 h 150"/>
                <a:gd name="T86" fmla="*/ 2147483647 w 222"/>
                <a:gd name="T87" fmla="*/ 0 h 150"/>
                <a:gd name="T88" fmla="*/ 2147483647 w 222"/>
                <a:gd name="T89" fmla="*/ 2147483647 h 150"/>
                <a:gd name="T90" fmla="*/ 2147483647 w 222"/>
                <a:gd name="T91" fmla="*/ 2147483647 h 150"/>
                <a:gd name="T92" fmla="*/ 2147483647 w 222"/>
                <a:gd name="T93" fmla="*/ 2147483647 h 150"/>
                <a:gd name="T94" fmla="*/ 2147483647 w 222"/>
                <a:gd name="T95" fmla="*/ 2147483647 h 150"/>
                <a:gd name="T96" fmla="*/ 2147483647 w 222"/>
                <a:gd name="T97" fmla="*/ 2147483647 h 150"/>
                <a:gd name="T98" fmla="*/ 2147483647 w 222"/>
                <a:gd name="T99" fmla="*/ 2147483647 h 150"/>
                <a:gd name="T100" fmla="*/ 2147483647 w 222"/>
                <a:gd name="T101" fmla="*/ 2147483647 h 150"/>
                <a:gd name="T102" fmla="*/ 0 w 222"/>
                <a:gd name="T103" fmla="*/ 2147483647 h 150"/>
                <a:gd name="T104" fmla="*/ 0 w 222"/>
                <a:gd name="T105" fmla="*/ 2147483647 h 15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22"/>
                <a:gd name="T160" fmla="*/ 0 h 150"/>
                <a:gd name="T161" fmla="*/ 222 w 222"/>
                <a:gd name="T162" fmla="*/ 150 h 15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22" h="150">
                  <a:moveTo>
                    <a:pt x="0" y="42"/>
                  </a:moveTo>
                  <a:lnTo>
                    <a:pt x="6" y="60"/>
                  </a:lnTo>
                  <a:lnTo>
                    <a:pt x="30" y="66"/>
                  </a:lnTo>
                  <a:lnTo>
                    <a:pt x="42" y="78"/>
                  </a:lnTo>
                  <a:lnTo>
                    <a:pt x="66" y="78"/>
                  </a:lnTo>
                  <a:lnTo>
                    <a:pt x="78" y="84"/>
                  </a:lnTo>
                  <a:lnTo>
                    <a:pt x="84" y="90"/>
                  </a:lnTo>
                  <a:lnTo>
                    <a:pt x="84" y="114"/>
                  </a:lnTo>
                  <a:lnTo>
                    <a:pt x="108" y="114"/>
                  </a:lnTo>
                  <a:lnTo>
                    <a:pt x="120" y="102"/>
                  </a:lnTo>
                  <a:lnTo>
                    <a:pt x="120" y="126"/>
                  </a:lnTo>
                  <a:lnTo>
                    <a:pt x="132" y="126"/>
                  </a:lnTo>
                  <a:lnTo>
                    <a:pt x="144" y="132"/>
                  </a:lnTo>
                  <a:lnTo>
                    <a:pt x="150" y="132"/>
                  </a:lnTo>
                  <a:lnTo>
                    <a:pt x="162" y="144"/>
                  </a:lnTo>
                  <a:lnTo>
                    <a:pt x="180" y="144"/>
                  </a:lnTo>
                  <a:lnTo>
                    <a:pt x="192" y="150"/>
                  </a:lnTo>
                  <a:lnTo>
                    <a:pt x="192" y="144"/>
                  </a:lnTo>
                  <a:lnTo>
                    <a:pt x="186" y="132"/>
                  </a:lnTo>
                  <a:lnTo>
                    <a:pt x="174" y="120"/>
                  </a:lnTo>
                  <a:lnTo>
                    <a:pt x="174" y="114"/>
                  </a:lnTo>
                  <a:lnTo>
                    <a:pt x="180" y="114"/>
                  </a:lnTo>
                  <a:lnTo>
                    <a:pt x="192" y="108"/>
                  </a:lnTo>
                  <a:lnTo>
                    <a:pt x="198" y="102"/>
                  </a:lnTo>
                  <a:lnTo>
                    <a:pt x="204" y="102"/>
                  </a:lnTo>
                  <a:lnTo>
                    <a:pt x="204" y="96"/>
                  </a:lnTo>
                  <a:lnTo>
                    <a:pt x="210" y="90"/>
                  </a:lnTo>
                  <a:lnTo>
                    <a:pt x="222" y="90"/>
                  </a:lnTo>
                  <a:lnTo>
                    <a:pt x="216" y="84"/>
                  </a:lnTo>
                  <a:lnTo>
                    <a:pt x="216" y="66"/>
                  </a:lnTo>
                  <a:lnTo>
                    <a:pt x="204" y="54"/>
                  </a:lnTo>
                  <a:lnTo>
                    <a:pt x="180" y="54"/>
                  </a:lnTo>
                  <a:lnTo>
                    <a:pt x="180" y="42"/>
                  </a:lnTo>
                  <a:lnTo>
                    <a:pt x="186" y="36"/>
                  </a:lnTo>
                  <a:lnTo>
                    <a:pt x="186" y="18"/>
                  </a:lnTo>
                  <a:lnTo>
                    <a:pt x="180" y="12"/>
                  </a:lnTo>
                  <a:lnTo>
                    <a:pt x="174" y="12"/>
                  </a:lnTo>
                  <a:lnTo>
                    <a:pt x="162" y="18"/>
                  </a:lnTo>
                  <a:lnTo>
                    <a:pt x="150" y="18"/>
                  </a:lnTo>
                  <a:lnTo>
                    <a:pt x="144" y="12"/>
                  </a:lnTo>
                  <a:lnTo>
                    <a:pt x="144" y="0"/>
                  </a:lnTo>
                  <a:lnTo>
                    <a:pt x="108" y="0"/>
                  </a:lnTo>
                  <a:lnTo>
                    <a:pt x="108" y="6"/>
                  </a:lnTo>
                  <a:lnTo>
                    <a:pt x="96" y="0"/>
                  </a:lnTo>
                  <a:lnTo>
                    <a:pt x="96" y="12"/>
                  </a:lnTo>
                  <a:lnTo>
                    <a:pt x="78" y="6"/>
                  </a:lnTo>
                  <a:lnTo>
                    <a:pt x="72" y="18"/>
                  </a:lnTo>
                  <a:lnTo>
                    <a:pt x="66" y="12"/>
                  </a:lnTo>
                  <a:lnTo>
                    <a:pt x="42" y="12"/>
                  </a:lnTo>
                  <a:lnTo>
                    <a:pt x="36" y="6"/>
                  </a:lnTo>
                  <a:lnTo>
                    <a:pt x="24" y="6"/>
                  </a:lnTo>
                  <a:lnTo>
                    <a:pt x="0" y="24"/>
                  </a:lnTo>
                  <a:lnTo>
                    <a:pt x="0" y="42"/>
                  </a:lnTo>
                  <a:close/>
                </a:path>
              </a:pathLst>
            </a:custGeom>
            <a:solidFill>
              <a:srgbClr val="005995"/>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201" name="Bangladesh" descr="© INSCALE GmbH, 05.05.2010&#10;http://www.presentationload.com/"/>
            <p:cNvSpPr>
              <a:spLocks/>
            </p:cNvSpPr>
            <p:nvPr/>
          </p:nvSpPr>
          <p:spPr bwMode="gray">
            <a:xfrm>
              <a:off x="6673855" y="3217863"/>
              <a:ext cx="150812" cy="171450"/>
            </a:xfrm>
            <a:custGeom>
              <a:avLst/>
              <a:gdLst>
                <a:gd name="T0" fmla="*/ 2147483647 w 372"/>
                <a:gd name="T1" fmla="*/ 2147483647 h 426"/>
                <a:gd name="T2" fmla="*/ 2147483647 w 372"/>
                <a:gd name="T3" fmla="*/ 2147483647 h 426"/>
                <a:gd name="T4" fmla="*/ 2147483647 w 372"/>
                <a:gd name="T5" fmla="*/ 2147483647 h 426"/>
                <a:gd name="T6" fmla="*/ 2147483647 w 372"/>
                <a:gd name="T7" fmla="*/ 2147483647 h 426"/>
                <a:gd name="T8" fmla="*/ 2147483647 w 372"/>
                <a:gd name="T9" fmla="*/ 2147483647 h 426"/>
                <a:gd name="T10" fmla="*/ 2147483647 w 372"/>
                <a:gd name="T11" fmla="*/ 2147483647 h 426"/>
                <a:gd name="T12" fmla="*/ 2147483647 w 372"/>
                <a:gd name="T13" fmla="*/ 2147483647 h 426"/>
                <a:gd name="T14" fmla="*/ 2147483647 w 372"/>
                <a:gd name="T15" fmla="*/ 2147483647 h 426"/>
                <a:gd name="T16" fmla="*/ 2147483647 w 372"/>
                <a:gd name="T17" fmla="*/ 2147483647 h 426"/>
                <a:gd name="T18" fmla="*/ 2147483647 w 372"/>
                <a:gd name="T19" fmla="*/ 2147483647 h 426"/>
                <a:gd name="T20" fmla="*/ 2147483647 w 372"/>
                <a:gd name="T21" fmla="*/ 2147483647 h 426"/>
                <a:gd name="T22" fmla="*/ 2147483647 w 372"/>
                <a:gd name="T23" fmla="*/ 2147483647 h 426"/>
                <a:gd name="T24" fmla="*/ 2147483647 w 372"/>
                <a:gd name="T25" fmla="*/ 2147483647 h 426"/>
                <a:gd name="T26" fmla="*/ 2147483647 w 372"/>
                <a:gd name="T27" fmla="*/ 2147483647 h 426"/>
                <a:gd name="T28" fmla="*/ 2147483647 w 372"/>
                <a:gd name="T29" fmla="*/ 2147483647 h 426"/>
                <a:gd name="T30" fmla="*/ 2147483647 w 372"/>
                <a:gd name="T31" fmla="*/ 2147483647 h 426"/>
                <a:gd name="T32" fmla="*/ 2147483647 w 372"/>
                <a:gd name="T33" fmla="*/ 2147483647 h 426"/>
                <a:gd name="T34" fmla="*/ 2147483647 w 372"/>
                <a:gd name="T35" fmla="*/ 2147483647 h 426"/>
                <a:gd name="T36" fmla="*/ 2147483647 w 372"/>
                <a:gd name="T37" fmla="*/ 2147483647 h 426"/>
                <a:gd name="T38" fmla="*/ 2147483647 w 372"/>
                <a:gd name="T39" fmla="*/ 2147483647 h 426"/>
                <a:gd name="T40" fmla="*/ 2147483647 w 372"/>
                <a:gd name="T41" fmla="*/ 2147483647 h 426"/>
                <a:gd name="T42" fmla="*/ 2147483647 w 372"/>
                <a:gd name="T43" fmla="*/ 2147483647 h 426"/>
                <a:gd name="T44" fmla="*/ 2147483647 w 372"/>
                <a:gd name="T45" fmla="*/ 2147483647 h 426"/>
                <a:gd name="T46" fmla="*/ 2147483647 w 372"/>
                <a:gd name="T47" fmla="*/ 2147483647 h 426"/>
                <a:gd name="T48" fmla="*/ 2147483647 w 372"/>
                <a:gd name="T49" fmla="*/ 2147483647 h 426"/>
                <a:gd name="T50" fmla="*/ 2147483647 w 372"/>
                <a:gd name="T51" fmla="*/ 2147483647 h 426"/>
                <a:gd name="T52" fmla="*/ 2147483647 w 372"/>
                <a:gd name="T53" fmla="*/ 2147483647 h 426"/>
                <a:gd name="T54" fmla="*/ 2147483647 w 372"/>
                <a:gd name="T55" fmla="*/ 2147483647 h 426"/>
                <a:gd name="T56" fmla="*/ 2147483647 w 372"/>
                <a:gd name="T57" fmla="*/ 2147483647 h 426"/>
                <a:gd name="T58" fmla="*/ 2147483647 w 372"/>
                <a:gd name="T59" fmla="*/ 2147483647 h 426"/>
                <a:gd name="T60" fmla="*/ 2147483647 w 372"/>
                <a:gd name="T61" fmla="*/ 2147483647 h 426"/>
                <a:gd name="T62" fmla="*/ 2147483647 w 372"/>
                <a:gd name="T63" fmla="*/ 2147483647 h 426"/>
                <a:gd name="T64" fmla="*/ 2147483647 w 372"/>
                <a:gd name="T65" fmla="*/ 2147483647 h 426"/>
                <a:gd name="T66" fmla="*/ 2147483647 w 372"/>
                <a:gd name="T67" fmla="*/ 2147483647 h 426"/>
                <a:gd name="T68" fmla="*/ 2147483647 w 372"/>
                <a:gd name="T69" fmla="*/ 2147483647 h 426"/>
                <a:gd name="T70" fmla="*/ 2147483647 w 372"/>
                <a:gd name="T71" fmla="*/ 2147483647 h 426"/>
                <a:gd name="T72" fmla="*/ 2147483647 w 372"/>
                <a:gd name="T73" fmla="*/ 2147483647 h 426"/>
                <a:gd name="T74" fmla="*/ 2147483647 w 372"/>
                <a:gd name="T75" fmla="*/ 2147483647 h 426"/>
                <a:gd name="T76" fmla="*/ 2147483647 w 372"/>
                <a:gd name="T77" fmla="*/ 2147483647 h 426"/>
                <a:gd name="T78" fmla="*/ 2147483647 w 372"/>
                <a:gd name="T79" fmla="*/ 2147483647 h 426"/>
                <a:gd name="T80" fmla="*/ 2147483647 w 372"/>
                <a:gd name="T81" fmla="*/ 2147483647 h 426"/>
                <a:gd name="T82" fmla="*/ 2147483647 w 372"/>
                <a:gd name="T83" fmla="*/ 2147483647 h 426"/>
                <a:gd name="T84" fmla="*/ 2147483647 w 372"/>
                <a:gd name="T85" fmla="*/ 0 h 426"/>
                <a:gd name="T86" fmla="*/ 2147483647 w 372"/>
                <a:gd name="T87" fmla="*/ 2147483647 h 426"/>
                <a:gd name="T88" fmla="*/ 0 w 372"/>
                <a:gd name="T89" fmla="*/ 2147483647 h 426"/>
                <a:gd name="T90" fmla="*/ 2147483647 w 372"/>
                <a:gd name="T91" fmla="*/ 2147483647 h 426"/>
                <a:gd name="T92" fmla="*/ 2147483647 w 372"/>
                <a:gd name="T93" fmla="*/ 2147483647 h 426"/>
                <a:gd name="T94" fmla="*/ 2147483647 w 372"/>
                <a:gd name="T95" fmla="*/ 2147483647 h 426"/>
                <a:gd name="T96" fmla="*/ 2147483647 w 372"/>
                <a:gd name="T97" fmla="*/ 2147483647 h 426"/>
                <a:gd name="T98" fmla="*/ 2147483647 w 372"/>
                <a:gd name="T99" fmla="*/ 2147483647 h 426"/>
                <a:gd name="T100" fmla="*/ 2147483647 w 372"/>
                <a:gd name="T101" fmla="*/ 2147483647 h 426"/>
                <a:gd name="T102" fmla="*/ 2147483647 w 372"/>
                <a:gd name="T103" fmla="*/ 2147483647 h 426"/>
                <a:gd name="T104" fmla="*/ 2147483647 w 372"/>
                <a:gd name="T105" fmla="*/ 2147483647 h 426"/>
                <a:gd name="T106" fmla="*/ 2147483647 w 372"/>
                <a:gd name="T107" fmla="*/ 2147483647 h 426"/>
                <a:gd name="T108" fmla="*/ 2147483647 w 372"/>
                <a:gd name="T109" fmla="*/ 2147483647 h 426"/>
                <a:gd name="T110" fmla="*/ 2147483647 w 372"/>
                <a:gd name="T111" fmla="*/ 2147483647 h 426"/>
                <a:gd name="T112" fmla="*/ 2147483647 w 372"/>
                <a:gd name="T113" fmla="*/ 2147483647 h 426"/>
                <a:gd name="T114" fmla="*/ 2147483647 w 372"/>
                <a:gd name="T115" fmla="*/ 2147483647 h 4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72"/>
                <a:gd name="T175" fmla="*/ 0 h 426"/>
                <a:gd name="T176" fmla="*/ 372 w 372"/>
                <a:gd name="T177" fmla="*/ 426 h 4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72" h="426">
                  <a:moveTo>
                    <a:pt x="132" y="414"/>
                  </a:moveTo>
                  <a:lnTo>
                    <a:pt x="138" y="354"/>
                  </a:lnTo>
                  <a:lnTo>
                    <a:pt x="144" y="354"/>
                  </a:lnTo>
                  <a:lnTo>
                    <a:pt x="150" y="360"/>
                  </a:lnTo>
                  <a:lnTo>
                    <a:pt x="162" y="360"/>
                  </a:lnTo>
                  <a:lnTo>
                    <a:pt x="174" y="366"/>
                  </a:lnTo>
                  <a:lnTo>
                    <a:pt x="192" y="372"/>
                  </a:lnTo>
                  <a:lnTo>
                    <a:pt x="216" y="372"/>
                  </a:lnTo>
                  <a:lnTo>
                    <a:pt x="210" y="366"/>
                  </a:lnTo>
                  <a:lnTo>
                    <a:pt x="210" y="348"/>
                  </a:lnTo>
                  <a:lnTo>
                    <a:pt x="204" y="342"/>
                  </a:lnTo>
                  <a:lnTo>
                    <a:pt x="222" y="342"/>
                  </a:lnTo>
                  <a:lnTo>
                    <a:pt x="258" y="360"/>
                  </a:lnTo>
                  <a:lnTo>
                    <a:pt x="270" y="360"/>
                  </a:lnTo>
                  <a:lnTo>
                    <a:pt x="282" y="348"/>
                  </a:lnTo>
                  <a:lnTo>
                    <a:pt x="282" y="336"/>
                  </a:lnTo>
                  <a:lnTo>
                    <a:pt x="270" y="300"/>
                  </a:lnTo>
                  <a:lnTo>
                    <a:pt x="318" y="354"/>
                  </a:lnTo>
                  <a:lnTo>
                    <a:pt x="318" y="360"/>
                  </a:lnTo>
                  <a:lnTo>
                    <a:pt x="312" y="366"/>
                  </a:lnTo>
                  <a:lnTo>
                    <a:pt x="312" y="390"/>
                  </a:lnTo>
                  <a:lnTo>
                    <a:pt x="306" y="402"/>
                  </a:lnTo>
                  <a:lnTo>
                    <a:pt x="306" y="414"/>
                  </a:lnTo>
                  <a:lnTo>
                    <a:pt x="312" y="420"/>
                  </a:lnTo>
                  <a:lnTo>
                    <a:pt x="324" y="420"/>
                  </a:lnTo>
                  <a:lnTo>
                    <a:pt x="330" y="426"/>
                  </a:lnTo>
                  <a:lnTo>
                    <a:pt x="336" y="414"/>
                  </a:lnTo>
                  <a:lnTo>
                    <a:pt x="336" y="408"/>
                  </a:lnTo>
                  <a:lnTo>
                    <a:pt x="372" y="414"/>
                  </a:lnTo>
                  <a:lnTo>
                    <a:pt x="360" y="354"/>
                  </a:lnTo>
                  <a:lnTo>
                    <a:pt x="360" y="348"/>
                  </a:lnTo>
                  <a:lnTo>
                    <a:pt x="354" y="342"/>
                  </a:lnTo>
                  <a:lnTo>
                    <a:pt x="348" y="330"/>
                  </a:lnTo>
                  <a:lnTo>
                    <a:pt x="342" y="312"/>
                  </a:lnTo>
                  <a:lnTo>
                    <a:pt x="336" y="300"/>
                  </a:lnTo>
                  <a:lnTo>
                    <a:pt x="336" y="288"/>
                  </a:lnTo>
                  <a:lnTo>
                    <a:pt x="330" y="276"/>
                  </a:lnTo>
                  <a:lnTo>
                    <a:pt x="330" y="270"/>
                  </a:lnTo>
                  <a:lnTo>
                    <a:pt x="324" y="258"/>
                  </a:lnTo>
                  <a:lnTo>
                    <a:pt x="324" y="240"/>
                  </a:lnTo>
                  <a:lnTo>
                    <a:pt x="318" y="234"/>
                  </a:lnTo>
                  <a:lnTo>
                    <a:pt x="306" y="228"/>
                  </a:lnTo>
                  <a:lnTo>
                    <a:pt x="288" y="228"/>
                  </a:lnTo>
                  <a:lnTo>
                    <a:pt x="288" y="252"/>
                  </a:lnTo>
                  <a:lnTo>
                    <a:pt x="282" y="288"/>
                  </a:lnTo>
                  <a:lnTo>
                    <a:pt x="264" y="264"/>
                  </a:lnTo>
                  <a:lnTo>
                    <a:pt x="258" y="264"/>
                  </a:lnTo>
                  <a:lnTo>
                    <a:pt x="240" y="246"/>
                  </a:lnTo>
                  <a:lnTo>
                    <a:pt x="234" y="234"/>
                  </a:lnTo>
                  <a:lnTo>
                    <a:pt x="234" y="216"/>
                  </a:lnTo>
                  <a:lnTo>
                    <a:pt x="240" y="204"/>
                  </a:lnTo>
                  <a:lnTo>
                    <a:pt x="252" y="192"/>
                  </a:lnTo>
                  <a:lnTo>
                    <a:pt x="258" y="192"/>
                  </a:lnTo>
                  <a:lnTo>
                    <a:pt x="270" y="186"/>
                  </a:lnTo>
                  <a:lnTo>
                    <a:pt x="276" y="186"/>
                  </a:lnTo>
                  <a:lnTo>
                    <a:pt x="282" y="180"/>
                  </a:lnTo>
                  <a:lnTo>
                    <a:pt x="288" y="168"/>
                  </a:lnTo>
                  <a:lnTo>
                    <a:pt x="294" y="150"/>
                  </a:lnTo>
                  <a:lnTo>
                    <a:pt x="294" y="138"/>
                  </a:lnTo>
                  <a:lnTo>
                    <a:pt x="300" y="138"/>
                  </a:lnTo>
                  <a:lnTo>
                    <a:pt x="306" y="132"/>
                  </a:lnTo>
                  <a:lnTo>
                    <a:pt x="306" y="126"/>
                  </a:lnTo>
                  <a:lnTo>
                    <a:pt x="282" y="102"/>
                  </a:lnTo>
                  <a:lnTo>
                    <a:pt x="276" y="102"/>
                  </a:lnTo>
                  <a:lnTo>
                    <a:pt x="228" y="114"/>
                  </a:lnTo>
                  <a:lnTo>
                    <a:pt x="210" y="114"/>
                  </a:lnTo>
                  <a:lnTo>
                    <a:pt x="198" y="108"/>
                  </a:lnTo>
                  <a:lnTo>
                    <a:pt x="138" y="108"/>
                  </a:lnTo>
                  <a:lnTo>
                    <a:pt x="132" y="102"/>
                  </a:lnTo>
                  <a:lnTo>
                    <a:pt x="126" y="102"/>
                  </a:lnTo>
                  <a:lnTo>
                    <a:pt x="126" y="66"/>
                  </a:lnTo>
                  <a:lnTo>
                    <a:pt x="120" y="66"/>
                  </a:lnTo>
                  <a:lnTo>
                    <a:pt x="120" y="36"/>
                  </a:lnTo>
                  <a:lnTo>
                    <a:pt x="114" y="30"/>
                  </a:lnTo>
                  <a:lnTo>
                    <a:pt x="108" y="30"/>
                  </a:lnTo>
                  <a:lnTo>
                    <a:pt x="102" y="24"/>
                  </a:lnTo>
                  <a:lnTo>
                    <a:pt x="96" y="42"/>
                  </a:lnTo>
                  <a:lnTo>
                    <a:pt x="90" y="36"/>
                  </a:lnTo>
                  <a:lnTo>
                    <a:pt x="78" y="36"/>
                  </a:lnTo>
                  <a:lnTo>
                    <a:pt x="72" y="30"/>
                  </a:lnTo>
                  <a:lnTo>
                    <a:pt x="66" y="18"/>
                  </a:lnTo>
                  <a:lnTo>
                    <a:pt x="66" y="12"/>
                  </a:lnTo>
                  <a:lnTo>
                    <a:pt x="60" y="0"/>
                  </a:lnTo>
                  <a:lnTo>
                    <a:pt x="42" y="6"/>
                  </a:lnTo>
                  <a:lnTo>
                    <a:pt x="48" y="12"/>
                  </a:lnTo>
                  <a:lnTo>
                    <a:pt x="24" y="0"/>
                  </a:lnTo>
                  <a:lnTo>
                    <a:pt x="6" y="0"/>
                  </a:lnTo>
                  <a:lnTo>
                    <a:pt x="18" y="18"/>
                  </a:lnTo>
                  <a:lnTo>
                    <a:pt x="6" y="30"/>
                  </a:lnTo>
                  <a:lnTo>
                    <a:pt x="0" y="42"/>
                  </a:lnTo>
                  <a:lnTo>
                    <a:pt x="0" y="48"/>
                  </a:lnTo>
                  <a:lnTo>
                    <a:pt x="6" y="60"/>
                  </a:lnTo>
                  <a:lnTo>
                    <a:pt x="18" y="66"/>
                  </a:lnTo>
                  <a:lnTo>
                    <a:pt x="30" y="78"/>
                  </a:lnTo>
                  <a:lnTo>
                    <a:pt x="36" y="78"/>
                  </a:lnTo>
                  <a:lnTo>
                    <a:pt x="66" y="96"/>
                  </a:lnTo>
                  <a:lnTo>
                    <a:pt x="66" y="108"/>
                  </a:lnTo>
                  <a:lnTo>
                    <a:pt x="30" y="108"/>
                  </a:lnTo>
                  <a:lnTo>
                    <a:pt x="30" y="138"/>
                  </a:lnTo>
                  <a:lnTo>
                    <a:pt x="24" y="138"/>
                  </a:lnTo>
                  <a:lnTo>
                    <a:pt x="12" y="150"/>
                  </a:lnTo>
                  <a:lnTo>
                    <a:pt x="24" y="162"/>
                  </a:lnTo>
                  <a:lnTo>
                    <a:pt x="36" y="168"/>
                  </a:lnTo>
                  <a:lnTo>
                    <a:pt x="54" y="168"/>
                  </a:lnTo>
                  <a:lnTo>
                    <a:pt x="66" y="174"/>
                  </a:lnTo>
                  <a:lnTo>
                    <a:pt x="72" y="180"/>
                  </a:lnTo>
                  <a:lnTo>
                    <a:pt x="72" y="186"/>
                  </a:lnTo>
                  <a:lnTo>
                    <a:pt x="66" y="204"/>
                  </a:lnTo>
                  <a:lnTo>
                    <a:pt x="60" y="210"/>
                  </a:lnTo>
                  <a:lnTo>
                    <a:pt x="54" y="222"/>
                  </a:lnTo>
                  <a:lnTo>
                    <a:pt x="66" y="252"/>
                  </a:lnTo>
                  <a:lnTo>
                    <a:pt x="96" y="276"/>
                  </a:lnTo>
                  <a:lnTo>
                    <a:pt x="96" y="306"/>
                  </a:lnTo>
                  <a:lnTo>
                    <a:pt x="114" y="348"/>
                  </a:lnTo>
                  <a:lnTo>
                    <a:pt x="108" y="378"/>
                  </a:lnTo>
                  <a:lnTo>
                    <a:pt x="132" y="414"/>
                  </a:lnTo>
                  <a:close/>
                </a:path>
              </a:pathLst>
            </a:custGeom>
            <a:solidFill>
              <a:srgbClr val="FFC000"/>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202" name="Belarus" descr="© INSCALE GmbH, 05.05.2010&#10;http://www.presentationload.com/"/>
            <p:cNvSpPr>
              <a:spLocks/>
            </p:cNvSpPr>
            <p:nvPr/>
          </p:nvSpPr>
          <p:spPr bwMode="gray">
            <a:xfrm>
              <a:off x="4824417" y="2271713"/>
              <a:ext cx="228600" cy="149224"/>
            </a:xfrm>
            <a:custGeom>
              <a:avLst/>
              <a:gdLst>
                <a:gd name="T0" fmla="*/ 2147483647 w 570"/>
                <a:gd name="T1" fmla="*/ 2147483647 h 372"/>
                <a:gd name="T2" fmla="*/ 2147483647 w 570"/>
                <a:gd name="T3" fmla="*/ 2147483647 h 372"/>
                <a:gd name="T4" fmla="*/ 2147483647 w 570"/>
                <a:gd name="T5" fmla="*/ 2147483647 h 372"/>
                <a:gd name="T6" fmla="*/ 2147483647 w 570"/>
                <a:gd name="T7" fmla="*/ 2147483647 h 372"/>
                <a:gd name="T8" fmla="*/ 2147483647 w 570"/>
                <a:gd name="T9" fmla="*/ 2147483647 h 372"/>
                <a:gd name="T10" fmla="*/ 2147483647 w 570"/>
                <a:gd name="T11" fmla="*/ 2147483647 h 372"/>
                <a:gd name="T12" fmla="*/ 2147483647 w 570"/>
                <a:gd name="T13" fmla="*/ 2147483647 h 372"/>
                <a:gd name="T14" fmla="*/ 2147483647 w 570"/>
                <a:gd name="T15" fmla="*/ 2147483647 h 372"/>
                <a:gd name="T16" fmla="*/ 2147483647 w 570"/>
                <a:gd name="T17" fmla="*/ 2147483647 h 372"/>
                <a:gd name="T18" fmla="*/ 2147483647 w 570"/>
                <a:gd name="T19" fmla="*/ 2147483647 h 372"/>
                <a:gd name="T20" fmla="*/ 2147483647 w 570"/>
                <a:gd name="T21" fmla="*/ 2147483647 h 372"/>
                <a:gd name="T22" fmla="*/ 2147483647 w 570"/>
                <a:gd name="T23" fmla="*/ 2147483647 h 372"/>
                <a:gd name="T24" fmla="*/ 2147483647 w 570"/>
                <a:gd name="T25" fmla="*/ 2147483647 h 372"/>
                <a:gd name="T26" fmla="*/ 2147483647 w 570"/>
                <a:gd name="T27" fmla="*/ 2147483647 h 372"/>
                <a:gd name="T28" fmla="*/ 2147483647 w 570"/>
                <a:gd name="T29" fmla="*/ 2147483647 h 372"/>
                <a:gd name="T30" fmla="*/ 2147483647 w 570"/>
                <a:gd name="T31" fmla="*/ 2147483647 h 372"/>
                <a:gd name="T32" fmla="*/ 2147483647 w 570"/>
                <a:gd name="T33" fmla="*/ 2147483647 h 372"/>
                <a:gd name="T34" fmla="*/ 2147483647 w 570"/>
                <a:gd name="T35" fmla="*/ 2147483647 h 372"/>
                <a:gd name="T36" fmla="*/ 2147483647 w 570"/>
                <a:gd name="T37" fmla="*/ 2147483647 h 372"/>
                <a:gd name="T38" fmla="*/ 2147483647 w 570"/>
                <a:gd name="T39" fmla="*/ 2147483647 h 372"/>
                <a:gd name="T40" fmla="*/ 2147483647 w 570"/>
                <a:gd name="T41" fmla="*/ 2147483647 h 372"/>
                <a:gd name="T42" fmla="*/ 2147483647 w 570"/>
                <a:gd name="T43" fmla="*/ 2147483647 h 372"/>
                <a:gd name="T44" fmla="*/ 2147483647 w 570"/>
                <a:gd name="T45" fmla="*/ 2147483647 h 372"/>
                <a:gd name="T46" fmla="*/ 2147483647 w 570"/>
                <a:gd name="T47" fmla="*/ 2147483647 h 372"/>
                <a:gd name="T48" fmla="*/ 2147483647 w 570"/>
                <a:gd name="T49" fmla="*/ 2147483647 h 372"/>
                <a:gd name="T50" fmla="*/ 2147483647 w 570"/>
                <a:gd name="T51" fmla="*/ 2147483647 h 372"/>
                <a:gd name="T52" fmla="*/ 2147483647 w 570"/>
                <a:gd name="T53" fmla="*/ 2147483647 h 372"/>
                <a:gd name="T54" fmla="*/ 2147483647 w 570"/>
                <a:gd name="T55" fmla="*/ 2147483647 h 372"/>
                <a:gd name="T56" fmla="*/ 2147483647 w 570"/>
                <a:gd name="T57" fmla="*/ 0 h 372"/>
                <a:gd name="T58" fmla="*/ 2147483647 w 570"/>
                <a:gd name="T59" fmla="*/ 2147483647 h 372"/>
                <a:gd name="T60" fmla="*/ 2147483647 w 570"/>
                <a:gd name="T61" fmla="*/ 2147483647 h 372"/>
                <a:gd name="T62" fmla="*/ 2147483647 w 570"/>
                <a:gd name="T63" fmla="*/ 2147483647 h 372"/>
                <a:gd name="T64" fmla="*/ 2147483647 w 570"/>
                <a:gd name="T65" fmla="*/ 2147483647 h 372"/>
                <a:gd name="T66" fmla="*/ 2147483647 w 570"/>
                <a:gd name="T67" fmla="*/ 2147483647 h 372"/>
                <a:gd name="T68" fmla="*/ 2147483647 w 570"/>
                <a:gd name="T69" fmla="*/ 2147483647 h 372"/>
                <a:gd name="T70" fmla="*/ 2147483647 w 570"/>
                <a:gd name="T71" fmla="*/ 2147483647 h 372"/>
                <a:gd name="T72" fmla="*/ 2147483647 w 570"/>
                <a:gd name="T73" fmla="*/ 2147483647 h 372"/>
                <a:gd name="T74" fmla="*/ 2147483647 w 570"/>
                <a:gd name="T75" fmla="*/ 2147483647 h 372"/>
                <a:gd name="T76" fmla="*/ 2147483647 w 570"/>
                <a:gd name="T77" fmla="*/ 2147483647 h 372"/>
                <a:gd name="T78" fmla="*/ 2147483647 w 570"/>
                <a:gd name="T79" fmla="*/ 2147483647 h 372"/>
                <a:gd name="T80" fmla="*/ 2147483647 w 570"/>
                <a:gd name="T81" fmla="*/ 2147483647 h 372"/>
                <a:gd name="T82" fmla="*/ 2147483647 w 570"/>
                <a:gd name="T83" fmla="*/ 2147483647 h 372"/>
                <a:gd name="T84" fmla="*/ 2147483647 w 570"/>
                <a:gd name="T85" fmla="*/ 2147483647 h 372"/>
                <a:gd name="T86" fmla="*/ 2147483647 w 570"/>
                <a:gd name="T87" fmla="*/ 2147483647 h 372"/>
                <a:gd name="T88" fmla="*/ 2147483647 w 570"/>
                <a:gd name="T89" fmla="*/ 2147483647 h 372"/>
                <a:gd name="T90" fmla="*/ 2147483647 w 570"/>
                <a:gd name="T91" fmla="*/ 2147483647 h 372"/>
                <a:gd name="T92" fmla="*/ 2147483647 w 570"/>
                <a:gd name="T93" fmla="*/ 2147483647 h 372"/>
                <a:gd name="T94" fmla="*/ 2147483647 w 570"/>
                <a:gd name="T95" fmla="*/ 2147483647 h 372"/>
                <a:gd name="T96" fmla="*/ 2147483647 w 570"/>
                <a:gd name="T97" fmla="*/ 2147483647 h 37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70"/>
                <a:gd name="T148" fmla="*/ 0 h 372"/>
                <a:gd name="T149" fmla="*/ 570 w 570"/>
                <a:gd name="T150" fmla="*/ 372 h 37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70" h="372">
                  <a:moveTo>
                    <a:pt x="24" y="312"/>
                  </a:moveTo>
                  <a:lnTo>
                    <a:pt x="24" y="342"/>
                  </a:lnTo>
                  <a:lnTo>
                    <a:pt x="30" y="354"/>
                  </a:lnTo>
                  <a:lnTo>
                    <a:pt x="36" y="360"/>
                  </a:lnTo>
                  <a:lnTo>
                    <a:pt x="48" y="360"/>
                  </a:lnTo>
                  <a:lnTo>
                    <a:pt x="60" y="354"/>
                  </a:lnTo>
                  <a:lnTo>
                    <a:pt x="72" y="342"/>
                  </a:lnTo>
                  <a:lnTo>
                    <a:pt x="72" y="336"/>
                  </a:lnTo>
                  <a:lnTo>
                    <a:pt x="108" y="336"/>
                  </a:lnTo>
                  <a:lnTo>
                    <a:pt x="120" y="330"/>
                  </a:lnTo>
                  <a:lnTo>
                    <a:pt x="126" y="324"/>
                  </a:lnTo>
                  <a:lnTo>
                    <a:pt x="174" y="324"/>
                  </a:lnTo>
                  <a:lnTo>
                    <a:pt x="174" y="330"/>
                  </a:lnTo>
                  <a:lnTo>
                    <a:pt x="180" y="336"/>
                  </a:lnTo>
                  <a:lnTo>
                    <a:pt x="216" y="336"/>
                  </a:lnTo>
                  <a:lnTo>
                    <a:pt x="240" y="342"/>
                  </a:lnTo>
                  <a:lnTo>
                    <a:pt x="258" y="354"/>
                  </a:lnTo>
                  <a:lnTo>
                    <a:pt x="264" y="348"/>
                  </a:lnTo>
                  <a:lnTo>
                    <a:pt x="282" y="360"/>
                  </a:lnTo>
                  <a:lnTo>
                    <a:pt x="294" y="348"/>
                  </a:lnTo>
                  <a:lnTo>
                    <a:pt x="300" y="360"/>
                  </a:lnTo>
                  <a:lnTo>
                    <a:pt x="318" y="354"/>
                  </a:lnTo>
                  <a:lnTo>
                    <a:pt x="324" y="360"/>
                  </a:lnTo>
                  <a:lnTo>
                    <a:pt x="336" y="354"/>
                  </a:lnTo>
                  <a:lnTo>
                    <a:pt x="348" y="366"/>
                  </a:lnTo>
                  <a:lnTo>
                    <a:pt x="348" y="360"/>
                  </a:lnTo>
                  <a:lnTo>
                    <a:pt x="354" y="354"/>
                  </a:lnTo>
                  <a:lnTo>
                    <a:pt x="372" y="354"/>
                  </a:lnTo>
                  <a:lnTo>
                    <a:pt x="378" y="360"/>
                  </a:lnTo>
                  <a:lnTo>
                    <a:pt x="378" y="372"/>
                  </a:lnTo>
                  <a:lnTo>
                    <a:pt x="384" y="372"/>
                  </a:lnTo>
                  <a:lnTo>
                    <a:pt x="396" y="366"/>
                  </a:lnTo>
                  <a:lnTo>
                    <a:pt x="420" y="366"/>
                  </a:lnTo>
                  <a:lnTo>
                    <a:pt x="426" y="372"/>
                  </a:lnTo>
                  <a:lnTo>
                    <a:pt x="444" y="372"/>
                  </a:lnTo>
                  <a:lnTo>
                    <a:pt x="450" y="366"/>
                  </a:lnTo>
                  <a:lnTo>
                    <a:pt x="450" y="354"/>
                  </a:lnTo>
                  <a:lnTo>
                    <a:pt x="444" y="348"/>
                  </a:lnTo>
                  <a:lnTo>
                    <a:pt x="450" y="336"/>
                  </a:lnTo>
                  <a:lnTo>
                    <a:pt x="456" y="330"/>
                  </a:lnTo>
                  <a:lnTo>
                    <a:pt x="468" y="324"/>
                  </a:lnTo>
                  <a:lnTo>
                    <a:pt x="474" y="312"/>
                  </a:lnTo>
                  <a:lnTo>
                    <a:pt x="498" y="312"/>
                  </a:lnTo>
                  <a:lnTo>
                    <a:pt x="516" y="318"/>
                  </a:lnTo>
                  <a:lnTo>
                    <a:pt x="516" y="300"/>
                  </a:lnTo>
                  <a:lnTo>
                    <a:pt x="510" y="288"/>
                  </a:lnTo>
                  <a:lnTo>
                    <a:pt x="504" y="282"/>
                  </a:lnTo>
                  <a:lnTo>
                    <a:pt x="504" y="264"/>
                  </a:lnTo>
                  <a:lnTo>
                    <a:pt x="480" y="240"/>
                  </a:lnTo>
                  <a:lnTo>
                    <a:pt x="480" y="234"/>
                  </a:lnTo>
                  <a:lnTo>
                    <a:pt x="486" y="228"/>
                  </a:lnTo>
                  <a:lnTo>
                    <a:pt x="510" y="228"/>
                  </a:lnTo>
                  <a:lnTo>
                    <a:pt x="510" y="234"/>
                  </a:lnTo>
                  <a:lnTo>
                    <a:pt x="516" y="234"/>
                  </a:lnTo>
                  <a:lnTo>
                    <a:pt x="522" y="240"/>
                  </a:lnTo>
                  <a:lnTo>
                    <a:pt x="528" y="240"/>
                  </a:lnTo>
                  <a:lnTo>
                    <a:pt x="552" y="228"/>
                  </a:lnTo>
                  <a:lnTo>
                    <a:pt x="558" y="216"/>
                  </a:lnTo>
                  <a:lnTo>
                    <a:pt x="570" y="210"/>
                  </a:lnTo>
                  <a:lnTo>
                    <a:pt x="546" y="198"/>
                  </a:lnTo>
                  <a:lnTo>
                    <a:pt x="552" y="192"/>
                  </a:lnTo>
                  <a:lnTo>
                    <a:pt x="552" y="186"/>
                  </a:lnTo>
                  <a:lnTo>
                    <a:pt x="546" y="186"/>
                  </a:lnTo>
                  <a:lnTo>
                    <a:pt x="540" y="180"/>
                  </a:lnTo>
                  <a:lnTo>
                    <a:pt x="504" y="180"/>
                  </a:lnTo>
                  <a:lnTo>
                    <a:pt x="504" y="156"/>
                  </a:lnTo>
                  <a:lnTo>
                    <a:pt x="474" y="144"/>
                  </a:lnTo>
                  <a:lnTo>
                    <a:pt x="474" y="132"/>
                  </a:lnTo>
                  <a:lnTo>
                    <a:pt x="456" y="114"/>
                  </a:lnTo>
                  <a:lnTo>
                    <a:pt x="444" y="108"/>
                  </a:lnTo>
                  <a:lnTo>
                    <a:pt x="438" y="102"/>
                  </a:lnTo>
                  <a:lnTo>
                    <a:pt x="444" y="84"/>
                  </a:lnTo>
                  <a:lnTo>
                    <a:pt x="432" y="66"/>
                  </a:lnTo>
                  <a:lnTo>
                    <a:pt x="438" y="60"/>
                  </a:lnTo>
                  <a:lnTo>
                    <a:pt x="438" y="48"/>
                  </a:lnTo>
                  <a:lnTo>
                    <a:pt x="432" y="42"/>
                  </a:lnTo>
                  <a:lnTo>
                    <a:pt x="396" y="24"/>
                  </a:lnTo>
                  <a:lnTo>
                    <a:pt x="390" y="18"/>
                  </a:lnTo>
                  <a:lnTo>
                    <a:pt x="384" y="18"/>
                  </a:lnTo>
                  <a:lnTo>
                    <a:pt x="354" y="36"/>
                  </a:lnTo>
                  <a:lnTo>
                    <a:pt x="348" y="18"/>
                  </a:lnTo>
                  <a:lnTo>
                    <a:pt x="312" y="12"/>
                  </a:lnTo>
                  <a:lnTo>
                    <a:pt x="300" y="18"/>
                  </a:lnTo>
                  <a:lnTo>
                    <a:pt x="300" y="12"/>
                  </a:lnTo>
                  <a:lnTo>
                    <a:pt x="294" y="6"/>
                  </a:lnTo>
                  <a:lnTo>
                    <a:pt x="276" y="6"/>
                  </a:lnTo>
                  <a:lnTo>
                    <a:pt x="270" y="0"/>
                  </a:lnTo>
                  <a:lnTo>
                    <a:pt x="258" y="0"/>
                  </a:lnTo>
                  <a:lnTo>
                    <a:pt x="252" y="6"/>
                  </a:lnTo>
                  <a:lnTo>
                    <a:pt x="246" y="18"/>
                  </a:lnTo>
                  <a:lnTo>
                    <a:pt x="240" y="24"/>
                  </a:lnTo>
                  <a:lnTo>
                    <a:pt x="234" y="24"/>
                  </a:lnTo>
                  <a:lnTo>
                    <a:pt x="228" y="30"/>
                  </a:lnTo>
                  <a:lnTo>
                    <a:pt x="222" y="24"/>
                  </a:lnTo>
                  <a:lnTo>
                    <a:pt x="198" y="24"/>
                  </a:lnTo>
                  <a:lnTo>
                    <a:pt x="192" y="30"/>
                  </a:lnTo>
                  <a:lnTo>
                    <a:pt x="180" y="36"/>
                  </a:lnTo>
                  <a:lnTo>
                    <a:pt x="174" y="42"/>
                  </a:lnTo>
                  <a:lnTo>
                    <a:pt x="174" y="54"/>
                  </a:lnTo>
                  <a:lnTo>
                    <a:pt x="192" y="72"/>
                  </a:lnTo>
                  <a:lnTo>
                    <a:pt x="186" y="78"/>
                  </a:lnTo>
                  <a:lnTo>
                    <a:pt x="168" y="78"/>
                  </a:lnTo>
                  <a:lnTo>
                    <a:pt x="162" y="72"/>
                  </a:lnTo>
                  <a:lnTo>
                    <a:pt x="156" y="72"/>
                  </a:lnTo>
                  <a:lnTo>
                    <a:pt x="162" y="90"/>
                  </a:lnTo>
                  <a:lnTo>
                    <a:pt x="144" y="90"/>
                  </a:lnTo>
                  <a:lnTo>
                    <a:pt x="138" y="96"/>
                  </a:lnTo>
                  <a:lnTo>
                    <a:pt x="138" y="102"/>
                  </a:lnTo>
                  <a:lnTo>
                    <a:pt x="144" y="114"/>
                  </a:lnTo>
                  <a:lnTo>
                    <a:pt x="144" y="120"/>
                  </a:lnTo>
                  <a:lnTo>
                    <a:pt x="132" y="120"/>
                  </a:lnTo>
                  <a:lnTo>
                    <a:pt x="132" y="126"/>
                  </a:lnTo>
                  <a:lnTo>
                    <a:pt x="138" y="132"/>
                  </a:lnTo>
                  <a:lnTo>
                    <a:pt x="138" y="144"/>
                  </a:lnTo>
                  <a:lnTo>
                    <a:pt x="144" y="150"/>
                  </a:lnTo>
                  <a:lnTo>
                    <a:pt x="144" y="156"/>
                  </a:lnTo>
                  <a:lnTo>
                    <a:pt x="132" y="156"/>
                  </a:lnTo>
                  <a:lnTo>
                    <a:pt x="138" y="150"/>
                  </a:lnTo>
                  <a:lnTo>
                    <a:pt x="138" y="144"/>
                  </a:lnTo>
                  <a:lnTo>
                    <a:pt x="120" y="144"/>
                  </a:lnTo>
                  <a:lnTo>
                    <a:pt x="108" y="150"/>
                  </a:lnTo>
                  <a:lnTo>
                    <a:pt x="102" y="156"/>
                  </a:lnTo>
                  <a:lnTo>
                    <a:pt x="96" y="168"/>
                  </a:lnTo>
                  <a:lnTo>
                    <a:pt x="84" y="156"/>
                  </a:lnTo>
                  <a:lnTo>
                    <a:pt x="84" y="174"/>
                  </a:lnTo>
                  <a:lnTo>
                    <a:pt x="54" y="174"/>
                  </a:lnTo>
                  <a:lnTo>
                    <a:pt x="54" y="168"/>
                  </a:lnTo>
                  <a:lnTo>
                    <a:pt x="48" y="162"/>
                  </a:lnTo>
                  <a:lnTo>
                    <a:pt x="42" y="162"/>
                  </a:lnTo>
                  <a:lnTo>
                    <a:pt x="30" y="168"/>
                  </a:lnTo>
                  <a:lnTo>
                    <a:pt x="18" y="168"/>
                  </a:lnTo>
                  <a:lnTo>
                    <a:pt x="12" y="174"/>
                  </a:lnTo>
                  <a:lnTo>
                    <a:pt x="6" y="174"/>
                  </a:lnTo>
                  <a:lnTo>
                    <a:pt x="12" y="186"/>
                  </a:lnTo>
                  <a:lnTo>
                    <a:pt x="18" y="192"/>
                  </a:lnTo>
                  <a:lnTo>
                    <a:pt x="18" y="204"/>
                  </a:lnTo>
                  <a:lnTo>
                    <a:pt x="24" y="210"/>
                  </a:lnTo>
                  <a:lnTo>
                    <a:pt x="36" y="234"/>
                  </a:lnTo>
                  <a:lnTo>
                    <a:pt x="42" y="240"/>
                  </a:lnTo>
                  <a:lnTo>
                    <a:pt x="42" y="246"/>
                  </a:lnTo>
                  <a:lnTo>
                    <a:pt x="36" y="252"/>
                  </a:lnTo>
                  <a:lnTo>
                    <a:pt x="36" y="264"/>
                  </a:lnTo>
                  <a:lnTo>
                    <a:pt x="12" y="270"/>
                  </a:lnTo>
                  <a:lnTo>
                    <a:pt x="12" y="288"/>
                  </a:lnTo>
                  <a:lnTo>
                    <a:pt x="0" y="288"/>
                  </a:lnTo>
                  <a:lnTo>
                    <a:pt x="0" y="294"/>
                  </a:lnTo>
                  <a:lnTo>
                    <a:pt x="6" y="300"/>
                  </a:lnTo>
                  <a:lnTo>
                    <a:pt x="12" y="300"/>
                  </a:lnTo>
                  <a:lnTo>
                    <a:pt x="24" y="312"/>
                  </a:lnTo>
                  <a:close/>
                </a:path>
              </a:pathLst>
            </a:cu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2700000" scaled="1"/>
              <a:tileRect/>
            </a:gra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203" name="Bahrain" descr="© INSCALE GmbH, 05.05.2010&#10;http://www.presentationload.com/"/>
            <p:cNvSpPr>
              <a:spLocks/>
            </p:cNvSpPr>
            <p:nvPr/>
          </p:nvSpPr>
          <p:spPr bwMode="gray">
            <a:xfrm>
              <a:off x="5629280" y="3219449"/>
              <a:ext cx="11112" cy="22225"/>
            </a:xfrm>
            <a:custGeom>
              <a:avLst/>
              <a:gdLst>
                <a:gd name="T0" fmla="*/ 2147483647 w 15"/>
                <a:gd name="T1" fmla="*/ 0 h 28"/>
                <a:gd name="T2" fmla="*/ 2147483647 w 15"/>
                <a:gd name="T3" fmla="*/ 2147483647 h 28"/>
                <a:gd name="T4" fmla="*/ 2147483647 w 15"/>
                <a:gd name="T5" fmla="*/ 2147483647 h 28"/>
                <a:gd name="T6" fmla="*/ 2033064304 w 15"/>
                <a:gd name="T7" fmla="*/ 2147483647 h 28"/>
                <a:gd name="T8" fmla="*/ 813445092 w 15"/>
                <a:gd name="T9" fmla="*/ 2147483647 h 28"/>
                <a:gd name="T10" fmla="*/ 2147483647 w 15"/>
                <a:gd name="T11" fmla="*/ 0 h 28"/>
                <a:gd name="T12" fmla="*/ 0 60000 65536"/>
                <a:gd name="T13" fmla="*/ 0 60000 65536"/>
                <a:gd name="T14" fmla="*/ 0 60000 65536"/>
                <a:gd name="T15" fmla="*/ 0 60000 65536"/>
                <a:gd name="T16" fmla="*/ 0 60000 65536"/>
                <a:gd name="T17" fmla="*/ 0 60000 65536"/>
                <a:gd name="T18" fmla="*/ 0 w 15"/>
                <a:gd name="T19" fmla="*/ 0 h 28"/>
                <a:gd name="T20" fmla="*/ 15 w 15"/>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15" h="28">
                  <a:moveTo>
                    <a:pt x="9" y="0"/>
                  </a:moveTo>
                  <a:cubicBezTo>
                    <a:pt x="14" y="0"/>
                    <a:pt x="15" y="10"/>
                    <a:pt x="14" y="14"/>
                  </a:cubicBezTo>
                  <a:cubicBezTo>
                    <a:pt x="13" y="18"/>
                    <a:pt x="15" y="28"/>
                    <a:pt x="9" y="28"/>
                  </a:cubicBezTo>
                  <a:cubicBezTo>
                    <a:pt x="4" y="27"/>
                    <a:pt x="5" y="21"/>
                    <a:pt x="5" y="18"/>
                  </a:cubicBezTo>
                  <a:cubicBezTo>
                    <a:pt x="5" y="14"/>
                    <a:pt x="0" y="14"/>
                    <a:pt x="2" y="8"/>
                  </a:cubicBezTo>
                  <a:close/>
                </a:path>
              </a:pathLst>
            </a:custGeom>
            <a:solidFill>
              <a:srgbClr val="FFC000"/>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204" name="Azerbaijan" descr="© INSCALE GmbH, 05.05.2010&#10;http://www.presentationload.com/"/>
            <p:cNvSpPr>
              <a:spLocks noEditPoints="1"/>
            </p:cNvSpPr>
            <p:nvPr/>
          </p:nvSpPr>
          <p:spPr bwMode="gray">
            <a:xfrm>
              <a:off x="5419729" y="2719387"/>
              <a:ext cx="146050" cy="117475"/>
            </a:xfrm>
            <a:custGeom>
              <a:avLst/>
              <a:gdLst>
                <a:gd name="T0" fmla="*/ 2147483647 w 360"/>
                <a:gd name="T1" fmla="*/ 2147483647 h 288"/>
                <a:gd name="T2" fmla="*/ 2147483647 w 360"/>
                <a:gd name="T3" fmla="*/ 2147483647 h 288"/>
                <a:gd name="T4" fmla="*/ 2147483647 w 360"/>
                <a:gd name="T5" fmla="*/ 2147483647 h 288"/>
                <a:gd name="T6" fmla="*/ 2147483647 w 360"/>
                <a:gd name="T7" fmla="*/ 2147483647 h 288"/>
                <a:gd name="T8" fmla="*/ 2147483647 w 360"/>
                <a:gd name="T9" fmla="*/ 2147483647 h 288"/>
                <a:gd name="T10" fmla="*/ 2147483647 w 360"/>
                <a:gd name="T11" fmla="*/ 2147483647 h 288"/>
                <a:gd name="T12" fmla="*/ 2147483647 w 360"/>
                <a:gd name="T13" fmla="*/ 2147483647 h 288"/>
                <a:gd name="T14" fmla="*/ 2147483647 w 360"/>
                <a:gd name="T15" fmla="*/ 2147483647 h 288"/>
                <a:gd name="T16" fmla="*/ 2147483647 w 360"/>
                <a:gd name="T17" fmla="*/ 2147483647 h 288"/>
                <a:gd name="T18" fmla="*/ 2147483647 w 360"/>
                <a:gd name="T19" fmla="*/ 2147483647 h 288"/>
                <a:gd name="T20" fmla="*/ 2147483647 w 360"/>
                <a:gd name="T21" fmla="*/ 2147483647 h 288"/>
                <a:gd name="T22" fmla="*/ 2147483647 w 360"/>
                <a:gd name="T23" fmla="*/ 2147483647 h 288"/>
                <a:gd name="T24" fmla="*/ 2147483647 w 360"/>
                <a:gd name="T25" fmla="*/ 2147483647 h 288"/>
                <a:gd name="T26" fmla="*/ 2147483647 w 360"/>
                <a:gd name="T27" fmla="*/ 0 h 288"/>
                <a:gd name="T28" fmla="*/ 2147483647 w 360"/>
                <a:gd name="T29" fmla="*/ 2147483647 h 288"/>
                <a:gd name="T30" fmla="*/ 2147483647 w 360"/>
                <a:gd name="T31" fmla="*/ 2147483647 h 288"/>
                <a:gd name="T32" fmla="*/ 2147483647 w 360"/>
                <a:gd name="T33" fmla="*/ 2147483647 h 288"/>
                <a:gd name="T34" fmla="*/ 2147483647 w 360"/>
                <a:gd name="T35" fmla="*/ 2147483647 h 288"/>
                <a:gd name="T36" fmla="*/ 2147483647 w 360"/>
                <a:gd name="T37" fmla="*/ 2147483647 h 288"/>
                <a:gd name="T38" fmla="*/ 2147483647 w 360"/>
                <a:gd name="T39" fmla="*/ 0 h 288"/>
                <a:gd name="T40" fmla="*/ 2147483647 w 360"/>
                <a:gd name="T41" fmla="*/ 2147483647 h 288"/>
                <a:gd name="T42" fmla="*/ 2147483647 w 360"/>
                <a:gd name="T43" fmla="*/ 2147483647 h 288"/>
                <a:gd name="T44" fmla="*/ 2147483647 w 360"/>
                <a:gd name="T45" fmla="*/ 2147483647 h 288"/>
                <a:gd name="T46" fmla="*/ 2147483647 w 360"/>
                <a:gd name="T47" fmla="*/ 2147483647 h 288"/>
                <a:gd name="T48" fmla="*/ 2147483647 w 360"/>
                <a:gd name="T49" fmla="*/ 2147483647 h 288"/>
                <a:gd name="T50" fmla="*/ 2147483647 w 360"/>
                <a:gd name="T51" fmla="*/ 2147483647 h 288"/>
                <a:gd name="T52" fmla="*/ 2147483647 w 360"/>
                <a:gd name="T53" fmla="*/ 2147483647 h 288"/>
                <a:gd name="T54" fmla="*/ 0 w 360"/>
                <a:gd name="T55" fmla="*/ 2147483647 h 288"/>
                <a:gd name="T56" fmla="*/ 2147483647 w 360"/>
                <a:gd name="T57" fmla="*/ 2147483647 h 288"/>
                <a:gd name="T58" fmla="*/ 2147483647 w 360"/>
                <a:gd name="T59" fmla="*/ 2147483647 h 288"/>
                <a:gd name="T60" fmla="*/ 2147483647 w 360"/>
                <a:gd name="T61" fmla="*/ 2147483647 h 288"/>
                <a:gd name="T62" fmla="*/ 2147483647 w 360"/>
                <a:gd name="T63" fmla="*/ 2147483647 h 288"/>
                <a:gd name="T64" fmla="*/ 2147483647 w 360"/>
                <a:gd name="T65" fmla="*/ 2147483647 h 288"/>
                <a:gd name="T66" fmla="*/ 2147483647 w 360"/>
                <a:gd name="T67" fmla="*/ 2147483647 h 288"/>
                <a:gd name="T68" fmla="*/ 2147483647 w 360"/>
                <a:gd name="T69" fmla="*/ 2147483647 h 288"/>
                <a:gd name="T70" fmla="*/ 2147483647 w 360"/>
                <a:gd name="T71" fmla="*/ 2147483647 h 288"/>
                <a:gd name="T72" fmla="*/ 2147483647 w 360"/>
                <a:gd name="T73" fmla="*/ 2147483647 h 288"/>
                <a:gd name="T74" fmla="*/ 2147483647 w 360"/>
                <a:gd name="T75" fmla="*/ 2147483647 h 288"/>
                <a:gd name="T76" fmla="*/ 2147483647 w 360"/>
                <a:gd name="T77" fmla="*/ 2147483647 h 288"/>
                <a:gd name="T78" fmla="*/ 2147483647 w 360"/>
                <a:gd name="T79" fmla="*/ 2147483647 h 288"/>
                <a:gd name="T80" fmla="*/ 2147483647 w 360"/>
                <a:gd name="T81" fmla="*/ 2147483647 h 288"/>
                <a:gd name="T82" fmla="*/ 2147483647 w 360"/>
                <a:gd name="T83" fmla="*/ 2147483647 h 288"/>
                <a:gd name="T84" fmla="*/ 2147483647 w 360"/>
                <a:gd name="T85" fmla="*/ 2147483647 h 288"/>
                <a:gd name="T86" fmla="*/ 2147483647 w 360"/>
                <a:gd name="T87" fmla="*/ 2147483647 h 288"/>
                <a:gd name="T88" fmla="*/ 2147483647 w 360"/>
                <a:gd name="T89" fmla="*/ 2147483647 h 288"/>
                <a:gd name="T90" fmla="*/ 2147483647 w 360"/>
                <a:gd name="T91" fmla="*/ 2147483647 h 288"/>
                <a:gd name="T92" fmla="*/ 2147483647 w 360"/>
                <a:gd name="T93" fmla="*/ 2147483647 h 288"/>
                <a:gd name="T94" fmla="*/ 2147483647 w 360"/>
                <a:gd name="T95" fmla="*/ 2147483647 h 288"/>
                <a:gd name="T96" fmla="*/ 2147483647 w 360"/>
                <a:gd name="T97" fmla="*/ 2147483647 h 288"/>
                <a:gd name="T98" fmla="*/ 2147483647 w 360"/>
                <a:gd name="T99" fmla="*/ 2147483647 h 288"/>
                <a:gd name="T100" fmla="*/ 2147483647 w 360"/>
                <a:gd name="T101" fmla="*/ 2147483647 h 288"/>
                <a:gd name="T102" fmla="*/ 2147483647 w 360"/>
                <a:gd name="T103" fmla="*/ 2147483647 h 288"/>
                <a:gd name="T104" fmla="*/ 2147483647 w 360"/>
                <a:gd name="T105" fmla="*/ 2147483647 h 288"/>
                <a:gd name="T106" fmla="*/ 2147483647 w 360"/>
                <a:gd name="T107" fmla="*/ 2147483647 h 288"/>
                <a:gd name="T108" fmla="*/ 2147483647 w 360"/>
                <a:gd name="T109" fmla="*/ 2147483647 h 288"/>
                <a:gd name="T110" fmla="*/ 2147483647 w 360"/>
                <a:gd name="T111" fmla="*/ 2147483647 h 288"/>
                <a:gd name="T112" fmla="*/ 2147483647 w 360"/>
                <a:gd name="T113" fmla="*/ 2147483647 h 288"/>
                <a:gd name="T114" fmla="*/ 2147483647 w 360"/>
                <a:gd name="T115" fmla="*/ 2147483647 h 288"/>
                <a:gd name="T116" fmla="*/ 2147483647 w 360"/>
                <a:gd name="T117" fmla="*/ 2147483647 h 288"/>
                <a:gd name="T118" fmla="*/ 2147483647 w 360"/>
                <a:gd name="T119" fmla="*/ 2147483647 h 288"/>
                <a:gd name="T120" fmla="*/ 2147483647 w 360"/>
                <a:gd name="T121" fmla="*/ 2147483647 h 2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0"/>
                <a:gd name="T184" fmla="*/ 0 h 288"/>
                <a:gd name="T185" fmla="*/ 360 w 360"/>
                <a:gd name="T186" fmla="*/ 288 h 2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0" h="288">
                  <a:moveTo>
                    <a:pt x="66" y="186"/>
                  </a:moveTo>
                  <a:lnTo>
                    <a:pt x="36" y="186"/>
                  </a:lnTo>
                  <a:lnTo>
                    <a:pt x="24" y="174"/>
                  </a:lnTo>
                  <a:lnTo>
                    <a:pt x="6" y="174"/>
                  </a:lnTo>
                  <a:lnTo>
                    <a:pt x="12" y="186"/>
                  </a:lnTo>
                  <a:lnTo>
                    <a:pt x="12" y="192"/>
                  </a:lnTo>
                  <a:lnTo>
                    <a:pt x="18" y="204"/>
                  </a:lnTo>
                  <a:lnTo>
                    <a:pt x="36" y="222"/>
                  </a:lnTo>
                  <a:lnTo>
                    <a:pt x="48" y="228"/>
                  </a:lnTo>
                  <a:lnTo>
                    <a:pt x="84" y="240"/>
                  </a:lnTo>
                  <a:lnTo>
                    <a:pt x="90" y="240"/>
                  </a:lnTo>
                  <a:lnTo>
                    <a:pt x="84" y="234"/>
                  </a:lnTo>
                  <a:lnTo>
                    <a:pt x="84" y="222"/>
                  </a:lnTo>
                  <a:lnTo>
                    <a:pt x="78" y="216"/>
                  </a:lnTo>
                  <a:lnTo>
                    <a:pt x="78" y="204"/>
                  </a:lnTo>
                  <a:lnTo>
                    <a:pt x="72" y="198"/>
                  </a:lnTo>
                  <a:lnTo>
                    <a:pt x="72" y="186"/>
                  </a:lnTo>
                  <a:lnTo>
                    <a:pt x="66" y="186"/>
                  </a:lnTo>
                  <a:close/>
                  <a:moveTo>
                    <a:pt x="354" y="108"/>
                  </a:moveTo>
                  <a:lnTo>
                    <a:pt x="348" y="102"/>
                  </a:lnTo>
                  <a:lnTo>
                    <a:pt x="330" y="102"/>
                  </a:lnTo>
                  <a:lnTo>
                    <a:pt x="318" y="108"/>
                  </a:lnTo>
                  <a:lnTo>
                    <a:pt x="306" y="108"/>
                  </a:lnTo>
                  <a:lnTo>
                    <a:pt x="288" y="90"/>
                  </a:lnTo>
                  <a:lnTo>
                    <a:pt x="288" y="84"/>
                  </a:lnTo>
                  <a:lnTo>
                    <a:pt x="264" y="54"/>
                  </a:lnTo>
                  <a:lnTo>
                    <a:pt x="264" y="42"/>
                  </a:lnTo>
                  <a:lnTo>
                    <a:pt x="216" y="0"/>
                  </a:lnTo>
                  <a:lnTo>
                    <a:pt x="216" y="30"/>
                  </a:lnTo>
                  <a:lnTo>
                    <a:pt x="210" y="36"/>
                  </a:lnTo>
                  <a:lnTo>
                    <a:pt x="192" y="36"/>
                  </a:lnTo>
                  <a:lnTo>
                    <a:pt x="192" y="48"/>
                  </a:lnTo>
                  <a:lnTo>
                    <a:pt x="186" y="54"/>
                  </a:lnTo>
                  <a:lnTo>
                    <a:pt x="162" y="54"/>
                  </a:lnTo>
                  <a:lnTo>
                    <a:pt x="156" y="48"/>
                  </a:lnTo>
                  <a:lnTo>
                    <a:pt x="144" y="42"/>
                  </a:lnTo>
                  <a:lnTo>
                    <a:pt x="138" y="30"/>
                  </a:lnTo>
                  <a:lnTo>
                    <a:pt x="120" y="12"/>
                  </a:lnTo>
                  <a:lnTo>
                    <a:pt x="84" y="0"/>
                  </a:lnTo>
                  <a:lnTo>
                    <a:pt x="72" y="0"/>
                  </a:lnTo>
                  <a:lnTo>
                    <a:pt x="60" y="12"/>
                  </a:lnTo>
                  <a:lnTo>
                    <a:pt x="78" y="30"/>
                  </a:lnTo>
                  <a:lnTo>
                    <a:pt x="84" y="30"/>
                  </a:lnTo>
                  <a:lnTo>
                    <a:pt x="90" y="36"/>
                  </a:lnTo>
                  <a:lnTo>
                    <a:pt x="96" y="48"/>
                  </a:lnTo>
                  <a:lnTo>
                    <a:pt x="102" y="54"/>
                  </a:lnTo>
                  <a:lnTo>
                    <a:pt x="108" y="66"/>
                  </a:lnTo>
                  <a:lnTo>
                    <a:pt x="102" y="72"/>
                  </a:lnTo>
                  <a:lnTo>
                    <a:pt x="84" y="54"/>
                  </a:lnTo>
                  <a:lnTo>
                    <a:pt x="72" y="54"/>
                  </a:lnTo>
                  <a:lnTo>
                    <a:pt x="60" y="60"/>
                  </a:lnTo>
                  <a:lnTo>
                    <a:pt x="42" y="42"/>
                  </a:lnTo>
                  <a:lnTo>
                    <a:pt x="42" y="36"/>
                  </a:lnTo>
                  <a:lnTo>
                    <a:pt x="36" y="30"/>
                  </a:lnTo>
                  <a:lnTo>
                    <a:pt x="12" y="30"/>
                  </a:lnTo>
                  <a:lnTo>
                    <a:pt x="0" y="42"/>
                  </a:lnTo>
                  <a:lnTo>
                    <a:pt x="0" y="48"/>
                  </a:lnTo>
                  <a:lnTo>
                    <a:pt x="6" y="48"/>
                  </a:lnTo>
                  <a:lnTo>
                    <a:pt x="12" y="54"/>
                  </a:lnTo>
                  <a:lnTo>
                    <a:pt x="12" y="66"/>
                  </a:lnTo>
                  <a:lnTo>
                    <a:pt x="30" y="66"/>
                  </a:lnTo>
                  <a:lnTo>
                    <a:pt x="36" y="72"/>
                  </a:lnTo>
                  <a:lnTo>
                    <a:pt x="36" y="96"/>
                  </a:lnTo>
                  <a:lnTo>
                    <a:pt x="30" y="102"/>
                  </a:lnTo>
                  <a:lnTo>
                    <a:pt x="36" y="102"/>
                  </a:lnTo>
                  <a:lnTo>
                    <a:pt x="42" y="108"/>
                  </a:lnTo>
                  <a:lnTo>
                    <a:pt x="66" y="120"/>
                  </a:lnTo>
                  <a:lnTo>
                    <a:pt x="72" y="126"/>
                  </a:lnTo>
                  <a:lnTo>
                    <a:pt x="72" y="132"/>
                  </a:lnTo>
                  <a:lnTo>
                    <a:pt x="54" y="150"/>
                  </a:lnTo>
                  <a:lnTo>
                    <a:pt x="42" y="150"/>
                  </a:lnTo>
                  <a:lnTo>
                    <a:pt x="72" y="162"/>
                  </a:lnTo>
                  <a:lnTo>
                    <a:pt x="84" y="180"/>
                  </a:lnTo>
                  <a:lnTo>
                    <a:pt x="114" y="186"/>
                  </a:lnTo>
                  <a:lnTo>
                    <a:pt x="114" y="198"/>
                  </a:lnTo>
                  <a:lnTo>
                    <a:pt x="120" y="210"/>
                  </a:lnTo>
                  <a:lnTo>
                    <a:pt x="120" y="240"/>
                  </a:lnTo>
                  <a:lnTo>
                    <a:pt x="132" y="240"/>
                  </a:lnTo>
                  <a:lnTo>
                    <a:pt x="138" y="228"/>
                  </a:lnTo>
                  <a:lnTo>
                    <a:pt x="144" y="222"/>
                  </a:lnTo>
                  <a:lnTo>
                    <a:pt x="144" y="216"/>
                  </a:lnTo>
                  <a:lnTo>
                    <a:pt x="156" y="204"/>
                  </a:lnTo>
                  <a:lnTo>
                    <a:pt x="174" y="192"/>
                  </a:lnTo>
                  <a:lnTo>
                    <a:pt x="186" y="186"/>
                  </a:lnTo>
                  <a:lnTo>
                    <a:pt x="198" y="174"/>
                  </a:lnTo>
                  <a:lnTo>
                    <a:pt x="210" y="168"/>
                  </a:lnTo>
                  <a:lnTo>
                    <a:pt x="222" y="168"/>
                  </a:lnTo>
                  <a:lnTo>
                    <a:pt x="228" y="180"/>
                  </a:lnTo>
                  <a:lnTo>
                    <a:pt x="234" y="186"/>
                  </a:lnTo>
                  <a:lnTo>
                    <a:pt x="234" y="204"/>
                  </a:lnTo>
                  <a:lnTo>
                    <a:pt x="228" y="210"/>
                  </a:lnTo>
                  <a:lnTo>
                    <a:pt x="228" y="222"/>
                  </a:lnTo>
                  <a:lnTo>
                    <a:pt x="234" y="222"/>
                  </a:lnTo>
                  <a:lnTo>
                    <a:pt x="240" y="228"/>
                  </a:lnTo>
                  <a:lnTo>
                    <a:pt x="240" y="234"/>
                  </a:lnTo>
                  <a:lnTo>
                    <a:pt x="234" y="240"/>
                  </a:lnTo>
                  <a:lnTo>
                    <a:pt x="222" y="240"/>
                  </a:lnTo>
                  <a:lnTo>
                    <a:pt x="222" y="246"/>
                  </a:lnTo>
                  <a:lnTo>
                    <a:pt x="234" y="258"/>
                  </a:lnTo>
                  <a:lnTo>
                    <a:pt x="246" y="264"/>
                  </a:lnTo>
                  <a:lnTo>
                    <a:pt x="252" y="270"/>
                  </a:lnTo>
                  <a:lnTo>
                    <a:pt x="258" y="270"/>
                  </a:lnTo>
                  <a:lnTo>
                    <a:pt x="264" y="276"/>
                  </a:lnTo>
                  <a:lnTo>
                    <a:pt x="264" y="282"/>
                  </a:lnTo>
                  <a:lnTo>
                    <a:pt x="282" y="282"/>
                  </a:lnTo>
                  <a:lnTo>
                    <a:pt x="282" y="288"/>
                  </a:lnTo>
                  <a:lnTo>
                    <a:pt x="288" y="282"/>
                  </a:lnTo>
                  <a:lnTo>
                    <a:pt x="288" y="258"/>
                  </a:lnTo>
                  <a:lnTo>
                    <a:pt x="282" y="252"/>
                  </a:lnTo>
                  <a:lnTo>
                    <a:pt x="276" y="252"/>
                  </a:lnTo>
                  <a:lnTo>
                    <a:pt x="270" y="246"/>
                  </a:lnTo>
                  <a:lnTo>
                    <a:pt x="288" y="240"/>
                  </a:lnTo>
                  <a:lnTo>
                    <a:pt x="288" y="210"/>
                  </a:lnTo>
                  <a:lnTo>
                    <a:pt x="300" y="222"/>
                  </a:lnTo>
                  <a:lnTo>
                    <a:pt x="306" y="222"/>
                  </a:lnTo>
                  <a:lnTo>
                    <a:pt x="318" y="210"/>
                  </a:lnTo>
                  <a:lnTo>
                    <a:pt x="300" y="192"/>
                  </a:lnTo>
                  <a:lnTo>
                    <a:pt x="300" y="138"/>
                  </a:lnTo>
                  <a:lnTo>
                    <a:pt x="318" y="138"/>
                  </a:lnTo>
                  <a:lnTo>
                    <a:pt x="330" y="126"/>
                  </a:lnTo>
                  <a:lnTo>
                    <a:pt x="360" y="132"/>
                  </a:lnTo>
                  <a:lnTo>
                    <a:pt x="360" y="120"/>
                  </a:lnTo>
                  <a:lnTo>
                    <a:pt x="354" y="108"/>
                  </a:lnTo>
                  <a:close/>
                </a:path>
              </a:pathLst>
            </a:cu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2700000" scaled="1"/>
              <a:tileRect/>
            </a:gra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205" name="Austria" descr="© INSCALE GmbH, 05.05.2010&#10;http://www.presentationload.com/"/>
            <p:cNvSpPr>
              <a:spLocks/>
            </p:cNvSpPr>
            <p:nvPr/>
          </p:nvSpPr>
          <p:spPr bwMode="gray">
            <a:xfrm>
              <a:off x="4489452" y="2493961"/>
              <a:ext cx="184151" cy="80963"/>
            </a:xfrm>
            <a:custGeom>
              <a:avLst/>
              <a:gdLst>
                <a:gd name="T0" fmla="*/ 2147483647 w 456"/>
                <a:gd name="T1" fmla="*/ 2147483647 h 204"/>
                <a:gd name="T2" fmla="*/ 2147483647 w 456"/>
                <a:gd name="T3" fmla="*/ 2147483647 h 204"/>
                <a:gd name="T4" fmla="*/ 2147483647 w 456"/>
                <a:gd name="T5" fmla="*/ 2147483647 h 204"/>
                <a:gd name="T6" fmla="*/ 2147483647 w 456"/>
                <a:gd name="T7" fmla="*/ 2147483647 h 204"/>
                <a:gd name="T8" fmla="*/ 2147483647 w 456"/>
                <a:gd name="T9" fmla="*/ 2147483647 h 204"/>
                <a:gd name="T10" fmla="*/ 2147483647 w 456"/>
                <a:gd name="T11" fmla="*/ 2147483647 h 204"/>
                <a:gd name="T12" fmla="*/ 2147483647 w 456"/>
                <a:gd name="T13" fmla="*/ 2147483647 h 204"/>
                <a:gd name="T14" fmla="*/ 2147483647 w 456"/>
                <a:gd name="T15" fmla="*/ 0 h 204"/>
                <a:gd name="T16" fmla="*/ 2147483647 w 456"/>
                <a:gd name="T17" fmla="*/ 2147483647 h 204"/>
                <a:gd name="T18" fmla="*/ 2147483647 w 456"/>
                <a:gd name="T19" fmla="*/ 2147483647 h 204"/>
                <a:gd name="T20" fmla="*/ 2147483647 w 456"/>
                <a:gd name="T21" fmla="*/ 2147483647 h 204"/>
                <a:gd name="T22" fmla="*/ 2147483647 w 456"/>
                <a:gd name="T23" fmla="*/ 2147483647 h 204"/>
                <a:gd name="T24" fmla="*/ 2147483647 w 456"/>
                <a:gd name="T25" fmla="*/ 2147483647 h 204"/>
                <a:gd name="T26" fmla="*/ 2147483647 w 456"/>
                <a:gd name="T27" fmla="*/ 2147483647 h 204"/>
                <a:gd name="T28" fmla="*/ 2147483647 w 456"/>
                <a:gd name="T29" fmla="*/ 2147483647 h 204"/>
                <a:gd name="T30" fmla="*/ 2147483647 w 456"/>
                <a:gd name="T31" fmla="*/ 2147483647 h 204"/>
                <a:gd name="T32" fmla="*/ 2147483647 w 456"/>
                <a:gd name="T33" fmla="*/ 2147483647 h 204"/>
                <a:gd name="T34" fmla="*/ 2147483647 w 456"/>
                <a:gd name="T35" fmla="*/ 2147483647 h 204"/>
                <a:gd name="T36" fmla="*/ 2147483647 w 456"/>
                <a:gd name="T37" fmla="*/ 2147483647 h 204"/>
                <a:gd name="T38" fmla="*/ 2147483647 w 456"/>
                <a:gd name="T39" fmla="*/ 2147483647 h 204"/>
                <a:gd name="T40" fmla="*/ 2147483647 w 456"/>
                <a:gd name="T41" fmla="*/ 2147483647 h 204"/>
                <a:gd name="T42" fmla="*/ 2147483647 w 456"/>
                <a:gd name="T43" fmla="*/ 2147483647 h 204"/>
                <a:gd name="T44" fmla="*/ 2147483647 w 456"/>
                <a:gd name="T45" fmla="*/ 2147483647 h 204"/>
                <a:gd name="T46" fmla="*/ 2147483647 w 456"/>
                <a:gd name="T47" fmla="*/ 2147483647 h 204"/>
                <a:gd name="T48" fmla="*/ 2147483647 w 456"/>
                <a:gd name="T49" fmla="*/ 2147483647 h 204"/>
                <a:gd name="T50" fmla="*/ 2147483647 w 456"/>
                <a:gd name="T51" fmla="*/ 2147483647 h 204"/>
                <a:gd name="T52" fmla="*/ 2147483647 w 456"/>
                <a:gd name="T53" fmla="*/ 2147483647 h 204"/>
                <a:gd name="T54" fmla="*/ 0 w 456"/>
                <a:gd name="T55" fmla="*/ 2147483647 h 204"/>
                <a:gd name="T56" fmla="*/ 2147483647 w 456"/>
                <a:gd name="T57" fmla="*/ 2147483647 h 204"/>
                <a:gd name="T58" fmla="*/ 2147483647 w 456"/>
                <a:gd name="T59" fmla="*/ 2147483647 h 204"/>
                <a:gd name="T60" fmla="*/ 2147483647 w 456"/>
                <a:gd name="T61" fmla="*/ 2147483647 h 204"/>
                <a:gd name="T62" fmla="*/ 2147483647 w 456"/>
                <a:gd name="T63" fmla="*/ 2147483647 h 204"/>
                <a:gd name="T64" fmla="*/ 2147483647 w 456"/>
                <a:gd name="T65" fmla="*/ 2147483647 h 204"/>
                <a:gd name="T66" fmla="*/ 2147483647 w 456"/>
                <a:gd name="T67" fmla="*/ 2147483647 h 204"/>
                <a:gd name="T68" fmla="*/ 2147483647 w 456"/>
                <a:gd name="T69" fmla="*/ 2147483647 h 204"/>
                <a:gd name="T70" fmla="*/ 2147483647 w 456"/>
                <a:gd name="T71" fmla="*/ 2147483647 h 204"/>
                <a:gd name="T72" fmla="*/ 2147483647 w 456"/>
                <a:gd name="T73" fmla="*/ 2147483647 h 204"/>
                <a:gd name="T74" fmla="*/ 2147483647 w 456"/>
                <a:gd name="T75" fmla="*/ 2147483647 h 204"/>
                <a:gd name="T76" fmla="*/ 2147483647 w 456"/>
                <a:gd name="T77" fmla="*/ 2147483647 h 204"/>
                <a:gd name="T78" fmla="*/ 2147483647 w 456"/>
                <a:gd name="T79" fmla="*/ 2147483647 h 204"/>
                <a:gd name="T80" fmla="*/ 2147483647 w 456"/>
                <a:gd name="T81" fmla="*/ 2147483647 h 204"/>
                <a:gd name="T82" fmla="*/ 2147483647 w 456"/>
                <a:gd name="T83" fmla="*/ 2147483647 h 204"/>
                <a:gd name="T84" fmla="*/ 2147483647 w 456"/>
                <a:gd name="T85" fmla="*/ 2147483647 h 204"/>
                <a:gd name="T86" fmla="*/ 2147483647 w 456"/>
                <a:gd name="T87" fmla="*/ 2147483647 h 204"/>
                <a:gd name="T88" fmla="*/ 2147483647 w 456"/>
                <a:gd name="T89" fmla="*/ 2147483647 h 204"/>
                <a:gd name="T90" fmla="*/ 2147483647 w 456"/>
                <a:gd name="T91" fmla="*/ 2147483647 h 20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56"/>
                <a:gd name="T139" fmla="*/ 0 h 204"/>
                <a:gd name="T140" fmla="*/ 456 w 456"/>
                <a:gd name="T141" fmla="*/ 204 h 20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56" h="204">
                  <a:moveTo>
                    <a:pt x="456" y="102"/>
                  </a:moveTo>
                  <a:lnTo>
                    <a:pt x="456" y="60"/>
                  </a:lnTo>
                  <a:lnTo>
                    <a:pt x="450" y="60"/>
                  </a:lnTo>
                  <a:lnTo>
                    <a:pt x="450" y="48"/>
                  </a:lnTo>
                  <a:lnTo>
                    <a:pt x="456" y="24"/>
                  </a:lnTo>
                  <a:lnTo>
                    <a:pt x="444" y="18"/>
                  </a:lnTo>
                  <a:lnTo>
                    <a:pt x="438" y="18"/>
                  </a:lnTo>
                  <a:lnTo>
                    <a:pt x="432" y="12"/>
                  </a:lnTo>
                  <a:lnTo>
                    <a:pt x="420" y="12"/>
                  </a:lnTo>
                  <a:lnTo>
                    <a:pt x="414" y="18"/>
                  </a:lnTo>
                  <a:lnTo>
                    <a:pt x="402" y="24"/>
                  </a:lnTo>
                  <a:lnTo>
                    <a:pt x="390" y="12"/>
                  </a:lnTo>
                  <a:lnTo>
                    <a:pt x="378" y="18"/>
                  </a:lnTo>
                  <a:lnTo>
                    <a:pt x="366" y="6"/>
                  </a:lnTo>
                  <a:lnTo>
                    <a:pt x="354" y="0"/>
                  </a:lnTo>
                  <a:lnTo>
                    <a:pt x="336" y="0"/>
                  </a:lnTo>
                  <a:lnTo>
                    <a:pt x="330" y="6"/>
                  </a:lnTo>
                  <a:lnTo>
                    <a:pt x="324" y="18"/>
                  </a:lnTo>
                  <a:lnTo>
                    <a:pt x="318" y="18"/>
                  </a:lnTo>
                  <a:lnTo>
                    <a:pt x="318" y="36"/>
                  </a:lnTo>
                  <a:lnTo>
                    <a:pt x="306" y="30"/>
                  </a:lnTo>
                  <a:lnTo>
                    <a:pt x="300" y="30"/>
                  </a:lnTo>
                  <a:lnTo>
                    <a:pt x="288" y="36"/>
                  </a:lnTo>
                  <a:lnTo>
                    <a:pt x="276" y="36"/>
                  </a:lnTo>
                  <a:lnTo>
                    <a:pt x="258" y="18"/>
                  </a:lnTo>
                  <a:lnTo>
                    <a:pt x="252" y="36"/>
                  </a:lnTo>
                  <a:lnTo>
                    <a:pt x="234" y="36"/>
                  </a:lnTo>
                  <a:lnTo>
                    <a:pt x="240" y="48"/>
                  </a:lnTo>
                  <a:lnTo>
                    <a:pt x="240" y="66"/>
                  </a:lnTo>
                  <a:lnTo>
                    <a:pt x="234" y="66"/>
                  </a:lnTo>
                  <a:lnTo>
                    <a:pt x="228" y="60"/>
                  </a:lnTo>
                  <a:lnTo>
                    <a:pt x="210" y="60"/>
                  </a:lnTo>
                  <a:lnTo>
                    <a:pt x="204" y="66"/>
                  </a:lnTo>
                  <a:lnTo>
                    <a:pt x="204" y="72"/>
                  </a:lnTo>
                  <a:lnTo>
                    <a:pt x="198" y="78"/>
                  </a:lnTo>
                  <a:lnTo>
                    <a:pt x="198" y="84"/>
                  </a:lnTo>
                  <a:lnTo>
                    <a:pt x="210" y="84"/>
                  </a:lnTo>
                  <a:lnTo>
                    <a:pt x="210" y="126"/>
                  </a:lnTo>
                  <a:lnTo>
                    <a:pt x="204" y="126"/>
                  </a:lnTo>
                  <a:lnTo>
                    <a:pt x="192" y="114"/>
                  </a:lnTo>
                  <a:lnTo>
                    <a:pt x="174" y="108"/>
                  </a:lnTo>
                  <a:lnTo>
                    <a:pt x="162" y="102"/>
                  </a:lnTo>
                  <a:lnTo>
                    <a:pt x="144" y="114"/>
                  </a:lnTo>
                  <a:lnTo>
                    <a:pt x="126" y="114"/>
                  </a:lnTo>
                  <a:lnTo>
                    <a:pt x="108" y="126"/>
                  </a:lnTo>
                  <a:lnTo>
                    <a:pt x="102" y="132"/>
                  </a:lnTo>
                  <a:lnTo>
                    <a:pt x="84" y="132"/>
                  </a:lnTo>
                  <a:lnTo>
                    <a:pt x="66" y="114"/>
                  </a:lnTo>
                  <a:lnTo>
                    <a:pt x="48" y="114"/>
                  </a:lnTo>
                  <a:lnTo>
                    <a:pt x="48" y="126"/>
                  </a:lnTo>
                  <a:lnTo>
                    <a:pt x="42" y="132"/>
                  </a:lnTo>
                  <a:lnTo>
                    <a:pt x="30" y="132"/>
                  </a:lnTo>
                  <a:lnTo>
                    <a:pt x="30" y="126"/>
                  </a:lnTo>
                  <a:lnTo>
                    <a:pt x="24" y="120"/>
                  </a:lnTo>
                  <a:lnTo>
                    <a:pt x="0" y="120"/>
                  </a:lnTo>
                  <a:lnTo>
                    <a:pt x="0" y="156"/>
                  </a:lnTo>
                  <a:lnTo>
                    <a:pt x="18" y="156"/>
                  </a:lnTo>
                  <a:lnTo>
                    <a:pt x="18" y="174"/>
                  </a:lnTo>
                  <a:lnTo>
                    <a:pt x="24" y="174"/>
                  </a:lnTo>
                  <a:lnTo>
                    <a:pt x="42" y="156"/>
                  </a:lnTo>
                  <a:lnTo>
                    <a:pt x="48" y="156"/>
                  </a:lnTo>
                  <a:lnTo>
                    <a:pt x="60" y="168"/>
                  </a:lnTo>
                  <a:lnTo>
                    <a:pt x="60" y="174"/>
                  </a:lnTo>
                  <a:lnTo>
                    <a:pt x="72" y="174"/>
                  </a:lnTo>
                  <a:lnTo>
                    <a:pt x="84" y="180"/>
                  </a:lnTo>
                  <a:lnTo>
                    <a:pt x="96" y="162"/>
                  </a:lnTo>
                  <a:lnTo>
                    <a:pt x="138" y="162"/>
                  </a:lnTo>
                  <a:lnTo>
                    <a:pt x="138" y="156"/>
                  </a:lnTo>
                  <a:lnTo>
                    <a:pt x="144" y="150"/>
                  </a:lnTo>
                  <a:lnTo>
                    <a:pt x="162" y="150"/>
                  </a:lnTo>
                  <a:lnTo>
                    <a:pt x="168" y="156"/>
                  </a:lnTo>
                  <a:lnTo>
                    <a:pt x="168" y="174"/>
                  </a:lnTo>
                  <a:lnTo>
                    <a:pt x="180" y="174"/>
                  </a:lnTo>
                  <a:lnTo>
                    <a:pt x="186" y="192"/>
                  </a:lnTo>
                  <a:lnTo>
                    <a:pt x="240" y="192"/>
                  </a:lnTo>
                  <a:lnTo>
                    <a:pt x="240" y="204"/>
                  </a:lnTo>
                  <a:lnTo>
                    <a:pt x="258" y="204"/>
                  </a:lnTo>
                  <a:lnTo>
                    <a:pt x="264" y="198"/>
                  </a:lnTo>
                  <a:lnTo>
                    <a:pt x="282" y="198"/>
                  </a:lnTo>
                  <a:lnTo>
                    <a:pt x="288" y="204"/>
                  </a:lnTo>
                  <a:lnTo>
                    <a:pt x="318" y="204"/>
                  </a:lnTo>
                  <a:lnTo>
                    <a:pt x="318" y="192"/>
                  </a:lnTo>
                  <a:lnTo>
                    <a:pt x="366" y="192"/>
                  </a:lnTo>
                  <a:lnTo>
                    <a:pt x="378" y="186"/>
                  </a:lnTo>
                  <a:lnTo>
                    <a:pt x="402" y="192"/>
                  </a:lnTo>
                  <a:lnTo>
                    <a:pt x="414" y="156"/>
                  </a:lnTo>
                  <a:lnTo>
                    <a:pt x="432" y="156"/>
                  </a:lnTo>
                  <a:lnTo>
                    <a:pt x="432" y="132"/>
                  </a:lnTo>
                  <a:lnTo>
                    <a:pt x="444" y="114"/>
                  </a:lnTo>
                  <a:lnTo>
                    <a:pt x="432" y="114"/>
                  </a:lnTo>
                  <a:lnTo>
                    <a:pt x="438" y="102"/>
                  </a:lnTo>
                  <a:lnTo>
                    <a:pt x="456" y="102"/>
                  </a:lnTo>
                  <a:close/>
                </a:path>
              </a:pathLst>
            </a:custGeom>
            <a:solidFill>
              <a:srgbClr val="005995"/>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206" name="Australia" descr="© INSCALE GmbH, 05.05.2010&#10;http://www.presentationload.com/"/>
            <p:cNvSpPr>
              <a:spLocks noEditPoints="1"/>
            </p:cNvSpPr>
            <p:nvPr/>
          </p:nvSpPr>
          <p:spPr bwMode="gray">
            <a:xfrm>
              <a:off x="7331081" y="4422774"/>
              <a:ext cx="1143002" cy="1071563"/>
            </a:xfrm>
            <a:custGeom>
              <a:avLst/>
              <a:gdLst>
                <a:gd name="T0" fmla="*/ 2147483647 w 2838"/>
                <a:gd name="T1" fmla="*/ 2147483647 h 2664"/>
                <a:gd name="T2" fmla="*/ 2147483647 w 2838"/>
                <a:gd name="T3" fmla="*/ 2147483647 h 2664"/>
                <a:gd name="T4" fmla="*/ 2147483647 w 2838"/>
                <a:gd name="T5" fmla="*/ 2147483647 h 2664"/>
                <a:gd name="T6" fmla="*/ 2147483647 w 2838"/>
                <a:gd name="T7" fmla="*/ 2147483647 h 2664"/>
                <a:gd name="T8" fmla="*/ 2147483647 w 2838"/>
                <a:gd name="T9" fmla="*/ 2147483647 h 2664"/>
                <a:gd name="T10" fmla="*/ 2147483647 w 2838"/>
                <a:gd name="T11" fmla="*/ 2147483647 h 2664"/>
                <a:gd name="T12" fmla="*/ 2147483647 w 2838"/>
                <a:gd name="T13" fmla="*/ 2147483647 h 2664"/>
                <a:gd name="T14" fmla="*/ 2147483647 w 2838"/>
                <a:gd name="T15" fmla="*/ 2147483647 h 2664"/>
                <a:gd name="T16" fmla="*/ 2147483647 w 2838"/>
                <a:gd name="T17" fmla="*/ 2147483647 h 2664"/>
                <a:gd name="T18" fmla="*/ 2147483647 w 2838"/>
                <a:gd name="T19" fmla="*/ 2147483647 h 2664"/>
                <a:gd name="T20" fmla="*/ 2147483647 w 2838"/>
                <a:gd name="T21" fmla="*/ 2147483647 h 2664"/>
                <a:gd name="T22" fmla="*/ 2147483647 w 2838"/>
                <a:gd name="T23" fmla="*/ 2147483647 h 2664"/>
                <a:gd name="T24" fmla="*/ 2147483647 w 2838"/>
                <a:gd name="T25" fmla="*/ 2147483647 h 2664"/>
                <a:gd name="T26" fmla="*/ 2147483647 w 2838"/>
                <a:gd name="T27" fmla="*/ 2147483647 h 2664"/>
                <a:gd name="T28" fmla="*/ 2147483647 w 2838"/>
                <a:gd name="T29" fmla="*/ 2147483647 h 2664"/>
                <a:gd name="T30" fmla="*/ 2147483647 w 2838"/>
                <a:gd name="T31" fmla="*/ 2147483647 h 2664"/>
                <a:gd name="T32" fmla="*/ 2147483647 w 2838"/>
                <a:gd name="T33" fmla="*/ 2147483647 h 2664"/>
                <a:gd name="T34" fmla="*/ 2147483647 w 2838"/>
                <a:gd name="T35" fmla="*/ 2147483647 h 2664"/>
                <a:gd name="T36" fmla="*/ 2147483647 w 2838"/>
                <a:gd name="T37" fmla="*/ 2147483647 h 2664"/>
                <a:gd name="T38" fmla="*/ 2147483647 w 2838"/>
                <a:gd name="T39" fmla="*/ 2147483647 h 2664"/>
                <a:gd name="T40" fmla="*/ 2147483647 w 2838"/>
                <a:gd name="T41" fmla="*/ 2147483647 h 2664"/>
                <a:gd name="T42" fmla="*/ 2147483647 w 2838"/>
                <a:gd name="T43" fmla="*/ 2147483647 h 2664"/>
                <a:gd name="T44" fmla="*/ 2147483647 w 2838"/>
                <a:gd name="T45" fmla="*/ 2147483647 h 2664"/>
                <a:gd name="T46" fmla="*/ 2147483647 w 2838"/>
                <a:gd name="T47" fmla="*/ 2147483647 h 2664"/>
                <a:gd name="T48" fmla="*/ 2147483647 w 2838"/>
                <a:gd name="T49" fmla="*/ 2147483647 h 2664"/>
                <a:gd name="T50" fmla="*/ 2147483647 w 2838"/>
                <a:gd name="T51" fmla="*/ 2147483647 h 2664"/>
                <a:gd name="T52" fmla="*/ 2147483647 w 2838"/>
                <a:gd name="T53" fmla="*/ 2147483647 h 2664"/>
                <a:gd name="T54" fmla="*/ 2147483647 w 2838"/>
                <a:gd name="T55" fmla="*/ 2147483647 h 2664"/>
                <a:gd name="T56" fmla="*/ 2147483647 w 2838"/>
                <a:gd name="T57" fmla="*/ 2147483647 h 2664"/>
                <a:gd name="T58" fmla="*/ 2147483647 w 2838"/>
                <a:gd name="T59" fmla="*/ 2147483647 h 2664"/>
                <a:gd name="T60" fmla="*/ 2147483647 w 2838"/>
                <a:gd name="T61" fmla="*/ 2147483647 h 2664"/>
                <a:gd name="T62" fmla="*/ 2147483647 w 2838"/>
                <a:gd name="T63" fmla="*/ 2147483647 h 2664"/>
                <a:gd name="T64" fmla="*/ 2147483647 w 2838"/>
                <a:gd name="T65" fmla="*/ 2147483647 h 2664"/>
                <a:gd name="T66" fmla="*/ 2147483647 w 2838"/>
                <a:gd name="T67" fmla="*/ 2147483647 h 2664"/>
                <a:gd name="T68" fmla="*/ 2147483647 w 2838"/>
                <a:gd name="T69" fmla="*/ 2147483647 h 2664"/>
                <a:gd name="T70" fmla="*/ 2147483647 w 2838"/>
                <a:gd name="T71" fmla="*/ 2147483647 h 2664"/>
                <a:gd name="T72" fmla="*/ 2147483647 w 2838"/>
                <a:gd name="T73" fmla="*/ 2147483647 h 2664"/>
                <a:gd name="T74" fmla="*/ 2147483647 w 2838"/>
                <a:gd name="T75" fmla="*/ 2147483647 h 2664"/>
                <a:gd name="T76" fmla="*/ 2147483647 w 2838"/>
                <a:gd name="T77" fmla="*/ 2147483647 h 2664"/>
                <a:gd name="T78" fmla="*/ 2147483647 w 2838"/>
                <a:gd name="T79" fmla="*/ 2147483647 h 2664"/>
                <a:gd name="T80" fmla="*/ 2147483647 w 2838"/>
                <a:gd name="T81" fmla="*/ 2147483647 h 2664"/>
                <a:gd name="T82" fmla="*/ 2147483647 w 2838"/>
                <a:gd name="T83" fmla="*/ 2147483647 h 2664"/>
                <a:gd name="T84" fmla="*/ 2147483647 w 2838"/>
                <a:gd name="T85" fmla="*/ 2147483647 h 2664"/>
                <a:gd name="T86" fmla="*/ 2147483647 w 2838"/>
                <a:gd name="T87" fmla="*/ 2147483647 h 2664"/>
                <a:gd name="T88" fmla="*/ 2147483647 w 2838"/>
                <a:gd name="T89" fmla="*/ 2147483647 h 2664"/>
                <a:gd name="T90" fmla="*/ 2147483647 w 2838"/>
                <a:gd name="T91" fmla="*/ 2147483647 h 2664"/>
                <a:gd name="T92" fmla="*/ 2147483647 w 2838"/>
                <a:gd name="T93" fmla="*/ 2147483647 h 2664"/>
                <a:gd name="T94" fmla="*/ 2147483647 w 2838"/>
                <a:gd name="T95" fmla="*/ 2147483647 h 2664"/>
                <a:gd name="T96" fmla="*/ 2147483647 w 2838"/>
                <a:gd name="T97" fmla="*/ 2147483647 h 2664"/>
                <a:gd name="T98" fmla="*/ 2147483647 w 2838"/>
                <a:gd name="T99" fmla="*/ 2147483647 h 2664"/>
                <a:gd name="T100" fmla="*/ 2147483647 w 2838"/>
                <a:gd name="T101" fmla="*/ 2147483647 h 2664"/>
                <a:gd name="T102" fmla="*/ 2147483647 w 2838"/>
                <a:gd name="T103" fmla="*/ 2147483647 h 2664"/>
                <a:gd name="T104" fmla="*/ 2147483647 w 2838"/>
                <a:gd name="T105" fmla="*/ 2147483647 h 2664"/>
                <a:gd name="T106" fmla="*/ 2147483647 w 2838"/>
                <a:gd name="T107" fmla="*/ 2147483647 h 2664"/>
                <a:gd name="T108" fmla="*/ 2147483647 w 2838"/>
                <a:gd name="T109" fmla="*/ 2147483647 h 2664"/>
                <a:gd name="T110" fmla="*/ 2147483647 w 2838"/>
                <a:gd name="T111" fmla="*/ 2147483647 h 2664"/>
                <a:gd name="T112" fmla="*/ 2147483647 w 2838"/>
                <a:gd name="T113" fmla="*/ 2147483647 h 2664"/>
                <a:gd name="T114" fmla="*/ 2147483647 w 2838"/>
                <a:gd name="T115" fmla="*/ 2147483647 h 2664"/>
                <a:gd name="T116" fmla="*/ 2147483647 w 2838"/>
                <a:gd name="T117" fmla="*/ 2147483647 h 266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38"/>
                <a:gd name="T178" fmla="*/ 0 h 2664"/>
                <a:gd name="T179" fmla="*/ 2838 w 2838"/>
                <a:gd name="T180" fmla="*/ 2664 h 266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38" h="2664">
                  <a:moveTo>
                    <a:pt x="1530" y="66"/>
                  </a:moveTo>
                  <a:lnTo>
                    <a:pt x="1524" y="60"/>
                  </a:lnTo>
                  <a:lnTo>
                    <a:pt x="1518" y="60"/>
                  </a:lnTo>
                  <a:lnTo>
                    <a:pt x="1506" y="66"/>
                  </a:lnTo>
                  <a:lnTo>
                    <a:pt x="1500" y="72"/>
                  </a:lnTo>
                  <a:lnTo>
                    <a:pt x="1494" y="84"/>
                  </a:lnTo>
                  <a:lnTo>
                    <a:pt x="1494" y="102"/>
                  </a:lnTo>
                  <a:lnTo>
                    <a:pt x="1506" y="102"/>
                  </a:lnTo>
                  <a:lnTo>
                    <a:pt x="1512" y="90"/>
                  </a:lnTo>
                  <a:lnTo>
                    <a:pt x="1524" y="78"/>
                  </a:lnTo>
                  <a:lnTo>
                    <a:pt x="1530" y="66"/>
                  </a:lnTo>
                  <a:close/>
                  <a:moveTo>
                    <a:pt x="1476" y="2016"/>
                  </a:moveTo>
                  <a:lnTo>
                    <a:pt x="1464" y="2016"/>
                  </a:lnTo>
                  <a:lnTo>
                    <a:pt x="1440" y="2028"/>
                  </a:lnTo>
                  <a:lnTo>
                    <a:pt x="1440" y="2034"/>
                  </a:lnTo>
                  <a:lnTo>
                    <a:pt x="1452" y="2046"/>
                  </a:lnTo>
                  <a:lnTo>
                    <a:pt x="1452" y="2052"/>
                  </a:lnTo>
                  <a:lnTo>
                    <a:pt x="1470" y="2052"/>
                  </a:lnTo>
                  <a:lnTo>
                    <a:pt x="1482" y="2046"/>
                  </a:lnTo>
                  <a:lnTo>
                    <a:pt x="1488" y="2040"/>
                  </a:lnTo>
                  <a:lnTo>
                    <a:pt x="1506" y="2040"/>
                  </a:lnTo>
                  <a:lnTo>
                    <a:pt x="1512" y="2034"/>
                  </a:lnTo>
                  <a:lnTo>
                    <a:pt x="1530" y="2034"/>
                  </a:lnTo>
                  <a:lnTo>
                    <a:pt x="1536" y="2028"/>
                  </a:lnTo>
                  <a:lnTo>
                    <a:pt x="1512" y="2028"/>
                  </a:lnTo>
                  <a:lnTo>
                    <a:pt x="1500" y="2016"/>
                  </a:lnTo>
                  <a:lnTo>
                    <a:pt x="1476" y="2016"/>
                  </a:lnTo>
                  <a:close/>
                  <a:moveTo>
                    <a:pt x="2802" y="1164"/>
                  </a:moveTo>
                  <a:lnTo>
                    <a:pt x="2802" y="1134"/>
                  </a:lnTo>
                  <a:lnTo>
                    <a:pt x="2796" y="1116"/>
                  </a:lnTo>
                  <a:lnTo>
                    <a:pt x="2796" y="1092"/>
                  </a:lnTo>
                  <a:lnTo>
                    <a:pt x="2790" y="1086"/>
                  </a:lnTo>
                  <a:lnTo>
                    <a:pt x="2778" y="1086"/>
                  </a:lnTo>
                  <a:lnTo>
                    <a:pt x="2772" y="1080"/>
                  </a:lnTo>
                  <a:lnTo>
                    <a:pt x="2760" y="1080"/>
                  </a:lnTo>
                  <a:lnTo>
                    <a:pt x="2760" y="1062"/>
                  </a:lnTo>
                  <a:lnTo>
                    <a:pt x="2742" y="1050"/>
                  </a:lnTo>
                  <a:lnTo>
                    <a:pt x="2742" y="1014"/>
                  </a:lnTo>
                  <a:lnTo>
                    <a:pt x="2736" y="1008"/>
                  </a:lnTo>
                  <a:lnTo>
                    <a:pt x="2724" y="1002"/>
                  </a:lnTo>
                  <a:lnTo>
                    <a:pt x="2718" y="996"/>
                  </a:lnTo>
                  <a:lnTo>
                    <a:pt x="2706" y="996"/>
                  </a:lnTo>
                  <a:lnTo>
                    <a:pt x="2712" y="996"/>
                  </a:lnTo>
                  <a:lnTo>
                    <a:pt x="2718" y="990"/>
                  </a:lnTo>
                  <a:lnTo>
                    <a:pt x="2730" y="990"/>
                  </a:lnTo>
                  <a:lnTo>
                    <a:pt x="2742" y="984"/>
                  </a:lnTo>
                  <a:lnTo>
                    <a:pt x="2760" y="966"/>
                  </a:lnTo>
                  <a:lnTo>
                    <a:pt x="2754" y="954"/>
                  </a:lnTo>
                  <a:lnTo>
                    <a:pt x="2736" y="936"/>
                  </a:lnTo>
                  <a:lnTo>
                    <a:pt x="2730" y="936"/>
                  </a:lnTo>
                  <a:lnTo>
                    <a:pt x="2730" y="930"/>
                  </a:lnTo>
                  <a:lnTo>
                    <a:pt x="2712" y="912"/>
                  </a:lnTo>
                  <a:lnTo>
                    <a:pt x="2700" y="906"/>
                  </a:lnTo>
                  <a:lnTo>
                    <a:pt x="2694" y="912"/>
                  </a:lnTo>
                  <a:lnTo>
                    <a:pt x="2694" y="936"/>
                  </a:lnTo>
                  <a:lnTo>
                    <a:pt x="2670" y="930"/>
                  </a:lnTo>
                  <a:lnTo>
                    <a:pt x="2670" y="924"/>
                  </a:lnTo>
                  <a:lnTo>
                    <a:pt x="2676" y="918"/>
                  </a:lnTo>
                  <a:lnTo>
                    <a:pt x="2676" y="906"/>
                  </a:lnTo>
                  <a:lnTo>
                    <a:pt x="2682" y="894"/>
                  </a:lnTo>
                  <a:lnTo>
                    <a:pt x="2688" y="876"/>
                  </a:lnTo>
                  <a:lnTo>
                    <a:pt x="2688" y="858"/>
                  </a:lnTo>
                  <a:lnTo>
                    <a:pt x="2682" y="852"/>
                  </a:lnTo>
                  <a:lnTo>
                    <a:pt x="2676" y="840"/>
                  </a:lnTo>
                  <a:lnTo>
                    <a:pt x="2670" y="840"/>
                  </a:lnTo>
                  <a:lnTo>
                    <a:pt x="2652" y="822"/>
                  </a:lnTo>
                  <a:lnTo>
                    <a:pt x="2652" y="816"/>
                  </a:lnTo>
                  <a:lnTo>
                    <a:pt x="2658" y="804"/>
                  </a:lnTo>
                  <a:lnTo>
                    <a:pt x="2658" y="792"/>
                  </a:lnTo>
                  <a:lnTo>
                    <a:pt x="2664" y="774"/>
                  </a:lnTo>
                  <a:lnTo>
                    <a:pt x="2664" y="762"/>
                  </a:lnTo>
                  <a:lnTo>
                    <a:pt x="2652" y="750"/>
                  </a:lnTo>
                  <a:lnTo>
                    <a:pt x="2628" y="732"/>
                  </a:lnTo>
                  <a:lnTo>
                    <a:pt x="2598" y="720"/>
                  </a:lnTo>
                  <a:lnTo>
                    <a:pt x="2580" y="708"/>
                  </a:lnTo>
                  <a:lnTo>
                    <a:pt x="2568" y="702"/>
                  </a:lnTo>
                  <a:lnTo>
                    <a:pt x="2556" y="708"/>
                  </a:lnTo>
                  <a:lnTo>
                    <a:pt x="2550" y="696"/>
                  </a:lnTo>
                  <a:lnTo>
                    <a:pt x="2538" y="684"/>
                  </a:lnTo>
                  <a:lnTo>
                    <a:pt x="2532" y="672"/>
                  </a:lnTo>
                  <a:lnTo>
                    <a:pt x="2520" y="660"/>
                  </a:lnTo>
                  <a:lnTo>
                    <a:pt x="2514" y="642"/>
                  </a:lnTo>
                  <a:lnTo>
                    <a:pt x="2514" y="594"/>
                  </a:lnTo>
                  <a:lnTo>
                    <a:pt x="2520" y="576"/>
                  </a:lnTo>
                  <a:lnTo>
                    <a:pt x="2526" y="564"/>
                  </a:lnTo>
                  <a:lnTo>
                    <a:pt x="2526" y="546"/>
                  </a:lnTo>
                  <a:lnTo>
                    <a:pt x="2520" y="504"/>
                  </a:lnTo>
                  <a:lnTo>
                    <a:pt x="2502" y="462"/>
                  </a:lnTo>
                  <a:lnTo>
                    <a:pt x="2490" y="426"/>
                  </a:lnTo>
                  <a:lnTo>
                    <a:pt x="2490" y="402"/>
                  </a:lnTo>
                  <a:lnTo>
                    <a:pt x="2496" y="390"/>
                  </a:lnTo>
                  <a:lnTo>
                    <a:pt x="2502" y="384"/>
                  </a:lnTo>
                  <a:lnTo>
                    <a:pt x="2502" y="324"/>
                  </a:lnTo>
                  <a:lnTo>
                    <a:pt x="2496" y="312"/>
                  </a:lnTo>
                  <a:lnTo>
                    <a:pt x="2496" y="300"/>
                  </a:lnTo>
                  <a:lnTo>
                    <a:pt x="2472" y="294"/>
                  </a:lnTo>
                  <a:lnTo>
                    <a:pt x="2460" y="288"/>
                  </a:lnTo>
                  <a:lnTo>
                    <a:pt x="2454" y="276"/>
                  </a:lnTo>
                  <a:lnTo>
                    <a:pt x="2442" y="270"/>
                  </a:lnTo>
                  <a:lnTo>
                    <a:pt x="2424" y="270"/>
                  </a:lnTo>
                  <a:lnTo>
                    <a:pt x="2418" y="282"/>
                  </a:lnTo>
                  <a:lnTo>
                    <a:pt x="2412" y="288"/>
                  </a:lnTo>
                  <a:lnTo>
                    <a:pt x="2412" y="282"/>
                  </a:lnTo>
                  <a:lnTo>
                    <a:pt x="2406" y="276"/>
                  </a:lnTo>
                  <a:lnTo>
                    <a:pt x="2400" y="264"/>
                  </a:lnTo>
                  <a:lnTo>
                    <a:pt x="2400" y="228"/>
                  </a:lnTo>
                  <a:lnTo>
                    <a:pt x="2406" y="216"/>
                  </a:lnTo>
                  <a:lnTo>
                    <a:pt x="2406" y="204"/>
                  </a:lnTo>
                  <a:lnTo>
                    <a:pt x="2388" y="180"/>
                  </a:lnTo>
                  <a:lnTo>
                    <a:pt x="2394" y="96"/>
                  </a:lnTo>
                  <a:lnTo>
                    <a:pt x="2382" y="90"/>
                  </a:lnTo>
                  <a:lnTo>
                    <a:pt x="2364" y="72"/>
                  </a:lnTo>
                  <a:lnTo>
                    <a:pt x="2364" y="66"/>
                  </a:lnTo>
                  <a:lnTo>
                    <a:pt x="2370" y="48"/>
                  </a:lnTo>
                  <a:lnTo>
                    <a:pt x="2370" y="24"/>
                  </a:lnTo>
                  <a:lnTo>
                    <a:pt x="2364" y="18"/>
                  </a:lnTo>
                  <a:lnTo>
                    <a:pt x="2346" y="18"/>
                  </a:lnTo>
                  <a:lnTo>
                    <a:pt x="2346" y="0"/>
                  </a:lnTo>
                  <a:lnTo>
                    <a:pt x="2316" y="12"/>
                  </a:lnTo>
                  <a:lnTo>
                    <a:pt x="2310" y="30"/>
                  </a:lnTo>
                  <a:lnTo>
                    <a:pt x="2298" y="36"/>
                  </a:lnTo>
                  <a:lnTo>
                    <a:pt x="2292" y="42"/>
                  </a:lnTo>
                  <a:lnTo>
                    <a:pt x="2280" y="48"/>
                  </a:lnTo>
                  <a:lnTo>
                    <a:pt x="2280" y="66"/>
                  </a:lnTo>
                  <a:lnTo>
                    <a:pt x="2286" y="78"/>
                  </a:lnTo>
                  <a:lnTo>
                    <a:pt x="2286" y="90"/>
                  </a:lnTo>
                  <a:lnTo>
                    <a:pt x="2292" y="102"/>
                  </a:lnTo>
                  <a:lnTo>
                    <a:pt x="2292" y="114"/>
                  </a:lnTo>
                  <a:lnTo>
                    <a:pt x="2286" y="126"/>
                  </a:lnTo>
                  <a:lnTo>
                    <a:pt x="2274" y="138"/>
                  </a:lnTo>
                  <a:lnTo>
                    <a:pt x="2268" y="150"/>
                  </a:lnTo>
                  <a:lnTo>
                    <a:pt x="2238" y="180"/>
                  </a:lnTo>
                  <a:lnTo>
                    <a:pt x="2256" y="192"/>
                  </a:lnTo>
                  <a:lnTo>
                    <a:pt x="2256" y="198"/>
                  </a:lnTo>
                  <a:lnTo>
                    <a:pt x="2250" y="204"/>
                  </a:lnTo>
                  <a:lnTo>
                    <a:pt x="2238" y="228"/>
                  </a:lnTo>
                  <a:lnTo>
                    <a:pt x="2232" y="234"/>
                  </a:lnTo>
                  <a:lnTo>
                    <a:pt x="2232" y="264"/>
                  </a:lnTo>
                  <a:lnTo>
                    <a:pt x="2238" y="276"/>
                  </a:lnTo>
                  <a:lnTo>
                    <a:pt x="2238" y="288"/>
                  </a:lnTo>
                  <a:lnTo>
                    <a:pt x="2232" y="300"/>
                  </a:lnTo>
                  <a:lnTo>
                    <a:pt x="2214" y="408"/>
                  </a:lnTo>
                  <a:lnTo>
                    <a:pt x="2208" y="432"/>
                  </a:lnTo>
                  <a:lnTo>
                    <a:pt x="2202" y="438"/>
                  </a:lnTo>
                  <a:lnTo>
                    <a:pt x="2190" y="462"/>
                  </a:lnTo>
                  <a:lnTo>
                    <a:pt x="2178" y="474"/>
                  </a:lnTo>
                  <a:lnTo>
                    <a:pt x="2172" y="486"/>
                  </a:lnTo>
                  <a:lnTo>
                    <a:pt x="2166" y="492"/>
                  </a:lnTo>
                  <a:lnTo>
                    <a:pt x="2166" y="516"/>
                  </a:lnTo>
                  <a:lnTo>
                    <a:pt x="2160" y="534"/>
                  </a:lnTo>
                  <a:lnTo>
                    <a:pt x="2154" y="546"/>
                  </a:lnTo>
                  <a:lnTo>
                    <a:pt x="2142" y="552"/>
                  </a:lnTo>
                  <a:lnTo>
                    <a:pt x="2088" y="570"/>
                  </a:lnTo>
                  <a:lnTo>
                    <a:pt x="2076" y="570"/>
                  </a:lnTo>
                  <a:lnTo>
                    <a:pt x="2064" y="576"/>
                  </a:lnTo>
                  <a:lnTo>
                    <a:pt x="2058" y="576"/>
                  </a:lnTo>
                  <a:lnTo>
                    <a:pt x="2058" y="570"/>
                  </a:lnTo>
                  <a:lnTo>
                    <a:pt x="2052" y="564"/>
                  </a:lnTo>
                  <a:lnTo>
                    <a:pt x="2028" y="516"/>
                  </a:lnTo>
                  <a:lnTo>
                    <a:pt x="2022" y="510"/>
                  </a:lnTo>
                  <a:lnTo>
                    <a:pt x="1998" y="492"/>
                  </a:lnTo>
                  <a:lnTo>
                    <a:pt x="1956" y="474"/>
                  </a:lnTo>
                  <a:lnTo>
                    <a:pt x="1920" y="462"/>
                  </a:lnTo>
                  <a:lnTo>
                    <a:pt x="1908" y="456"/>
                  </a:lnTo>
                  <a:lnTo>
                    <a:pt x="1896" y="438"/>
                  </a:lnTo>
                  <a:lnTo>
                    <a:pt x="1884" y="426"/>
                  </a:lnTo>
                  <a:lnTo>
                    <a:pt x="1872" y="402"/>
                  </a:lnTo>
                  <a:lnTo>
                    <a:pt x="1866" y="396"/>
                  </a:lnTo>
                  <a:lnTo>
                    <a:pt x="1830" y="396"/>
                  </a:lnTo>
                  <a:lnTo>
                    <a:pt x="1806" y="348"/>
                  </a:lnTo>
                  <a:lnTo>
                    <a:pt x="1824" y="330"/>
                  </a:lnTo>
                  <a:lnTo>
                    <a:pt x="1824" y="306"/>
                  </a:lnTo>
                  <a:lnTo>
                    <a:pt x="1830" y="294"/>
                  </a:lnTo>
                  <a:lnTo>
                    <a:pt x="1836" y="288"/>
                  </a:lnTo>
                  <a:lnTo>
                    <a:pt x="1848" y="282"/>
                  </a:lnTo>
                  <a:lnTo>
                    <a:pt x="1854" y="276"/>
                  </a:lnTo>
                  <a:lnTo>
                    <a:pt x="1848" y="228"/>
                  </a:lnTo>
                  <a:lnTo>
                    <a:pt x="1866" y="210"/>
                  </a:lnTo>
                  <a:lnTo>
                    <a:pt x="1872" y="216"/>
                  </a:lnTo>
                  <a:lnTo>
                    <a:pt x="1884" y="216"/>
                  </a:lnTo>
                  <a:lnTo>
                    <a:pt x="1890" y="222"/>
                  </a:lnTo>
                  <a:lnTo>
                    <a:pt x="1896" y="222"/>
                  </a:lnTo>
                  <a:lnTo>
                    <a:pt x="1902" y="216"/>
                  </a:lnTo>
                  <a:lnTo>
                    <a:pt x="1908" y="204"/>
                  </a:lnTo>
                  <a:lnTo>
                    <a:pt x="1908" y="180"/>
                  </a:lnTo>
                  <a:lnTo>
                    <a:pt x="1944" y="144"/>
                  </a:lnTo>
                  <a:lnTo>
                    <a:pt x="1938" y="132"/>
                  </a:lnTo>
                  <a:lnTo>
                    <a:pt x="1914" y="108"/>
                  </a:lnTo>
                  <a:lnTo>
                    <a:pt x="1890" y="108"/>
                  </a:lnTo>
                  <a:lnTo>
                    <a:pt x="1872" y="114"/>
                  </a:lnTo>
                  <a:lnTo>
                    <a:pt x="1848" y="126"/>
                  </a:lnTo>
                  <a:lnTo>
                    <a:pt x="1842" y="138"/>
                  </a:lnTo>
                  <a:lnTo>
                    <a:pt x="1842" y="120"/>
                  </a:lnTo>
                  <a:lnTo>
                    <a:pt x="1812" y="126"/>
                  </a:lnTo>
                  <a:lnTo>
                    <a:pt x="1794" y="138"/>
                  </a:lnTo>
                  <a:lnTo>
                    <a:pt x="1788" y="120"/>
                  </a:lnTo>
                  <a:lnTo>
                    <a:pt x="1752" y="114"/>
                  </a:lnTo>
                  <a:lnTo>
                    <a:pt x="1746" y="108"/>
                  </a:lnTo>
                  <a:lnTo>
                    <a:pt x="1734" y="102"/>
                  </a:lnTo>
                  <a:lnTo>
                    <a:pt x="1728" y="96"/>
                  </a:lnTo>
                  <a:lnTo>
                    <a:pt x="1716" y="90"/>
                  </a:lnTo>
                  <a:lnTo>
                    <a:pt x="1674" y="90"/>
                  </a:lnTo>
                  <a:lnTo>
                    <a:pt x="1662" y="84"/>
                  </a:lnTo>
                  <a:lnTo>
                    <a:pt x="1650" y="84"/>
                  </a:lnTo>
                  <a:lnTo>
                    <a:pt x="1650" y="78"/>
                  </a:lnTo>
                  <a:lnTo>
                    <a:pt x="1644" y="72"/>
                  </a:lnTo>
                  <a:lnTo>
                    <a:pt x="1632" y="48"/>
                  </a:lnTo>
                  <a:lnTo>
                    <a:pt x="1626" y="42"/>
                  </a:lnTo>
                  <a:lnTo>
                    <a:pt x="1620" y="42"/>
                  </a:lnTo>
                  <a:lnTo>
                    <a:pt x="1620" y="54"/>
                  </a:lnTo>
                  <a:lnTo>
                    <a:pt x="1614" y="60"/>
                  </a:lnTo>
                  <a:lnTo>
                    <a:pt x="1602" y="54"/>
                  </a:lnTo>
                  <a:lnTo>
                    <a:pt x="1596" y="54"/>
                  </a:lnTo>
                  <a:lnTo>
                    <a:pt x="1584" y="48"/>
                  </a:lnTo>
                  <a:lnTo>
                    <a:pt x="1566" y="48"/>
                  </a:lnTo>
                  <a:lnTo>
                    <a:pt x="1566" y="60"/>
                  </a:lnTo>
                  <a:lnTo>
                    <a:pt x="1572" y="66"/>
                  </a:lnTo>
                  <a:lnTo>
                    <a:pt x="1554" y="66"/>
                  </a:lnTo>
                  <a:lnTo>
                    <a:pt x="1548" y="72"/>
                  </a:lnTo>
                  <a:lnTo>
                    <a:pt x="1548" y="78"/>
                  </a:lnTo>
                  <a:lnTo>
                    <a:pt x="1554" y="84"/>
                  </a:lnTo>
                  <a:lnTo>
                    <a:pt x="1566" y="84"/>
                  </a:lnTo>
                  <a:lnTo>
                    <a:pt x="1590" y="96"/>
                  </a:lnTo>
                  <a:lnTo>
                    <a:pt x="1596" y="96"/>
                  </a:lnTo>
                  <a:lnTo>
                    <a:pt x="1608" y="90"/>
                  </a:lnTo>
                  <a:lnTo>
                    <a:pt x="1614" y="84"/>
                  </a:lnTo>
                  <a:lnTo>
                    <a:pt x="1644" y="102"/>
                  </a:lnTo>
                  <a:lnTo>
                    <a:pt x="1638" y="102"/>
                  </a:lnTo>
                  <a:lnTo>
                    <a:pt x="1632" y="108"/>
                  </a:lnTo>
                  <a:lnTo>
                    <a:pt x="1596" y="126"/>
                  </a:lnTo>
                  <a:lnTo>
                    <a:pt x="1572" y="126"/>
                  </a:lnTo>
                  <a:lnTo>
                    <a:pt x="1554" y="132"/>
                  </a:lnTo>
                  <a:lnTo>
                    <a:pt x="1512" y="132"/>
                  </a:lnTo>
                  <a:lnTo>
                    <a:pt x="1500" y="138"/>
                  </a:lnTo>
                  <a:lnTo>
                    <a:pt x="1482" y="144"/>
                  </a:lnTo>
                  <a:lnTo>
                    <a:pt x="1470" y="156"/>
                  </a:lnTo>
                  <a:lnTo>
                    <a:pt x="1452" y="162"/>
                  </a:lnTo>
                  <a:lnTo>
                    <a:pt x="1440" y="168"/>
                  </a:lnTo>
                  <a:lnTo>
                    <a:pt x="1434" y="174"/>
                  </a:lnTo>
                  <a:lnTo>
                    <a:pt x="1428" y="174"/>
                  </a:lnTo>
                  <a:lnTo>
                    <a:pt x="1428" y="186"/>
                  </a:lnTo>
                  <a:lnTo>
                    <a:pt x="1422" y="204"/>
                  </a:lnTo>
                  <a:lnTo>
                    <a:pt x="1422" y="228"/>
                  </a:lnTo>
                  <a:lnTo>
                    <a:pt x="1428" y="234"/>
                  </a:lnTo>
                  <a:lnTo>
                    <a:pt x="1440" y="240"/>
                  </a:lnTo>
                  <a:lnTo>
                    <a:pt x="1446" y="246"/>
                  </a:lnTo>
                  <a:lnTo>
                    <a:pt x="1452" y="246"/>
                  </a:lnTo>
                  <a:lnTo>
                    <a:pt x="1398" y="246"/>
                  </a:lnTo>
                  <a:lnTo>
                    <a:pt x="1368" y="282"/>
                  </a:lnTo>
                  <a:lnTo>
                    <a:pt x="1368" y="312"/>
                  </a:lnTo>
                  <a:lnTo>
                    <a:pt x="1362" y="324"/>
                  </a:lnTo>
                  <a:lnTo>
                    <a:pt x="1362" y="330"/>
                  </a:lnTo>
                  <a:lnTo>
                    <a:pt x="1368" y="336"/>
                  </a:lnTo>
                  <a:lnTo>
                    <a:pt x="1380" y="336"/>
                  </a:lnTo>
                  <a:lnTo>
                    <a:pt x="1404" y="348"/>
                  </a:lnTo>
                  <a:lnTo>
                    <a:pt x="1410" y="354"/>
                  </a:lnTo>
                  <a:lnTo>
                    <a:pt x="1410" y="390"/>
                  </a:lnTo>
                  <a:lnTo>
                    <a:pt x="1386" y="366"/>
                  </a:lnTo>
                  <a:lnTo>
                    <a:pt x="1356" y="366"/>
                  </a:lnTo>
                  <a:lnTo>
                    <a:pt x="1344" y="390"/>
                  </a:lnTo>
                  <a:lnTo>
                    <a:pt x="1308" y="354"/>
                  </a:lnTo>
                  <a:lnTo>
                    <a:pt x="1302" y="384"/>
                  </a:lnTo>
                  <a:lnTo>
                    <a:pt x="1278" y="396"/>
                  </a:lnTo>
                  <a:lnTo>
                    <a:pt x="1284" y="420"/>
                  </a:lnTo>
                  <a:lnTo>
                    <a:pt x="1254" y="414"/>
                  </a:lnTo>
                  <a:lnTo>
                    <a:pt x="1284" y="354"/>
                  </a:lnTo>
                  <a:lnTo>
                    <a:pt x="1278" y="348"/>
                  </a:lnTo>
                  <a:lnTo>
                    <a:pt x="1272" y="336"/>
                  </a:lnTo>
                  <a:lnTo>
                    <a:pt x="1272" y="324"/>
                  </a:lnTo>
                  <a:lnTo>
                    <a:pt x="1266" y="318"/>
                  </a:lnTo>
                  <a:lnTo>
                    <a:pt x="1254" y="312"/>
                  </a:lnTo>
                  <a:lnTo>
                    <a:pt x="1236" y="312"/>
                  </a:lnTo>
                  <a:lnTo>
                    <a:pt x="1224" y="282"/>
                  </a:lnTo>
                  <a:lnTo>
                    <a:pt x="1224" y="276"/>
                  </a:lnTo>
                  <a:lnTo>
                    <a:pt x="1230" y="270"/>
                  </a:lnTo>
                  <a:lnTo>
                    <a:pt x="1230" y="258"/>
                  </a:lnTo>
                  <a:lnTo>
                    <a:pt x="1224" y="246"/>
                  </a:lnTo>
                  <a:lnTo>
                    <a:pt x="1218" y="240"/>
                  </a:lnTo>
                  <a:lnTo>
                    <a:pt x="1206" y="234"/>
                  </a:lnTo>
                  <a:lnTo>
                    <a:pt x="1194" y="240"/>
                  </a:lnTo>
                  <a:lnTo>
                    <a:pt x="1188" y="246"/>
                  </a:lnTo>
                  <a:lnTo>
                    <a:pt x="1176" y="252"/>
                  </a:lnTo>
                  <a:lnTo>
                    <a:pt x="1176" y="264"/>
                  </a:lnTo>
                  <a:lnTo>
                    <a:pt x="1182" y="270"/>
                  </a:lnTo>
                  <a:lnTo>
                    <a:pt x="1182" y="282"/>
                  </a:lnTo>
                  <a:lnTo>
                    <a:pt x="1146" y="276"/>
                  </a:lnTo>
                  <a:lnTo>
                    <a:pt x="1152" y="306"/>
                  </a:lnTo>
                  <a:lnTo>
                    <a:pt x="1134" y="300"/>
                  </a:lnTo>
                  <a:lnTo>
                    <a:pt x="1116" y="306"/>
                  </a:lnTo>
                  <a:lnTo>
                    <a:pt x="1122" y="312"/>
                  </a:lnTo>
                  <a:lnTo>
                    <a:pt x="1122" y="330"/>
                  </a:lnTo>
                  <a:lnTo>
                    <a:pt x="1116" y="342"/>
                  </a:lnTo>
                  <a:lnTo>
                    <a:pt x="1110" y="348"/>
                  </a:lnTo>
                  <a:lnTo>
                    <a:pt x="1098" y="354"/>
                  </a:lnTo>
                  <a:lnTo>
                    <a:pt x="1092" y="360"/>
                  </a:lnTo>
                  <a:lnTo>
                    <a:pt x="1104" y="324"/>
                  </a:lnTo>
                  <a:lnTo>
                    <a:pt x="1080" y="348"/>
                  </a:lnTo>
                  <a:lnTo>
                    <a:pt x="1062" y="348"/>
                  </a:lnTo>
                  <a:lnTo>
                    <a:pt x="1056" y="360"/>
                  </a:lnTo>
                  <a:lnTo>
                    <a:pt x="1050" y="366"/>
                  </a:lnTo>
                  <a:lnTo>
                    <a:pt x="1050" y="378"/>
                  </a:lnTo>
                  <a:lnTo>
                    <a:pt x="1056" y="390"/>
                  </a:lnTo>
                  <a:lnTo>
                    <a:pt x="1056" y="396"/>
                  </a:lnTo>
                  <a:lnTo>
                    <a:pt x="1062" y="408"/>
                  </a:lnTo>
                  <a:lnTo>
                    <a:pt x="1014" y="384"/>
                  </a:lnTo>
                  <a:lnTo>
                    <a:pt x="1008" y="420"/>
                  </a:lnTo>
                  <a:lnTo>
                    <a:pt x="996" y="426"/>
                  </a:lnTo>
                  <a:lnTo>
                    <a:pt x="1008" y="450"/>
                  </a:lnTo>
                  <a:lnTo>
                    <a:pt x="1032" y="450"/>
                  </a:lnTo>
                  <a:lnTo>
                    <a:pt x="1026" y="468"/>
                  </a:lnTo>
                  <a:lnTo>
                    <a:pt x="954" y="474"/>
                  </a:lnTo>
                  <a:lnTo>
                    <a:pt x="948" y="468"/>
                  </a:lnTo>
                  <a:lnTo>
                    <a:pt x="936" y="462"/>
                  </a:lnTo>
                  <a:lnTo>
                    <a:pt x="930" y="462"/>
                  </a:lnTo>
                  <a:lnTo>
                    <a:pt x="918" y="468"/>
                  </a:lnTo>
                  <a:lnTo>
                    <a:pt x="912" y="474"/>
                  </a:lnTo>
                  <a:lnTo>
                    <a:pt x="918" y="486"/>
                  </a:lnTo>
                  <a:lnTo>
                    <a:pt x="918" y="492"/>
                  </a:lnTo>
                  <a:lnTo>
                    <a:pt x="924" y="504"/>
                  </a:lnTo>
                  <a:lnTo>
                    <a:pt x="930" y="510"/>
                  </a:lnTo>
                  <a:lnTo>
                    <a:pt x="930" y="540"/>
                  </a:lnTo>
                  <a:lnTo>
                    <a:pt x="924" y="564"/>
                  </a:lnTo>
                  <a:lnTo>
                    <a:pt x="930" y="600"/>
                  </a:lnTo>
                  <a:lnTo>
                    <a:pt x="912" y="600"/>
                  </a:lnTo>
                  <a:lnTo>
                    <a:pt x="906" y="522"/>
                  </a:lnTo>
                  <a:lnTo>
                    <a:pt x="888" y="510"/>
                  </a:lnTo>
                  <a:lnTo>
                    <a:pt x="888" y="480"/>
                  </a:lnTo>
                  <a:lnTo>
                    <a:pt x="870" y="480"/>
                  </a:lnTo>
                  <a:lnTo>
                    <a:pt x="852" y="504"/>
                  </a:lnTo>
                  <a:lnTo>
                    <a:pt x="822" y="534"/>
                  </a:lnTo>
                  <a:lnTo>
                    <a:pt x="804" y="546"/>
                  </a:lnTo>
                  <a:lnTo>
                    <a:pt x="792" y="558"/>
                  </a:lnTo>
                  <a:lnTo>
                    <a:pt x="786" y="570"/>
                  </a:lnTo>
                  <a:lnTo>
                    <a:pt x="786" y="600"/>
                  </a:lnTo>
                  <a:lnTo>
                    <a:pt x="792" y="606"/>
                  </a:lnTo>
                  <a:lnTo>
                    <a:pt x="792" y="618"/>
                  </a:lnTo>
                  <a:lnTo>
                    <a:pt x="798" y="618"/>
                  </a:lnTo>
                  <a:lnTo>
                    <a:pt x="816" y="636"/>
                  </a:lnTo>
                  <a:lnTo>
                    <a:pt x="810" y="648"/>
                  </a:lnTo>
                  <a:lnTo>
                    <a:pt x="792" y="654"/>
                  </a:lnTo>
                  <a:lnTo>
                    <a:pt x="774" y="666"/>
                  </a:lnTo>
                  <a:lnTo>
                    <a:pt x="750" y="678"/>
                  </a:lnTo>
                  <a:lnTo>
                    <a:pt x="750" y="696"/>
                  </a:lnTo>
                  <a:lnTo>
                    <a:pt x="720" y="726"/>
                  </a:lnTo>
                  <a:lnTo>
                    <a:pt x="702" y="732"/>
                  </a:lnTo>
                  <a:lnTo>
                    <a:pt x="690" y="744"/>
                  </a:lnTo>
                  <a:lnTo>
                    <a:pt x="666" y="756"/>
                  </a:lnTo>
                  <a:lnTo>
                    <a:pt x="630" y="762"/>
                  </a:lnTo>
                  <a:lnTo>
                    <a:pt x="600" y="768"/>
                  </a:lnTo>
                  <a:lnTo>
                    <a:pt x="588" y="768"/>
                  </a:lnTo>
                  <a:lnTo>
                    <a:pt x="534" y="762"/>
                  </a:lnTo>
                  <a:lnTo>
                    <a:pt x="492" y="780"/>
                  </a:lnTo>
                  <a:lnTo>
                    <a:pt x="438" y="786"/>
                  </a:lnTo>
                  <a:lnTo>
                    <a:pt x="432" y="798"/>
                  </a:lnTo>
                  <a:lnTo>
                    <a:pt x="414" y="798"/>
                  </a:lnTo>
                  <a:lnTo>
                    <a:pt x="402" y="804"/>
                  </a:lnTo>
                  <a:lnTo>
                    <a:pt x="396" y="810"/>
                  </a:lnTo>
                  <a:lnTo>
                    <a:pt x="384" y="816"/>
                  </a:lnTo>
                  <a:lnTo>
                    <a:pt x="372" y="828"/>
                  </a:lnTo>
                  <a:lnTo>
                    <a:pt x="342" y="828"/>
                  </a:lnTo>
                  <a:lnTo>
                    <a:pt x="324" y="834"/>
                  </a:lnTo>
                  <a:lnTo>
                    <a:pt x="312" y="840"/>
                  </a:lnTo>
                  <a:lnTo>
                    <a:pt x="306" y="852"/>
                  </a:lnTo>
                  <a:lnTo>
                    <a:pt x="294" y="858"/>
                  </a:lnTo>
                  <a:lnTo>
                    <a:pt x="288" y="870"/>
                  </a:lnTo>
                  <a:lnTo>
                    <a:pt x="282" y="876"/>
                  </a:lnTo>
                  <a:lnTo>
                    <a:pt x="282" y="882"/>
                  </a:lnTo>
                  <a:lnTo>
                    <a:pt x="276" y="882"/>
                  </a:lnTo>
                  <a:lnTo>
                    <a:pt x="270" y="888"/>
                  </a:lnTo>
                  <a:lnTo>
                    <a:pt x="252" y="888"/>
                  </a:lnTo>
                  <a:lnTo>
                    <a:pt x="240" y="894"/>
                  </a:lnTo>
                  <a:lnTo>
                    <a:pt x="228" y="894"/>
                  </a:lnTo>
                  <a:lnTo>
                    <a:pt x="216" y="900"/>
                  </a:lnTo>
                  <a:lnTo>
                    <a:pt x="210" y="906"/>
                  </a:lnTo>
                  <a:lnTo>
                    <a:pt x="198" y="912"/>
                  </a:lnTo>
                  <a:lnTo>
                    <a:pt x="192" y="930"/>
                  </a:lnTo>
                  <a:lnTo>
                    <a:pt x="150" y="972"/>
                  </a:lnTo>
                  <a:lnTo>
                    <a:pt x="150" y="978"/>
                  </a:lnTo>
                  <a:lnTo>
                    <a:pt x="162" y="912"/>
                  </a:lnTo>
                  <a:lnTo>
                    <a:pt x="144" y="918"/>
                  </a:lnTo>
                  <a:lnTo>
                    <a:pt x="120" y="978"/>
                  </a:lnTo>
                  <a:lnTo>
                    <a:pt x="90" y="1038"/>
                  </a:lnTo>
                  <a:lnTo>
                    <a:pt x="90" y="1056"/>
                  </a:lnTo>
                  <a:lnTo>
                    <a:pt x="96" y="1062"/>
                  </a:lnTo>
                  <a:lnTo>
                    <a:pt x="108" y="1068"/>
                  </a:lnTo>
                  <a:lnTo>
                    <a:pt x="114" y="1068"/>
                  </a:lnTo>
                  <a:lnTo>
                    <a:pt x="108" y="1080"/>
                  </a:lnTo>
                  <a:lnTo>
                    <a:pt x="96" y="1086"/>
                  </a:lnTo>
                  <a:lnTo>
                    <a:pt x="90" y="1098"/>
                  </a:lnTo>
                  <a:lnTo>
                    <a:pt x="66" y="1122"/>
                  </a:lnTo>
                  <a:lnTo>
                    <a:pt x="66" y="1134"/>
                  </a:lnTo>
                  <a:lnTo>
                    <a:pt x="72" y="1152"/>
                  </a:lnTo>
                  <a:lnTo>
                    <a:pt x="72" y="1164"/>
                  </a:lnTo>
                  <a:lnTo>
                    <a:pt x="84" y="1188"/>
                  </a:lnTo>
                  <a:lnTo>
                    <a:pt x="84" y="1200"/>
                  </a:lnTo>
                  <a:lnTo>
                    <a:pt x="102" y="1236"/>
                  </a:lnTo>
                  <a:lnTo>
                    <a:pt x="108" y="1254"/>
                  </a:lnTo>
                  <a:lnTo>
                    <a:pt x="114" y="1266"/>
                  </a:lnTo>
                  <a:lnTo>
                    <a:pt x="114" y="1278"/>
                  </a:lnTo>
                  <a:lnTo>
                    <a:pt x="108" y="1278"/>
                  </a:lnTo>
                  <a:lnTo>
                    <a:pt x="96" y="1266"/>
                  </a:lnTo>
                  <a:lnTo>
                    <a:pt x="90" y="1254"/>
                  </a:lnTo>
                  <a:lnTo>
                    <a:pt x="72" y="1236"/>
                  </a:lnTo>
                  <a:lnTo>
                    <a:pt x="66" y="1224"/>
                  </a:lnTo>
                  <a:lnTo>
                    <a:pt x="48" y="1218"/>
                  </a:lnTo>
                  <a:lnTo>
                    <a:pt x="66" y="1266"/>
                  </a:lnTo>
                  <a:lnTo>
                    <a:pt x="30" y="1236"/>
                  </a:lnTo>
                  <a:lnTo>
                    <a:pt x="30" y="1290"/>
                  </a:lnTo>
                  <a:lnTo>
                    <a:pt x="60" y="1350"/>
                  </a:lnTo>
                  <a:lnTo>
                    <a:pt x="66" y="1356"/>
                  </a:lnTo>
                  <a:lnTo>
                    <a:pt x="66" y="1368"/>
                  </a:lnTo>
                  <a:lnTo>
                    <a:pt x="60" y="1374"/>
                  </a:lnTo>
                  <a:lnTo>
                    <a:pt x="54" y="1386"/>
                  </a:lnTo>
                  <a:lnTo>
                    <a:pt x="54" y="1398"/>
                  </a:lnTo>
                  <a:lnTo>
                    <a:pt x="48" y="1410"/>
                  </a:lnTo>
                  <a:lnTo>
                    <a:pt x="54" y="1416"/>
                  </a:lnTo>
                  <a:lnTo>
                    <a:pt x="60" y="1428"/>
                  </a:lnTo>
                  <a:lnTo>
                    <a:pt x="78" y="1446"/>
                  </a:lnTo>
                  <a:lnTo>
                    <a:pt x="84" y="1458"/>
                  </a:lnTo>
                  <a:lnTo>
                    <a:pt x="90" y="1464"/>
                  </a:lnTo>
                  <a:lnTo>
                    <a:pt x="96" y="1476"/>
                  </a:lnTo>
                  <a:lnTo>
                    <a:pt x="96" y="1506"/>
                  </a:lnTo>
                  <a:lnTo>
                    <a:pt x="90" y="1518"/>
                  </a:lnTo>
                  <a:lnTo>
                    <a:pt x="84" y="1524"/>
                  </a:lnTo>
                  <a:lnTo>
                    <a:pt x="90" y="1542"/>
                  </a:lnTo>
                  <a:lnTo>
                    <a:pt x="90" y="1554"/>
                  </a:lnTo>
                  <a:lnTo>
                    <a:pt x="96" y="1572"/>
                  </a:lnTo>
                  <a:lnTo>
                    <a:pt x="96" y="1590"/>
                  </a:lnTo>
                  <a:lnTo>
                    <a:pt x="102" y="1596"/>
                  </a:lnTo>
                  <a:lnTo>
                    <a:pt x="102" y="1602"/>
                  </a:lnTo>
                  <a:lnTo>
                    <a:pt x="96" y="1602"/>
                  </a:lnTo>
                  <a:lnTo>
                    <a:pt x="78" y="1620"/>
                  </a:lnTo>
                  <a:lnTo>
                    <a:pt x="84" y="1626"/>
                  </a:lnTo>
                  <a:lnTo>
                    <a:pt x="84" y="1638"/>
                  </a:lnTo>
                  <a:lnTo>
                    <a:pt x="90" y="1650"/>
                  </a:lnTo>
                  <a:lnTo>
                    <a:pt x="90" y="1662"/>
                  </a:lnTo>
                  <a:lnTo>
                    <a:pt x="96" y="1668"/>
                  </a:lnTo>
                  <a:lnTo>
                    <a:pt x="96" y="1674"/>
                  </a:lnTo>
                  <a:lnTo>
                    <a:pt x="102" y="1674"/>
                  </a:lnTo>
                  <a:lnTo>
                    <a:pt x="108" y="1680"/>
                  </a:lnTo>
                  <a:lnTo>
                    <a:pt x="126" y="1716"/>
                  </a:lnTo>
                  <a:lnTo>
                    <a:pt x="126" y="1728"/>
                  </a:lnTo>
                  <a:lnTo>
                    <a:pt x="108" y="1764"/>
                  </a:lnTo>
                  <a:lnTo>
                    <a:pt x="90" y="1782"/>
                  </a:lnTo>
                  <a:lnTo>
                    <a:pt x="90" y="1824"/>
                  </a:lnTo>
                  <a:lnTo>
                    <a:pt x="84" y="1842"/>
                  </a:lnTo>
                  <a:lnTo>
                    <a:pt x="60" y="1866"/>
                  </a:lnTo>
                  <a:lnTo>
                    <a:pt x="42" y="1866"/>
                  </a:lnTo>
                  <a:lnTo>
                    <a:pt x="30" y="1872"/>
                  </a:lnTo>
                  <a:lnTo>
                    <a:pt x="18" y="1866"/>
                  </a:lnTo>
                  <a:lnTo>
                    <a:pt x="6" y="1866"/>
                  </a:lnTo>
                  <a:lnTo>
                    <a:pt x="0" y="1920"/>
                  </a:lnTo>
                  <a:lnTo>
                    <a:pt x="12" y="1920"/>
                  </a:lnTo>
                  <a:lnTo>
                    <a:pt x="24" y="1926"/>
                  </a:lnTo>
                  <a:lnTo>
                    <a:pt x="42" y="1926"/>
                  </a:lnTo>
                  <a:lnTo>
                    <a:pt x="54" y="1932"/>
                  </a:lnTo>
                  <a:lnTo>
                    <a:pt x="72" y="1950"/>
                  </a:lnTo>
                  <a:lnTo>
                    <a:pt x="78" y="1962"/>
                  </a:lnTo>
                  <a:lnTo>
                    <a:pt x="108" y="1956"/>
                  </a:lnTo>
                  <a:lnTo>
                    <a:pt x="114" y="1968"/>
                  </a:lnTo>
                  <a:lnTo>
                    <a:pt x="138" y="1980"/>
                  </a:lnTo>
                  <a:lnTo>
                    <a:pt x="174" y="1980"/>
                  </a:lnTo>
                  <a:lnTo>
                    <a:pt x="210" y="1968"/>
                  </a:lnTo>
                  <a:lnTo>
                    <a:pt x="234" y="1968"/>
                  </a:lnTo>
                  <a:lnTo>
                    <a:pt x="234" y="1950"/>
                  </a:lnTo>
                  <a:lnTo>
                    <a:pt x="228" y="1944"/>
                  </a:lnTo>
                  <a:lnTo>
                    <a:pt x="264" y="1950"/>
                  </a:lnTo>
                  <a:lnTo>
                    <a:pt x="276" y="1932"/>
                  </a:lnTo>
                  <a:lnTo>
                    <a:pt x="318" y="1926"/>
                  </a:lnTo>
                  <a:lnTo>
                    <a:pt x="354" y="1890"/>
                  </a:lnTo>
                  <a:lnTo>
                    <a:pt x="366" y="1884"/>
                  </a:lnTo>
                  <a:lnTo>
                    <a:pt x="372" y="1884"/>
                  </a:lnTo>
                  <a:lnTo>
                    <a:pt x="420" y="1908"/>
                  </a:lnTo>
                  <a:lnTo>
                    <a:pt x="426" y="1902"/>
                  </a:lnTo>
                  <a:lnTo>
                    <a:pt x="474" y="1878"/>
                  </a:lnTo>
                  <a:lnTo>
                    <a:pt x="480" y="1872"/>
                  </a:lnTo>
                  <a:lnTo>
                    <a:pt x="486" y="1872"/>
                  </a:lnTo>
                  <a:lnTo>
                    <a:pt x="498" y="1878"/>
                  </a:lnTo>
                  <a:lnTo>
                    <a:pt x="504" y="1884"/>
                  </a:lnTo>
                  <a:lnTo>
                    <a:pt x="516" y="1884"/>
                  </a:lnTo>
                  <a:lnTo>
                    <a:pt x="528" y="1890"/>
                  </a:lnTo>
                  <a:lnTo>
                    <a:pt x="534" y="1890"/>
                  </a:lnTo>
                  <a:lnTo>
                    <a:pt x="552" y="1884"/>
                  </a:lnTo>
                  <a:lnTo>
                    <a:pt x="576" y="1872"/>
                  </a:lnTo>
                  <a:lnTo>
                    <a:pt x="582" y="1872"/>
                  </a:lnTo>
                  <a:lnTo>
                    <a:pt x="594" y="1878"/>
                  </a:lnTo>
                  <a:lnTo>
                    <a:pt x="606" y="1878"/>
                  </a:lnTo>
                  <a:lnTo>
                    <a:pt x="624" y="1884"/>
                  </a:lnTo>
                  <a:lnTo>
                    <a:pt x="636" y="1884"/>
                  </a:lnTo>
                  <a:lnTo>
                    <a:pt x="648" y="1878"/>
                  </a:lnTo>
                  <a:lnTo>
                    <a:pt x="654" y="1872"/>
                  </a:lnTo>
                  <a:lnTo>
                    <a:pt x="654" y="1848"/>
                  </a:lnTo>
                  <a:lnTo>
                    <a:pt x="666" y="1848"/>
                  </a:lnTo>
                  <a:lnTo>
                    <a:pt x="672" y="1842"/>
                  </a:lnTo>
                  <a:lnTo>
                    <a:pt x="678" y="1842"/>
                  </a:lnTo>
                  <a:lnTo>
                    <a:pt x="684" y="1836"/>
                  </a:lnTo>
                  <a:lnTo>
                    <a:pt x="690" y="1824"/>
                  </a:lnTo>
                  <a:lnTo>
                    <a:pt x="702" y="1788"/>
                  </a:lnTo>
                  <a:lnTo>
                    <a:pt x="714" y="1776"/>
                  </a:lnTo>
                  <a:lnTo>
                    <a:pt x="726" y="1770"/>
                  </a:lnTo>
                  <a:lnTo>
                    <a:pt x="744" y="1764"/>
                  </a:lnTo>
                  <a:lnTo>
                    <a:pt x="756" y="1764"/>
                  </a:lnTo>
                  <a:lnTo>
                    <a:pt x="774" y="1770"/>
                  </a:lnTo>
                  <a:lnTo>
                    <a:pt x="798" y="1770"/>
                  </a:lnTo>
                  <a:lnTo>
                    <a:pt x="822" y="1758"/>
                  </a:lnTo>
                  <a:lnTo>
                    <a:pt x="840" y="1752"/>
                  </a:lnTo>
                  <a:lnTo>
                    <a:pt x="858" y="1740"/>
                  </a:lnTo>
                  <a:lnTo>
                    <a:pt x="876" y="1734"/>
                  </a:lnTo>
                  <a:lnTo>
                    <a:pt x="912" y="1734"/>
                  </a:lnTo>
                  <a:lnTo>
                    <a:pt x="918" y="1740"/>
                  </a:lnTo>
                  <a:lnTo>
                    <a:pt x="930" y="1740"/>
                  </a:lnTo>
                  <a:lnTo>
                    <a:pt x="942" y="1746"/>
                  </a:lnTo>
                  <a:lnTo>
                    <a:pt x="972" y="1740"/>
                  </a:lnTo>
                  <a:lnTo>
                    <a:pt x="1044" y="1704"/>
                  </a:lnTo>
                  <a:lnTo>
                    <a:pt x="1074" y="1692"/>
                  </a:lnTo>
                  <a:lnTo>
                    <a:pt x="1098" y="1686"/>
                  </a:lnTo>
                  <a:lnTo>
                    <a:pt x="1140" y="1680"/>
                  </a:lnTo>
                  <a:lnTo>
                    <a:pt x="1176" y="1674"/>
                  </a:lnTo>
                  <a:lnTo>
                    <a:pt x="1224" y="1674"/>
                  </a:lnTo>
                  <a:lnTo>
                    <a:pt x="1236" y="1662"/>
                  </a:lnTo>
                  <a:lnTo>
                    <a:pt x="1254" y="1680"/>
                  </a:lnTo>
                  <a:lnTo>
                    <a:pt x="1266" y="1686"/>
                  </a:lnTo>
                  <a:lnTo>
                    <a:pt x="1278" y="1698"/>
                  </a:lnTo>
                  <a:lnTo>
                    <a:pt x="1302" y="1710"/>
                  </a:lnTo>
                  <a:lnTo>
                    <a:pt x="1320" y="1716"/>
                  </a:lnTo>
                  <a:lnTo>
                    <a:pt x="1332" y="1716"/>
                  </a:lnTo>
                  <a:lnTo>
                    <a:pt x="1338" y="1710"/>
                  </a:lnTo>
                  <a:lnTo>
                    <a:pt x="1338" y="1716"/>
                  </a:lnTo>
                  <a:lnTo>
                    <a:pt x="1344" y="1722"/>
                  </a:lnTo>
                  <a:lnTo>
                    <a:pt x="1350" y="1734"/>
                  </a:lnTo>
                  <a:lnTo>
                    <a:pt x="1356" y="1740"/>
                  </a:lnTo>
                  <a:lnTo>
                    <a:pt x="1374" y="1740"/>
                  </a:lnTo>
                  <a:lnTo>
                    <a:pt x="1380" y="1734"/>
                  </a:lnTo>
                  <a:lnTo>
                    <a:pt x="1380" y="1752"/>
                  </a:lnTo>
                  <a:lnTo>
                    <a:pt x="1392" y="1752"/>
                  </a:lnTo>
                  <a:lnTo>
                    <a:pt x="1398" y="1758"/>
                  </a:lnTo>
                  <a:lnTo>
                    <a:pt x="1398" y="1770"/>
                  </a:lnTo>
                  <a:lnTo>
                    <a:pt x="1386" y="1794"/>
                  </a:lnTo>
                  <a:lnTo>
                    <a:pt x="1380" y="1800"/>
                  </a:lnTo>
                  <a:lnTo>
                    <a:pt x="1374" y="1812"/>
                  </a:lnTo>
                  <a:lnTo>
                    <a:pt x="1392" y="1842"/>
                  </a:lnTo>
                  <a:lnTo>
                    <a:pt x="1410" y="1830"/>
                  </a:lnTo>
                  <a:lnTo>
                    <a:pt x="1428" y="1866"/>
                  </a:lnTo>
                  <a:lnTo>
                    <a:pt x="1428" y="1872"/>
                  </a:lnTo>
                  <a:lnTo>
                    <a:pt x="1434" y="1878"/>
                  </a:lnTo>
                  <a:lnTo>
                    <a:pt x="1434" y="1902"/>
                  </a:lnTo>
                  <a:lnTo>
                    <a:pt x="1440" y="1914"/>
                  </a:lnTo>
                  <a:lnTo>
                    <a:pt x="1440" y="1926"/>
                  </a:lnTo>
                  <a:lnTo>
                    <a:pt x="1422" y="1926"/>
                  </a:lnTo>
                  <a:lnTo>
                    <a:pt x="1410" y="1920"/>
                  </a:lnTo>
                  <a:lnTo>
                    <a:pt x="1404" y="1920"/>
                  </a:lnTo>
                  <a:lnTo>
                    <a:pt x="1410" y="1956"/>
                  </a:lnTo>
                  <a:lnTo>
                    <a:pt x="1446" y="1956"/>
                  </a:lnTo>
                  <a:lnTo>
                    <a:pt x="1452" y="1962"/>
                  </a:lnTo>
                  <a:lnTo>
                    <a:pt x="1452" y="1968"/>
                  </a:lnTo>
                  <a:lnTo>
                    <a:pt x="1470" y="1968"/>
                  </a:lnTo>
                  <a:lnTo>
                    <a:pt x="1470" y="1956"/>
                  </a:lnTo>
                  <a:lnTo>
                    <a:pt x="1464" y="1938"/>
                  </a:lnTo>
                  <a:lnTo>
                    <a:pt x="1464" y="1926"/>
                  </a:lnTo>
                  <a:lnTo>
                    <a:pt x="1470" y="1914"/>
                  </a:lnTo>
                  <a:lnTo>
                    <a:pt x="1476" y="1908"/>
                  </a:lnTo>
                  <a:lnTo>
                    <a:pt x="1500" y="1896"/>
                  </a:lnTo>
                  <a:lnTo>
                    <a:pt x="1512" y="1896"/>
                  </a:lnTo>
                  <a:lnTo>
                    <a:pt x="1518" y="1890"/>
                  </a:lnTo>
                  <a:lnTo>
                    <a:pt x="1530" y="1884"/>
                  </a:lnTo>
                  <a:lnTo>
                    <a:pt x="1542" y="1872"/>
                  </a:lnTo>
                  <a:lnTo>
                    <a:pt x="1548" y="1860"/>
                  </a:lnTo>
                  <a:lnTo>
                    <a:pt x="1566" y="1842"/>
                  </a:lnTo>
                  <a:lnTo>
                    <a:pt x="1566" y="1836"/>
                  </a:lnTo>
                  <a:lnTo>
                    <a:pt x="1590" y="1842"/>
                  </a:lnTo>
                  <a:lnTo>
                    <a:pt x="1608" y="1788"/>
                  </a:lnTo>
                  <a:lnTo>
                    <a:pt x="1638" y="1788"/>
                  </a:lnTo>
                  <a:lnTo>
                    <a:pt x="1650" y="1782"/>
                  </a:lnTo>
                  <a:lnTo>
                    <a:pt x="1662" y="1770"/>
                  </a:lnTo>
                  <a:lnTo>
                    <a:pt x="1668" y="1752"/>
                  </a:lnTo>
                  <a:lnTo>
                    <a:pt x="1668" y="1740"/>
                  </a:lnTo>
                  <a:lnTo>
                    <a:pt x="1668" y="1746"/>
                  </a:lnTo>
                  <a:lnTo>
                    <a:pt x="1674" y="1752"/>
                  </a:lnTo>
                  <a:lnTo>
                    <a:pt x="1674" y="1764"/>
                  </a:lnTo>
                  <a:lnTo>
                    <a:pt x="1680" y="1776"/>
                  </a:lnTo>
                  <a:lnTo>
                    <a:pt x="1680" y="1782"/>
                  </a:lnTo>
                  <a:lnTo>
                    <a:pt x="1668" y="1794"/>
                  </a:lnTo>
                  <a:lnTo>
                    <a:pt x="1662" y="1806"/>
                  </a:lnTo>
                  <a:lnTo>
                    <a:pt x="1650" y="1812"/>
                  </a:lnTo>
                  <a:lnTo>
                    <a:pt x="1644" y="1818"/>
                  </a:lnTo>
                  <a:lnTo>
                    <a:pt x="1620" y="1818"/>
                  </a:lnTo>
                  <a:lnTo>
                    <a:pt x="1614" y="1830"/>
                  </a:lnTo>
                  <a:lnTo>
                    <a:pt x="1632" y="1866"/>
                  </a:lnTo>
                  <a:lnTo>
                    <a:pt x="1620" y="1866"/>
                  </a:lnTo>
                  <a:lnTo>
                    <a:pt x="1614" y="1872"/>
                  </a:lnTo>
                  <a:lnTo>
                    <a:pt x="1602" y="1878"/>
                  </a:lnTo>
                  <a:lnTo>
                    <a:pt x="1566" y="1914"/>
                  </a:lnTo>
                  <a:lnTo>
                    <a:pt x="1566" y="1926"/>
                  </a:lnTo>
                  <a:lnTo>
                    <a:pt x="1560" y="1932"/>
                  </a:lnTo>
                  <a:lnTo>
                    <a:pt x="1554" y="1944"/>
                  </a:lnTo>
                  <a:lnTo>
                    <a:pt x="1542" y="1956"/>
                  </a:lnTo>
                  <a:lnTo>
                    <a:pt x="1518" y="1968"/>
                  </a:lnTo>
                  <a:lnTo>
                    <a:pt x="1512" y="1974"/>
                  </a:lnTo>
                  <a:lnTo>
                    <a:pt x="1512" y="1980"/>
                  </a:lnTo>
                  <a:lnTo>
                    <a:pt x="1518" y="1986"/>
                  </a:lnTo>
                  <a:lnTo>
                    <a:pt x="1548" y="1986"/>
                  </a:lnTo>
                  <a:lnTo>
                    <a:pt x="1560" y="1980"/>
                  </a:lnTo>
                  <a:lnTo>
                    <a:pt x="1572" y="1980"/>
                  </a:lnTo>
                  <a:lnTo>
                    <a:pt x="1584" y="1968"/>
                  </a:lnTo>
                  <a:lnTo>
                    <a:pt x="1602" y="1932"/>
                  </a:lnTo>
                  <a:lnTo>
                    <a:pt x="1608" y="1926"/>
                  </a:lnTo>
                  <a:lnTo>
                    <a:pt x="1614" y="1914"/>
                  </a:lnTo>
                  <a:lnTo>
                    <a:pt x="1626" y="1908"/>
                  </a:lnTo>
                  <a:lnTo>
                    <a:pt x="1632" y="1902"/>
                  </a:lnTo>
                  <a:lnTo>
                    <a:pt x="1632" y="1920"/>
                  </a:lnTo>
                  <a:lnTo>
                    <a:pt x="1638" y="1932"/>
                  </a:lnTo>
                  <a:lnTo>
                    <a:pt x="1638" y="1956"/>
                  </a:lnTo>
                  <a:lnTo>
                    <a:pt x="1626" y="1968"/>
                  </a:lnTo>
                  <a:lnTo>
                    <a:pt x="1614" y="1974"/>
                  </a:lnTo>
                  <a:lnTo>
                    <a:pt x="1602" y="1986"/>
                  </a:lnTo>
                  <a:lnTo>
                    <a:pt x="1602" y="2004"/>
                  </a:lnTo>
                  <a:lnTo>
                    <a:pt x="1608" y="2010"/>
                  </a:lnTo>
                  <a:lnTo>
                    <a:pt x="1614" y="2010"/>
                  </a:lnTo>
                  <a:lnTo>
                    <a:pt x="1632" y="2016"/>
                  </a:lnTo>
                  <a:lnTo>
                    <a:pt x="1662" y="2016"/>
                  </a:lnTo>
                  <a:lnTo>
                    <a:pt x="1668" y="2028"/>
                  </a:lnTo>
                  <a:lnTo>
                    <a:pt x="1644" y="2052"/>
                  </a:lnTo>
                  <a:lnTo>
                    <a:pt x="1644" y="2058"/>
                  </a:lnTo>
                  <a:lnTo>
                    <a:pt x="1650" y="2064"/>
                  </a:lnTo>
                  <a:lnTo>
                    <a:pt x="1668" y="2100"/>
                  </a:lnTo>
                  <a:lnTo>
                    <a:pt x="1674" y="2106"/>
                  </a:lnTo>
                  <a:lnTo>
                    <a:pt x="1674" y="2118"/>
                  </a:lnTo>
                  <a:lnTo>
                    <a:pt x="1626" y="2166"/>
                  </a:lnTo>
                  <a:lnTo>
                    <a:pt x="1626" y="2178"/>
                  </a:lnTo>
                  <a:lnTo>
                    <a:pt x="1638" y="2190"/>
                  </a:lnTo>
                  <a:lnTo>
                    <a:pt x="1644" y="2202"/>
                  </a:lnTo>
                  <a:lnTo>
                    <a:pt x="1668" y="2214"/>
                  </a:lnTo>
                  <a:lnTo>
                    <a:pt x="1680" y="2226"/>
                  </a:lnTo>
                  <a:lnTo>
                    <a:pt x="1692" y="2232"/>
                  </a:lnTo>
                  <a:lnTo>
                    <a:pt x="1716" y="2256"/>
                  </a:lnTo>
                  <a:lnTo>
                    <a:pt x="1728" y="2262"/>
                  </a:lnTo>
                  <a:lnTo>
                    <a:pt x="1800" y="2262"/>
                  </a:lnTo>
                  <a:lnTo>
                    <a:pt x="1824" y="2286"/>
                  </a:lnTo>
                  <a:lnTo>
                    <a:pt x="1842" y="2292"/>
                  </a:lnTo>
                  <a:lnTo>
                    <a:pt x="1872" y="2286"/>
                  </a:lnTo>
                  <a:lnTo>
                    <a:pt x="1902" y="2274"/>
                  </a:lnTo>
                  <a:lnTo>
                    <a:pt x="1932" y="2256"/>
                  </a:lnTo>
                  <a:lnTo>
                    <a:pt x="1944" y="2250"/>
                  </a:lnTo>
                  <a:lnTo>
                    <a:pt x="1944" y="2226"/>
                  </a:lnTo>
                  <a:lnTo>
                    <a:pt x="1956" y="2214"/>
                  </a:lnTo>
                  <a:lnTo>
                    <a:pt x="1962" y="2214"/>
                  </a:lnTo>
                  <a:lnTo>
                    <a:pt x="1974" y="2226"/>
                  </a:lnTo>
                  <a:lnTo>
                    <a:pt x="1974" y="2256"/>
                  </a:lnTo>
                  <a:lnTo>
                    <a:pt x="1992" y="2256"/>
                  </a:lnTo>
                  <a:lnTo>
                    <a:pt x="1980" y="2280"/>
                  </a:lnTo>
                  <a:lnTo>
                    <a:pt x="1998" y="2280"/>
                  </a:lnTo>
                  <a:lnTo>
                    <a:pt x="1998" y="2292"/>
                  </a:lnTo>
                  <a:lnTo>
                    <a:pt x="2004" y="2298"/>
                  </a:lnTo>
                  <a:lnTo>
                    <a:pt x="2010" y="2310"/>
                  </a:lnTo>
                  <a:lnTo>
                    <a:pt x="2016" y="2316"/>
                  </a:lnTo>
                  <a:lnTo>
                    <a:pt x="2028" y="2316"/>
                  </a:lnTo>
                  <a:lnTo>
                    <a:pt x="2040" y="2304"/>
                  </a:lnTo>
                  <a:lnTo>
                    <a:pt x="2046" y="2304"/>
                  </a:lnTo>
                  <a:lnTo>
                    <a:pt x="2052" y="2298"/>
                  </a:lnTo>
                  <a:lnTo>
                    <a:pt x="2070" y="2292"/>
                  </a:lnTo>
                  <a:lnTo>
                    <a:pt x="2082" y="2286"/>
                  </a:lnTo>
                  <a:lnTo>
                    <a:pt x="2088" y="2280"/>
                  </a:lnTo>
                  <a:lnTo>
                    <a:pt x="2100" y="2274"/>
                  </a:lnTo>
                  <a:lnTo>
                    <a:pt x="2124" y="2250"/>
                  </a:lnTo>
                  <a:lnTo>
                    <a:pt x="2136" y="2244"/>
                  </a:lnTo>
                  <a:lnTo>
                    <a:pt x="2148" y="2232"/>
                  </a:lnTo>
                  <a:lnTo>
                    <a:pt x="2160" y="2226"/>
                  </a:lnTo>
                  <a:lnTo>
                    <a:pt x="2154" y="2214"/>
                  </a:lnTo>
                  <a:lnTo>
                    <a:pt x="2190" y="2202"/>
                  </a:lnTo>
                  <a:lnTo>
                    <a:pt x="2202" y="2214"/>
                  </a:lnTo>
                  <a:lnTo>
                    <a:pt x="2220" y="2214"/>
                  </a:lnTo>
                  <a:lnTo>
                    <a:pt x="2256" y="2208"/>
                  </a:lnTo>
                  <a:lnTo>
                    <a:pt x="2298" y="2196"/>
                  </a:lnTo>
                  <a:lnTo>
                    <a:pt x="2316" y="2178"/>
                  </a:lnTo>
                  <a:lnTo>
                    <a:pt x="2328" y="2148"/>
                  </a:lnTo>
                  <a:lnTo>
                    <a:pt x="2334" y="2118"/>
                  </a:lnTo>
                  <a:lnTo>
                    <a:pt x="2340" y="2100"/>
                  </a:lnTo>
                  <a:lnTo>
                    <a:pt x="2346" y="2088"/>
                  </a:lnTo>
                  <a:lnTo>
                    <a:pt x="2376" y="2058"/>
                  </a:lnTo>
                  <a:lnTo>
                    <a:pt x="2382" y="2058"/>
                  </a:lnTo>
                  <a:lnTo>
                    <a:pt x="2382" y="2034"/>
                  </a:lnTo>
                  <a:lnTo>
                    <a:pt x="2388" y="2034"/>
                  </a:lnTo>
                  <a:lnTo>
                    <a:pt x="2394" y="2028"/>
                  </a:lnTo>
                  <a:lnTo>
                    <a:pt x="2406" y="2022"/>
                  </a:lnTo>
                  <a:lnTo>
                    <a:pt x="2418" y="2010"/>
                  </a:lnTo>
                  <a:lnTo>
                    <a:pt x="2424" y="1998"/>
                  </a:lnTo>
                  <a:lnTo>
                    <a:pt x="2442" y="1980"/>
                  </a:lnTo>
                  <a:lnTo>
                    <a:pt x="2442" y="1956"/>
                  </a:lnTo>
                  <a:lnTo>
                    <a:pt x="2448" y="1944"/>
                  </a:lnTo>
                  <a:lnTo>
                    <a:pt x="2454" y="1926"/>
                  </a:lnTo>
                  <a:lnTo>
                    <a:pt x="2460" y="1914"/>
                  </a:lnTo>
                  <a:lnTo>
                    <a:pt x="2490" y="1884"/>
                  </a:lnTo>
                  <a:lnTo>
                    <a:pt x="2502" y="1866"/>
                  </a:lnTo>
                  <a:lnTo>
                    <a:pt x="2526" y="1842"/>
                  </a:lnTo>
                  <a:lnTo>
                    <a:pt x="2538" y="1836"/>
                  </a:lnTo>
                  <a:lnTo>
                    <a:pt x="2550" y="1824"/>
                  </a:lnTo>
                  <a:lnTo>
                    <a:pt x="2556" y="1812"/>
                  </a:lnTo>
                  <a:lnTo>
                    <a:pt x="2556" y="1800"/>
                  </a:lnTo>
                  <a:lnTo>
                    <a:pt x="2562" y="1788"/>
                  </a:lnTo>
                  <a:lnTo>
                    <a:pt x="2562" y="1782"/>
                  </a:lnTo>
                  <a:lnTo>
                    <a:pt x="2586" y="1782"/>
                  </a:lnTo>
                  <a:lnTo>
                    <a:pt x="2610" y="1770"/>
                  </a:lnTo>
                  <a:lnTo>
                    <a:pt x="2622" y="1752"/>
                  </a:lnTo>
                  <a:lnTo>
                    <a:pt x="2646" y="1728"/>
                  </a:lnTo>
                  <a:lnTo>
                    <a:pt x="2670" y="1698"/>
                  </a:lnTo>
                  <a:lnTo>
                    <a:pt x="2688" y="1674"/>
                  </a:lnTo>
                  <a:lnTo>
                    <a:pt x="2700" y="1662"/>
                  </a:lnTo>
                  <a:lnTo>
                    <a:pt x="2700" y="1656"/>
                  </a:lnTo>
                  <a:lnTo>
                    <a:pt x="2706" y="1638"/>
                  </a:lnTo>
                  <a:lnTo>
                    <a:pt x="2706" y="1614"/>
                  </a:lnTo>
                  <a:lnTo>
                    <a:pt x="2712" y="1596"/>
                  </a:lnTo>
                  <a:lnTo>
                    <a:pt x="2718" y="1590"/>
                  </a:lnTo>
                  <a:lnTo>
                    <a:pt x="2730" y="1572"/>
                  </a:lnTo>
                  <a:lnTo>
                    <a:pt x="2754" y="1542"/>
                  </a:lnTo>
                  <a:lnTo>
                    <a:pt x="2772" y="1494"/>
                  </a:lnTo>
                  <a:lnTo>
                    <a:pt x="2796" y="1458"/>
                  </a:lnTo>
                  <a:lnTo>
                    <a:pt x="2808" y="1428"/>
                  </a:lnTo>
                  <a:lnTo>
                    <a:pt x="2814" y="1416"/>
                  </a:lnTo>
                  <a:lnTo>
                    <a:pt x="2814" y="1386"/>
                  </a:lnTo>
                  <a:lnTo>
                    <a:pt x="2802" y="1362"/>
                  </a:lnTo>
                  <a:lnTo>
                    <a:pt x="2820" y="1308"/>
                  </a:lnTo>
                  <a:lnTo>
                    <a:pt x="2832" y="1290"/>
                  </a:lnTo>
                  <a:lnTo>
                    <a:pt x="2838" y="1266"/>
                  </a:lnTo>
                  <a:lnTo>
                    <a:pt x="2838" y="1224"/>
                  </a:lnTo>
                  <a:lnTo>
                    <a:pt x="2832" y="1194"/>
                  </a:lnTo>
                  <a:lnTo>
                    <a:pt x="2832" y="1176"/>
                  </a:lnTo>
                  <a:lnTo>
                    <a:pt x="2802" y="1164"/>
                  </a:lnTo>
                  <a:close/>
                  <a:moveTo>
                    <a:pt x="2016" y="2436"/>
                  </a:moveTo>
                  <a:lnTo>
                    <a:pt x="2022" y="2442"/>
                  </a:lnTo>
                  <a:lnTo>
                    <a:pt x="2028" y="2442"/>
                  </a:lnTo>
                  <a:lnTo>
                    <a:pt x="2040" y="2436"/>
                  </a:lnTo>
                  <a:lnTo>
                    <a:pt x="2046" y="2430"/>
                  </a:lnTo>
                  <a:lnTo>
                    <a:pt x="2034" y="2418"/>
                  </a:lnTo>
                  <a:lnTo>
                    <a:pt x="2016" y="2436"/>
                  </a:lnTo>
                  <a:close/>
                  <a:moveTo>
                    <a:pt x="1992" y="2454"/>
                  </a:moveTo>
                  <a:lnTo>
                    <a:pt x="1974" y="2454"/>
                  </a:lnTo>
                  <a:lnTo>
                    <a:pt x="1962" y="2466"/>
                  </a:lnTo>
                  <a:lnTo>
                    <a:pt x="1962" y="2472"/>
                  </a:lnTo>
                  <a:lnTo>
                    <a:pt x="1962" y="2460"/>
                  </a:lnTo>
                  <a:lnTo>
                    <a:pt x="1938" y="2460"/>
                  </a:lnTo>
                  <a:lnTo>
                    <a:pt x="1926" y="2466"/>
                  </a:lnTo>
                  <a:lnTo>
                    <a:pt x="1914" y="2466"/>
                  </a:lnTo>
                  <a:lnTo>
                    <a:pt x="1908" y="2478"/>
                  </a:lnTo>
                  <a:lnTo>
                    <a:pt x="1890" y="2460"/>
                  </a:lnTo>
                  <a:lnTo>
                    <a:pt x="1854" y="2460"/>
                  </a:lnTo>
                  <a:lnTo>
                    <a:pt x="1830" y="2430"/>
                  </a:lnTo>
                  <a:lnTo>
                    <a:pt x="1824" y="2436"/>
                  </a:lnTo>
                  <a:lnTo>
                    <a:pt x="1818" y="2436"/>
                  </a:lnTo>
                  <a:lnTo>
                    <a:pt x="1812" y="2442"/>
                  </a:lnTo>
                  <a:lnTo>
                    <a:pt x="1806" y="2442"/>
                  </a:lnTo>
                  <a:lnTo>
                    <a:pt x="1776" y="2412"/>
                  </a:lnTo>
                  <a:lnTo>
                    <a:pt x="1776" y="2424"/>
                  </a:lnTo>
                  <a:lnTo>
                    <a:pt x="1782" y="2448"/>
                  </a:lnTo>
                  <a:lnTo>
                    <a:pt x="1782" y="2472"/>
                  </a:lnTo>
                  <a:lnTo>
                    <a:pt x="1776" y="2478"/>
                  </a:lnTo>
                  <a:lnTo>
                    <a:pt x="1776" y="2484"/>
                  </a:lnTo>
                  <a:lnTo>
                    <a:pt x="1770" y="2490"/>
                  </a:lnTo>
                  <a:lnTo>
                    <a:pt x="1770" y="2502"/>
                  </a:lnTo>
                  <a:lnTo>
                    <a:pt x="1776" y="2514"/>
                  </a:lnTo>
                  <a:lnTo>
                    <a:pt x="1776" y="2532"/>
                  </a:lnTo>
                  <a:lnTo>
                    <a:pt x="1764" y="2538"/>
                  </a:lnTo>
                  <a:lnTo>
                    <a:pt x="1758" y="2544"/>
                  </a:lnTo>
                  <a:lnTo>
                    <a:pt x="1752" y="2544"/>
                  </a:lnTo>
                  <a:lnTo>
                    <a:pt x="1740" y="2532"/>
                  </a:lnTo>
                  <a:lnTo>
                    <a:pt x="1740" y="2538"/>
                  </a:lnTo>
                  <a:lnTo>
                    <a:pt x="1734" y="2544"/>
                  </a:lnTo>
                  <a:lnTo>
                    <a:pt x="1734" y="2556"/>
                  </a:lnTo>
                  <a:lnTo>
                    <a:pt x="1728" y="2574"/>
                  </a:lnTo>
                  <a:lnTo>
                    <a:pt x="1728" y="2586"/>
                  </a:lnTo>
                  <a:lnTo>
                    <a:pt x="1740" y="2610"/>
                  </a:lnTo>
                  <a:lnTo>
                    <a:pt x="1740" y="2616"/>
                  </a:lnTo>
                  <a:lnTo>
                    <a:pt x="1746" y="2628"/>
                  </a:lnTo>
                  <a:lnTo>
                    <a:pt x="1770" y="2628"/>
                  </a:lnTo>
                  <a:lnTo>
                    <a:pt x="1752" y="2640"/>
                  </a:lnTo>
                  <a:lnTo>
                    <a:pt x="1758" y="2664"/>
                  </a:lnTo>
                  <a:lnTo>
                    <a:pt x="1770" y="2658"/>
                  </a:lnTo>
                  <a:lnTo>
                    <a:pt x="1776" y="2658"/>
                  </a:lnTo>
                  <a:lnTo>
                    <a:pt x="1782" y="2652"/>
                  </a:lnTo>
                  <a:lnTo>
                    <a:pt x="1794" y="2652"/>
                  </a:lnTo>
                  <a:lnTo>
                    <a:pt x="1800" y="2658"/>
                  </a:lnTo>
                  <a:lnTo>
                    <a:pt x="1818" y="2658"/>
                  </a:lnTo>
                  <a:lnTo>
                    <a:pt x="1830" y="2652"/>
                  </a:lnTo>
                  <a:lnTo>
                    <a:pt x="1836" y="2646"/>
                  </a:lnTo>
                  <a:lnTo>
                    <a:pt x="1842" y="2634"/>
                  </a:lnTo>
                  <a:lnTo>
                    <a:pt x="1854" y="2634"/>
                  </a:lnTo>
                  <a:lnTo>
                    <a:pt x="1860" y="2640"/>
                  </a:lnTo>
                  <a:lnTo>
                    <a:pt x="1860" y="2646"/>
                  </a:lnTo>
                  <a:lnTo>
                    <a:pt x="1848" y="2658"/>
                  </a:lnTo>
                  <a:lnTo>
                    <a:pt x="1866" y="2664"/>
                  </a:lnTo>
                  <a:lnTo>
                    <a:pt x="1884" y="2646"/>
                  </a:lnTo>
                  <a:lnTo>
                    <a:pt x="1890" y="2634"/>
                  </a:lnTo>
                  <a:lnTo>
                    <a:pt x="1902" y="2628"/>
                  </a:lnTo>
                  <a:lnTo>
                    <a:pt x="1908" y="2616"/>
                  </a:lnTo>
                  <a:lnTo>
                    <a:pt x="1920" y="2604"/>
                  </a:lnTo>
                  <a:lnTo>
                    <a:pt x="1914" y="2604"/>
                  </a:lnTo>
                  <a:lnTo>
                    <a:pt x="1902" y="2592"/>
                  </a:lnTo>
                  <a:lnTo>
                    <a:pt x="1920" y="2562"/>
                  </a:lnTo>
                  <a:lnTo>
                    <a:pt x="1950" y="2562"/>
                  </a:lnTo>
                  <a:lnTo>
                    <a:pt x="1962" y="2538"/>
                  </a:lnTo>
                  <a:lnTo>
                    <a:pt x="1962" y="2514"/>
                  </a:lnTo>
                  <a:lnTo>
                    <a:pt x="1968" y="2502"/>
                  </a:lnTo>
                  <a:lnTo>
                    <a:pt x="1980" y="2496"/>
                  </a:lnTo>
                  <a:lnTo>
                    <a:pt x="1986" y="2484"/>
                  </a:lnTo>
                  <a:lnTo>
                    <a:pt x="1992" y="2478"/>
                  </a:lnTo>
                  <a:lnTo>
                    <a:pt x="1998" y="2466"/>
                  </a:lnTo>
                  <a:lnTo>
                    <a:pt x="1998" y="2460"/>
                  </a:lnTo>
                  <a:lnTo>
                    <a:pt x="1992" y="2454"/>
                  </a:lnTo>
                  <a:close/>
                  <a:moveTo>
                    <a:pt x="1902" y="246"/>
                  </a:moveTo>
                  <a:lnTo>
                    <a:pt x="1890" y="258"/>
                  </a:lnTo>
                  <a:lnTo>
                    <a:pt x="1890" y="270"/>
                  </a:lnTo>
                  <a:lnTo>
                    <a:pt x="1884" y="282"/>
                  </a:lnTo>
                  <a:lnTo>
                    <a:pt x="1884" y="294"/>
                  </a:lnTo>
                  <a:lnTo>
                    <a:pt x="1896" y="300"/>
                  </a:lnTo>
                  <a:lnTo>
                    <a:pt x="1920" y="300"/>
                  </a:lnTo>
                  <a:lnTo>
                    <a:pt x="1926" y="294"/>
                  </a:lnTo>
                  <a:lnTo>
                    <a:pt x="1932" y="294"/>
                  </a:lnTo>
                  <a:lnTo>
                    <a:pt x="1926" y="282"/>
                  </a:lnTo>
                  <a:lnTo>
                    <a:pt x="1932" y="252"/>
                  </a:lnTo>
                  <a:lnTo>
                    <a:pt x="1920" y="252"/>
                  </a:lnTo>
                  <a:lnTo>
                    <a:pt x="1908" y="246"/>
                  </a:lnTo>
                  <a:lnTo>
                    <a:pt x="1902" y="246"/>
                  </a:lnTo>
                  <a:close/>
                  <a:moveTo>
                    <a:pt x="1770" y="2334"/>
                  </a:moveTo>
                  <a:lnTo>
                    <a:pt x="1758" y="2376"/>
                  </a:lnTo>
                  <a:lnTo>
                    <a:pt x="1812" y="2328"/>
                  </a:lnTo>
                  <a:lnTo>
                    <a:pt x="1770" y="2334"/>
                  </a:lnTo>
                  <a:close/>
                  <a:moveTo>
                    <a:pt x="2034" y="2400"/>
                  </a:moveTo>
                  <a:lnTo>
                    <a:pt x="2016" y="2358"/>
                  </a:lnTo>
                  <a:lnTo>
                    <a:pt x="1998" y="2376"/>
                  </a:lnTo>
                  <a:lnTo>
                    <a:pt x="1998" y="2394"/>
                  </a:lnTo>
                  <a:lnTo>
                    <a:pt x="2010" y="2406"/>
                  </a:lnTo>
                  <a:lnTo>
                    <a:pt x="2028" y="2406"/>
                  </a:lnTo>
                  <a:lnTo>
                    <a:pt x="2034" y="2400"/>
                  </a:lnTo>
                  <a:close/>
                </a:path>
              </a:pathLst>
            </a:custGeom>
            <a:gradFill flip="none" rotWithShape="1">
              <a:gsLst>
                <a:gs pos="0">
                  <a:srgbClr val="692864">
                    <a:shade val="30000"/>
                    <a:satMod val="115000"/>
                  </a:srgbClr>
                </a:gs>
                <a:gs pos="50000">
                  <a:srgbClr val="692864">
                    <a:shade val="67500"/>
                    <a:satMod val="115000"/>
                  </a:srgbClr>
                </a:gs>
                <a:gs pos="100000">
                  <a:srgbClr val="692864">
                    <a:shade val="100000"/>
                    <a:satMod val="115000"/>
                  </a:srgbClr>
                </a:gs>
              </a:gsLst>
              <a:lin ang="2700000" scaled="1"/>
              <a:tileRect/>
            </a:gra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207" name="Armenia" descr="© INSCALE GmbH, 05.05.2010&#10;http://www.presentationload.com/"/>
            <p:cNvSpPr>
              <a:spLocks/>
            </p:cNvSpPr>
            <p:nvPr/>
          </p:nvSpPr>
          <p:spPr bwMode="gray">
            <a:xfrm>
              <a:off x="5380043" y="2736850"/>
              <a:ext cx="88900" cy="85725"/>
            </a:xfrm>
            <a:custGeom>
              <a:avLst/>
              <a:gdLst>
                <a:gd name="T0" fmla="*/ 2147483647 w 222"/>
                <a:gd name="T1" fmla="*/ 2147483647 h 210"/>
                <a:gd name="T2" fmla="*/ 2147483647 w 222"/>
                <a:gd name="T3" fmla="*/ 2147483647 h 210"/>
                <a:gd name="T4" fmla="*/ 2147483647 w 222"/>
                <a:gd name="T5" fmla="*/ 2147483647 h 210"/>
                <a:gd name="T6" fmla="*/ 2147483647 w 222"/>
                <a:gd name="T7" fmla="*/ 2147483647 h 210"/>
                <a:gd name="T8" fmla="*/ 2147483647 w 222"/>
                <a:gd name="T9" fmla="*/ 2147483647 h 210"/>
                <a:gd name="T10" fmla="*/ 2147483647 w 222"/>
                <a:gd name="T11" fmla="*/ 2147483647 h 210"/>
                <a:gd name="T12" fmla="*/ 2147483647 w 222"/>
                <a:gd name="T13" fmla="*/ 2147483647 h 210"/>
                <a:gd name="T14" fmla="*/ 2147483647 w 222"/>
                <a:gd name="T15" fmla="*/ 2147483647 h 210"/>
                <a:gd name="T16" fmla="*/ 2147483647 w 222"/>
                <a:gd name="T17" fmla="*/ 2147483647 h 210"/>
                <a:gd name="T18" fmla="*/ 2147483647 w 222"/>
                <a:gd name="T19" fmla="*/ 2147483647 h 210"/>
                <a:gd name="T20" fmla="*/ 2147483647 w 222"/>
                <a:gd name="T21" fmla="*/ 2147483647 h 210"/>
                <a:gd name="T22" fmla="*/ 2147483647 w 222"/>
                <a:gd name="T23" fmla="*/ 2147483647 h 210"/>
                <a:gd name="T24" fmla="*/ 2147483647 w 222"/>
                <a:gd name="T25" fmla="*/ 2147483647 h 210"/>
                <a:gd name="T26" fmla="*/ 2147483647 w 222"/>
                <a:gd name="T27" fmla="*/ 2147483647 h 210"/>
                <a:gd name="T28" fmla="*/ 2147483647 w 222"/>
                <a:gd name="T29" fmla="*/ 2147483647 h 210"/>
                <a:gd name="T30" fmla="*/ 2147483647 w 222"/>
                <a:gd name="T31" fmla="*/ 2147483647 h 210"/>
                <a:gd name="T32" fmla="*/ 2147483647 w 222"/>
                <a:gd name="T33" fmla="*/ 2147483647 h 210"/>
                <a:gd name="T34" fmla="*/ 2147483647 w 222"/>
                <a:gd name="T35" fmla="*/ 2147483647 h 210"/>
                <a:gd name="T36" fmla="*/ 2147483647 w 222"/>
                <a:gd name="T37" fmla="*/ 2147483647 h 210"/>
                <a:gd name="T38" fmla="*/ 2147483647 w 222"/>
                <a:gd name="T39" fmla="*/ 0 h 210"/>
                <a:gd name="T40" fmla="*/ 2147483647 w 222"/>
                <a:gd name="T41" fmla="*/ 0 h 210"/>
                <a:gd name="T42" fmla="*/ 2147483647 w 222"/>
                <a:gd name="T43" fmla="*/ 2147483647 h 210"/>
                <a:gd name="T44" fmla="*/ 2147483647 w 222"/>
                <a:gd name="T45" fmla="*/ 2147483647 h 210"/>
                <a:gd name="T46" fmla="*/ 2147483647 w 222"/>
                <a:gd name="T47" fmla="*/ 2147483647 h 210"/>
                <a:gd name="T48" fmla="*/ 0 w 222"/>
                <a:gd name="T49" fmla="*/ 2147483647 h 210"/>
                <a:gd name="T50" fmla="*/ 2147483647 w 222"/>
                <a:gd name="T51" fmla="*/ 2147483647 h 210"/>
                <a:gd name="T52" fmla="*/ 2147483647 w 222"/>
                <a:gd name="T53" fmla="*/ 2147483647 h 210"/>
                <a:gd name="T54" fmla="*/ 2147483647 w 222"/>
                <a:gd name="T55" fmla="*/ 2147483647 h 210"/>
                <a:gd name="T56" fmla="*/ 2147483647 w 222"/>
                <a:gd name="T57" fmla="*/ 2147483647 h 210"/>
                <a:gd name="T58" fmla="*/ 2147483647 w 222"/>
                <a:gd name="T59" fmla="*/ 2147483647 h 210"/>
                <a:gd name="T60" fmla="*/ 2147483647 w 222"/>
                <a:gd name="T61" fmla="*/ 2147483647 h 210"/>
                <a:gd name="T62" fmla="*/ 2147483647 w 222"/>
                <a:gd name="T63" fmla="*/ 2147483647 h 210"/>
                <a:gd name="T64" fmla="*/ 2147483647 w 222"/>
                <a:gd name="T65" fmla="*/ 2147483647 h 210"/>
                <a:gd name="T66" fmla="*/ 2147483647 w 222"/>
                <a:gd name="T67" fmla="*/ 2147483647 h 210"/>
                <a:gd name="T68" fmla="*/ 2147483647 w 222"/>
                <a:gd name="T69" fmla="*/ 2147483647 h 210"/>
                <a:gd name="T70" fmla="*/ 2147483647 w 222"/>
                <a:gd name="T71" fmla="*/ 2147483647 h 210"/>
                <a:gd name="T72" fmla="*/ 2147483647 w 222"/>
                <a:gd name="T73" fmla="*/ 2147483647 h 210"/>
                <a:gd name="T74" fmla="*/ 2147483647 w 222"/>
                <a:gd name="T75" fmla="*/ 2147483647 h 210"/>
                <a:gd name="T76" fmla="*/ 2147483647 w 222"/>
                <a:gd name="T77" fmla="*/ 2147483647 h 210"/>
                <a:gd name="T78" fmla="*/ 2147483647 w 222"/>
                <a:gd name="T79" fmla="*/ 2147483647 h 210"/>
                <a:gd name="T80" fmla="*/ 2147483647 w 222"/>
                <a:gd name="T81" fmla="*/ 2147483647 h 210"/>
                <a:gd name="T82" fmla="*/ 2147483647 w 222"/>
                <a:gd name="T83" fmla="*/ 2147483647 h 210"/>
                <a:gd name="T84" fmla="*/ 2147483647 w 222"/>
                <a:gd name="T85" fmla="*/ 2147483647 h 210"/>
                <a:gd name="T86" fmla="*/ 2147483647 w 222"/>
                <a:gd name="T87" fmla="*/ 2147483647 h 210"/>
                <a:gd name="T88" fmla="*/ 2147483647 w 222"/>
                <a:gd name="T89" fmla="*/ 2147483647 h 210"/>
                <a:gd name="T90" fmla="*/ 2147483647 w 222"/>
                <a:gd name="T91" fmla="*/ 2147483647 h 210"/>
                <a:gd name="T92" fmla="*/ 2147483647 w 222"/>
                <a:gd name="T93" fmla="*/ 2147483647 h 210"/>
                <a:gd name="T94" fmla="*/ 2147483647 w 222"/>
                <a:gd name="T95" fmla="*/ 2147483647 h 210"/>
                <a:gd name="T96" fmla="*/ 2147483647 w 222"/>
                <a:gd name="T97" fmla="*/ 2147483647 h 210"/>
                <a:gd name="T98" fmla="*/ 2147483647 w 222"/>
                <a:gd name="T99" fmla="*/ 2147483647 h 210"/>
                <a:gd name="T100" fmla="*/ 2147483647 w 222"/>
                <a:gd name="T101" fmla="*/ 2147483647 h 210"/>
                <a:gd name="T102" fmla="*/ 2147483647 w 222"/>
                <a:gd name="T103" fmla="*/ 2147483647 h 210"/>
                <a:gd name="T104" fmla="*/ 2147483647 w 222"/>
                <a:gd name="T105" fmla="*/ 2147483647 h 210"/>
                <a:gd name="T106" fmla="*/ 2147483647 w 222"/>
                <a:gd name="T107" fmla="*/ 2147483647 h 21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22"/>
                <a:gd name="T163" fmla="*/ 0 h 210"/>
                <a:gd name="T164" fmla="*/ 222 w 222"/>
                <a:gd name="T165" fmla="*/ 210 h 21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22" h="210">
                  <a:moveTo>
                    <a:pt x="222" y="168"/>
                  </a:moveTo>
                  <a:lnTo>
                    <a:pt x="216" y="156"/>
                  </a:lnTo>
                  <a:lnTo>
                    <a:pt x="216" y="144"/>
                  </a:lnTo>
                  <a:lnTo>
                    <a:pt x="186" y="138"/>
                  </a:lnTo>
                  <a:lnTo>
                    <a:pt x="174" y="120"/>
                  </a:lnTo>
                  <a:lnTo>
                    <a:pt x="144" y="108"/>
                  </a:lnTo>
                  <a:lnTo>
                    <a:pt x="156" y="108"/>
                  </a:lnTo>
                  <a:lnTo>
                    <a:pt x="174" y="90"/>
                  </a:lnTo>
                  <a:lnTo>
                    <a:pt x="174" y="84"/>
                  </a:lnTo>
                  <a:lnTo>
                    <a:pt x="168" y="78"/>
                  </a:lnTo>
                  <a:lnTo>
                    <a:pt x="144" y="66"/>
                  </a:lnTo>
                  <a:lnTo>
                    <a:pt x="138" y="60"/>
                  </a:lnTo>
                  <a:lnTo>
                    <a:pt x="132" y="60"/>
                  </a:lnTo>
                  <a:lnTo>
                    <a:pt x="138" y="54"/>
                  </a:lnTo>
                  <a:lnTo>
                    <a:pt x="138" y="30"/>
                  </a:lnTo>
                  <a:lnTo>
                    <a:pt x="132" y="24"/>
                  </a:lnTo>
                  <a:lnTo>
                    <a:pt x="114" y="24"/>
                  </a:lnTo>
                  <a:lnTo>
                    <a:pt x="114" y="12"/>
                  </a:lnTo>
                  <a:lnTo>
                    <a:pt x="102" y="6"/>
                  </a:lnTo>
                  <a:lnTo>
                    <a:pt x="96" y="0"/>
                  </a:lnTo>
                  <a:lnTo>
                    <a:pt x="84" y="0"/>
                  </a:lnTo>
                  <a:lnTo>
                    <a:pt x="84" y="18"/>
                  </a:lnTo>
                  <a:lnTo>
                    <a:pt x="30" y="12"/>
                  </a:lnTo>
                  <a:lnTo>
                    <a:pt x="24" y="18"/>
                  </a:lnTo>
                  <a:lnTo>
                    <a:pt x="0" y="24"/>
                  </a:lnTo>
                  <a:lnTo>
                    <a:pt x="6" y="30"/>
                  </a:lnTo>
                  <a:lnTo>
                    <a:pt x="6" y="42"/>
                  </a:lnTo>
                  <a:lnTo>
                    <a:pt x="18" y="78"/>
                  </a:lnTo>
                  <a:lnTo>
                    <a:pt x="18" y="90"/>
                  </a:lnTo>
                  <a:lnTo>
                    <a:pt x="24" y="102"/>
                  </a:lnTo>
                  <a:lnTo>
                    <a:pt x="30" y="108"/>
                  </a:lnTo>
                  <a:lnTo>
                    <a:pt x="42" y="114"/>
                  </a:lnTo>
                  <a:lnTo>
                    <a:pt x="54" y="114"/>
                  </a:lnTo>
                  <a:lnTo>
                    <a:pt x="66" y="108"/>
                  </a:lnTo>
                  <a:lnTo>
                    <a:pt x="72" y="108"/>
                  </a:lnTo>
                  <a:lnTo>
                    <a:pt x="72" y="114"/>
                  </a:lnTo>
                  <a:lnTo>
                    <a:pt x="78" y="120"/>
                  </a:lnTo>
                  <a:lnTo>
                    <a:pt x="78" y="132"/>
                  </a:lnTo>
                  <a:lnTo>
                    <a:pt x="84" y="144"/>
                  </a:lnTo>
                  <a:lnTo>
                    <a:pt x="84" y="150"/>
                  </a:lnTo>
                  <a:lnTo>
                    <a:pt x="90" y="156"/>
                  </a:lnTo>
                  <a:lnTo>
                    <a:pt x="108" y="132"/>
                  </a:lnTo>
                  <a:lnTo>
                    <a:pt x="126" y="132"/>
                  </a:lnTo>
                  <a:lnTo>
                    <a:pt x="138" y="144"/>
                  </a:lnTo>
                  <a:lnTo>
                    <a:pt x="174" y="144"/>
                  </a:lnTo>
                  <a:lnTo>
                    <a:pt x="174" y="156"/>
                  </a:lnTo>
                  <a:lnTo>
                    <a:pt x="180" y="162"/>
                  </a:lnTo>
                  <a:lnTo>
                    <a:pt x="180" y="174"/>
                  </a:lnTo>
                  <a:lnTo>
                    <a:pt x="186" y="186"/>
                  </a:lnTo>
                  <a:lnTo>
                    <a:pt x="186" y="198"/>
                  </a:lnTo>
                  <a:lnTo>
                    <a:pt x="192" y="204"/>
                  </a:lnTo>
                  <a:lnTo>
                    <a:pt x="192" y="210"/>
                  </a:lnTo>
                  <a:lnTo>
                    <a:pt x="222" y="210"/>
                  </a:lnTo>
                  <a:lnTo>
                    <a:pt x="222" y="168"/>
                  </a:lnTo>
                  <a:close/>
                </a:path>
              </a:pathLst>
            </a:cu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2700000" scaled="1"/>
              <a:tileRect/>
            </a:gra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208" name="Argentina" descr="© INSCALE GmbH, 05.05.2010&#10;http://www.presentationload.com/"/>
            <p:cNvSpPr>
              <a:spLocks noEditPoints="1"/>
            </p:cNvSpPr>
            <p:nvPr/>
          </p:nvSpPr>
          <p:spPr bwMode="gray">
            <a:xfrm>
              <a:off x="2290763" y="4787900"/>
              <a:ext cx="439738" cy="982662"/>
            </a:xfrm>
            <a:custGeom>
              <a:avLst/>
              <a:gdLst>
                <a:gd name="T0" fmla="*/ 2147483647 w 1092"/>
                <a:gd name="T1" fmla="*/ 2147483647 h 2442"/>
                <a:gd name="T2" fmla="*/ 2147483647 w 1092"/>
                <a:gd name="T3" fmla="*/ 2147483647 h 2442"/>
                <a:gd name="T4" fmla="*/ 2147483647 w 1092"/>
                <a:gd name="T5" fmla="*/ 2147483647 h 2442"/>
                <a:gd name="T6" fmla="*/ 2147483647 w 1092"/>
                <a:gd name="T7" fmla="*/ 2147483647 h 2442"/>
                <a:gd name="T8" fmla="*/ 2147483647 w 1092"/>
                <a:gd name="T9" fmla="*/ 2147483647 h 2442"/>
                <a:gd name="T10" fmla="*/ 2147483647 w 1092"/>
                <a:gd name="T11" fmla="*/ 2147483647 h 2442"/>
                <a:gd name="T12" fmla="*/ 2147483647 w 1092"/>
                <a:gd name="T13" fmla="*/ 2147483647 h 2442"/>
                <a:gd name="T14" fmla="*/ 2147483647 w 1092"/>
                <a:gd name="T15" fmla="*/ 2147483647 h 2442"/>
                <a:gd name="T16" fmla="*/ 2147483647 w 1092"/>
                <a:gd name="T17" fmla="*/ 2147483647 h 2442"/>
                <a:gd name="T18" fmla="*/ 2147483647 w 1092"/>
                <a:gd name="T19" fmla="*/ 2147483647 h 2442"/>
                <a:gd name="T20" fmla="*/ 2147483647 w 1092"/>
                <a:gd name="T21" fmla="*/ 0 h 2442"/>
                <a:gd name="T22" fmla="*/ 2147483647 w 1092"/>
                <a:gd name="T23" fmla="*/ 2147483647 h 2442"/>
                <a:gd name="T24" fmla="*/ 2147483647 w 1092"/>
                <a:gd name="T25" fmla="*/ 2147483647 h 2442"/>
                <a:gd name="T26" fmla="*/ 2147483647 w 1092"/>
                <a:gd name="T27" fmla="*/ 2147483647 h 2442"/>
                <a:gd name="T28" fmla="*/ 2147483647 w 1092"/>
                <a:gd name="T29" fmla="*/ 2147483647 h 2442"/>
                <a:gd name="T30" fmla="*/ 2147483647 w 1092"/>
                <a:gd name="T31" fmla="*/ 2147483647 h 2442"/>
                <a:gd name="T32" fmla="*/ 2147483647 w 1092"/>
                <a:gd name="T33" fmla="*/ 2147483647 h 2442"/>
                <a:gd name="T34" fmla="*/ 2147483647 w 1092"/>
                <a:gd name="T35" fmla="*/ 2147483647 h 2442"/>
                <a:gd name="T36" fmla="*/ 2147483647 w 1092"/>
                <a:gd name="T37" fmla="*/ 2147483647 h 2442"/>
                <a:gd name="T38" fmla="*/ 2147483647 w 1092"/>
                <a:gd name="T39" fmla="*/ 2147483647 h 2442"/>
                <a:gd name="T40" fmla="*/ 2147483647 w 1092"/>
                <a:gd name="T41" fmla="*/ 2147483647 h 2442"/>
                <a:gd name="T42" fmla="*/ 2147483647 w 1092"/>
                <a:gd name="T43" fmla="*/ 2147483647 h 2442"/>
                <a:gd name="T44" fmla="*/ 2147483647 w 1092"/>
                <a:gd name="T45" fmla="*/ 2147483647 h 2442"/>
                <a:gd name="T46" fmla="*/ 2147483647 w 1092"/>
                <a:gd name="T47" fmla="*/ 2147483647 h 2442"/>
                <a:gd name="T48" fmla="*/ 2147483647 w 1092"/>
                <a:gd name="T49" fmla="*/ 2147483647 h 2442"/>
                <a:gd name="T50" fmla="*/ 2147483647 w 1092"/>
                <a:gd name="T51" fmla="*/ 2147483647 h 2442"/>
                <a:gd name="T52" fmla="*/ 2147483647 w 1092"/>
                <a:gd name="T53" fmla="*/ 2147483647 h 2442"/>
                <a:gd name="T54" fmla="*/ 2147483647 w 1092"/>
                <a:gd name="T55" fmla="*/ 2147483647 h 2442"/>
                <a:gd name="T56" fmla="*/ 2147483647 w 1092"/>
                <a:gd name="T57" fmla="*/ 2147483647 h 2442"/>
                <a:gd name="T58" fmla="*/ 2147483647 w 1092"/>
                <a:gd name="T59" fmla="*/ 2147483647 h 2442"/>
                <a:gd name="T60" fmla="*/ 2147483647 w 1092"/>
                <a:gd name="T61" fmla="*/ 2147483647 h 2442"/>
                <a:gd name="T62" fmla="*/ 2147483647 w 1092"/>
                <a:gd name="T63" fmla="*/ 2147483647 h 2442"/>
                <a:gd name="T64" fmla="*/ 2147483647 w 1092"/>
                <a:gd name="T65" fmla="*/ 2147483647 h 2442"/>
                <a:gd name="T66" fmla="*/ 2147483647 w 1092"/>
                <a:gd name="T67" fmla="*/ 2147483647 h 2442"/>
                <a:gd name="T68" fmla="*/ 2147483647 w 1092"/>
                <a:gd name="T69" fmla="*/ 2147483647 h 2442"/>
                <a:gd name="T70" fmla="*/ 2147483647 w 1092"/>
                <a:gd name="T71" fmla="*/ 2147483647 h 2442"/>
                <a:gd name="T72" fmla="*/ 2147483647 w 1092"/>
                <a:gd name="T73" fmla="*/ 2147483647 h 2442"/>
                <a:gd name="T74" fmla="*/ 2147483647 w 1092"/>
                <a:gd name="T75" fmla="*/ 2147483647 h 2442"/>
                <a:gd name="T76" fmla="*/ 2147483647 w 1092"/>
                <a:gd name="T77" fmla="*/ 2147483647 h 2442"/>
                <a:gd name="T78" fmla="*/ 2147483647 w 1092"/>
                <a:gd name="T79" fmla="*/ 2147483647 h 2442"/>
                <a:gd name="T80" fmla="*/ 2147483647 w 1092"/>
                <a:gd name="T81" fmla="*/ 2147483647 h 2442"/>
                <a:gd name="T82" fmla="*/ 2147483647 w 1092"/>
                <a:gd name="T83" fmla="*/ 2147483647 h 2442"/>
                <a:gd name="T84" fmla="*/ 2147483647 w 1092"/>
                <a:gd name="T85" fmla="*/ 2147483647 h 2442"/>
                <a:gd name="T86" fmla="*/ 2147483647 w 1092"/>
                <a:gd name="T87" fmla="*/ 2147483647 h 2442"/>
                <a:gd name="T88" fmla="*/ 2147483647 w 1092"/>
                <a:gd name="T89" fmla="*/ 2147483647 h 2442"/>
                <a:gd name="T90" fmla="*/ 2147483647 w 1092"/>
                <a:gd name="T91" fmla="*/ 2147483647 h 2442"/>
                <a:gd name="T92" fmla="*/ 2147483647 w 1092"/>
                <a:gd name="T93" fmla="*/ 2147483647 h 2442"/>
                <a:gd name="T94" fmla="*/ 2147483647 w 1092"/>
                <a:gd name="T95" fmla="*/ 2147483647 h 2442"/>
                <a:gd name="T96" fmla="*/ 2147483647 w 1092"/>
                <a:gd name="T97" fmla="*/ 2147483647 h 2442"/>
                <a:gd name="T98" fmla="*/ 2147483647 w 1092"/>
                <a:gd name="T99" fmla="*/ 2147483647 h 2442"/>
                <a:gd name="T100" fmla="*/ 2147483647 w 1092"/>
                <a:gd name="T101" fmla="*/ 2147483647 h 2442"/>
                <a:gd name="T102" fmla="*/ 2147483647 w 1092"/>
                <a:gd name="T103" fmla="*/ 2147483647 h 2442"/>
                <a:gd name="T104" fmla="*/ 2147483647 w 1092"/>
                <a:gd name="T105" fmla="*/ 2147483647 h 2442"/>
                <a:gd name="T106" fmla="*/ 2147483647 w 1092"/>
                <a:gd name="T107" fmla="*/ 2147483647 h 2442"/>
                <a:gd name="T108" fmla="*/ 2147483647 w 1092"/>
                <a:gd name="T109" fmla="*/ 2147483647 h 2442"/>
                <a:gd name="T110" fmla="*/ 2147483647 w 1092"/>
                <a:gd name="T111" fmla="*/ 2147483647 h 2442"/>
                <a:gd name="T112" fmla="*/ 2147483647 w 1092"/>
                <a:gd name="T113" fmla="*/ 2147483647 h 244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92"/>
                <a:gd name="T172" fmla="*/ 0 h 2442"/>
                <a:gd name="T173" fmla="*/ 1092 w 1092"/>
                <a:gd name="T174" fmla="*/ 2442 h 244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92" h="2442">
                  <a:moveTo>
                    <a:pt x="954" y="534"/>
                  </a:moveTo>
                  <a:lnTo>
                    <a:pt x="978" y="528"/>
                  </a:lnTo>
                  <a:lnTo>
                    <a:pt x="984" y="504"/>
                  </a:lnTo>
                  <a:lnTo>
                    <a:pt x="990" y="498"/>
                  </a:lnTo>
                  <a:lnTo>
                    <a:pt x="990" y="480"/>
                  </a:lnTo>
                  <a:lnTo>
                    <a:pt x="1026" y="480"/>
                  </a:lnTo>
                  <a:lnTo>
                    <a:pt x="1026" y="462"/>
                  </a:lnTo>
                  <a:lnTo>
                    <a:pt x="1032" y="450"/>
                  </a:lnTo>
                  <a:lnTo>
                    <a:pt x="1038" y="444"/>
                  </a:lnTo>
                  <a:lnTo>
                    <a:pt x="1092" y="426"/>
                  </a:lnTo>
                  <a:lnTo>
                    <a:pt x="1092" y="390"/>
                  </a:lnTo>
                  <a:lnTo>
                    <a:pt x="1086" y="372"/>
                  </a:lnTo>
                  <a:lnTo>
                    <a:pt x="1086" y="342"/>
                  </a:lnTo>
                  <a:lnTo>
                    <a:pt x="1080" y="336"/>
                  </a:lnTo>
                  <a:lnTo>
                    <a:pt x="1074" y="336"/>
                  </a:lnTo>
                  <a:lnTo>
                    <a:pt x="1074" y="324"/>
                  </a:lnTo>
                  <a:lnTo>
                    <a:pt x="1062" y="300"/>
                  </a:lnTo>
                  <a:lnTo>
                    <a:pt x="1056" y="294"/>
                  </a:lnTo>
                  <a:lnTo>
                    <a:pt x="1038" y="294"/>
                  </a:lnTo>
                  <a:lnTo>
                    <a:pt x="1032" y="300"/>
                  </a:lnTo>
                  <a:lnTo>
                    <a:pt x="1020" y="306"/>
                  </a:lnTo>
                  <a:lnTo>
                    <a:pt x="1020" y="384"/>
                  </a:lnTo>
                  <a:lnTo>
                    <a:pt x="1008" y="390"/>
                  </a:lnTo>
                  <a:lnTo>
                    <a:pt x="1002" y="402"/>
                  </a:lnTo>
                  <a:lnTo>
                    <a:pt x="990" y="408"/>
                  </a:lnTo>
                  <a:lnTo>
                    <a:pt x="984" y="414"/>
                  </a:lnTo>
                  <a:lnTo>
                    <a:pt x="978" y="414"/>
                  </a:lnTo>
                  <a:lnTo>
                    <a:pt x="966" y="426"/>
                  </a:lnTo>
                  <a:lnTo>
                    <a:pt x="954" y="450"/>
                  </a:lnTo>
                  <a:lnTo>
                    <a:pt x="948" y="456"/>
                  </a:lnTo>
                  <a:lnTo>
                    <a:pt x="948" y="450"/>
                  </a:lnTo>
                  <a:lnTo>
                    <a:pt x="942" y="444"/>
                  </a:lnTo>
                  <a:lnTo>
                    <a:pt x="930" y="444"/>
                  </a:lnTo>
                  <a:lnTo>
                    <a:pt x="924" y="450"/>
                  </a:lnTo>
                  <a:lnTo>
                    <a:pt x="924" y="468"/>
                  </a:lnTo>
                  <a:lnTo>
                    <a:pt x="912" y="450"/>
                  </a:lnTo>
                  <a:lnTo>
                    <a:pt x="852" y="450"/>
                  </a:lnTo>
                  <a:lnTo>
                    <a:pt x="834" y="444"/>
                  </a:lnTo>
                  <a:lnTo>
                    <a:pt x="822" y="438"/>
                  </a:lnTo>
                  <a:lnTo>
                    <a:pt x="816" y="432"/>
                  </a:lnTo>
                  <a:lnTo>
                    <a:pt x="804" y="426"/>
                  </a:lnTo>
                  <a:lnTo>
                    <a:pt x="798" y="426"/>
                  </a:lnTo>
                  <a:lnTo>
                    <a:pt x="786" y="432"/>
                  </a:lnTo>
                  <a:lnTo>
                    <a:pt x="762" y="432"/>
                  </a:lnTo>
                  <a:lnTo>
                    <a:pt x="756" y="426"/>
                  </a:lnTo>
                  <a:lnTo>
                    <a:pt x="756" y="414"/>
                  </a:lnTo>
                  <a:lnTo>
                    <a:pt x="762" y="402"/>
                  </a:lnTo>
                  <a:lnTo>
                    <a:pt x="768" y="396"/>
                  </a:lnTo>
                  <a:lnTo>
                    <a:pt x="774" y="384"/>
                  </a:lnTo>
                  <a:lnTo>
                    <a:pt x="780" y="378"/>
                  </a:lnTo>
                  <a:lnTo>
                    <a:pt x="780" y="342"/>
                  </a:lnTo>
                  <a:lnTo>
                    <a:pt x="798" y="342"/>
                  </a:lnTo>
                  <a:lnTo>
                    <a:pt x="804" y="336"/>
                  </a:lnTo>
                  <a:lnTo>
                    <a:pt x="804" y="330"/>
                  </a:lnTo>
                  <a:lnTo>
                    <a:pt x="798" y="318"/>
                  </a:lnTo>
                  <a:lnTo>
                    <a:pt x="792" y="312"/>
                  </a:lnTo>
                  <a:lnTo>
                    <a:pt x="798" y="300"/>
                  </a:lnTo>
                  <a:lnTo>
                    <a:pt x="804" y="294"/>
                  </a:lnTo>
                  <a:lnTo>
                    <a:pt x="804" y="282"/>
                  </a:lnTo>
                  <a:lnTo>
                    <a:pt x="810" y="276"/>
                  </a:lnTo>
                  <a:lnTo>
                    <a:pt x="804" y="270"/>
                  </a:lnTo>
                  <a:lnTo>
                    <a:pt x="792" y="264"/>
                  </a:lnTo>
                  <a:lnTo>
                    <a:pt x="774" y="258"/>
                  </a:lnTo>
                  <a:lnTo>
                    <a:pt x="762" y="252"/>
                  </a:lnTo>
                  <a:lnTo>
                    <a:pt x="750" y="252"/>
                  </a:lnTo>
                  <a:lnTo>
                    <a:pt x="744" y="246"/>
                  </a:lnTo>
                  <a:lnTo>
                    <a:pt x="708" y="228"/>
                  </a:lnTo>
                  <a:lnTo>
                    <a:pt x="690" y="216"/>
                  </a:lnTo>
                  <a:lnTo>
                    <a:pt x="678" y="210"/>
                  </a:lnTo>
                  <a:lnTo>
                    <a:pt x="672" y="204"/>
                  </a:lnTo>
                  <a:lnTo>
                    <a:pt x="666" y="204"/>
                  </a:lnTo>
                  <a:lnTo>
                    <a:pt x="660" y="198"/>
                  </a:lnTo>
                  <a:lnTo>
                    <a:pt x="648" y="192"/>
                  </a:lnTo>
                  <a:lnTo>
                    <a:pt x="642" y="186"/>
                  </a:lnTo>
                  <a:lnTo>
                    <a:pt x="630" y="180"/>
                  </a:lnTo>
                  <a:lnTo>
                    <a:pt x="600" y="180"/>
                  </a:lnTo>
                  <a:lnTo>
                    <a:pt x="564" y="162"/>
                  </a:lnTo>
                  <a:lnTo>
                    <a:pt x="558" y="156"/>
                  </a:lnTo>
                  <a:lnTo>
                    <a:pt x="552" y="156"/>
                  </a:lnTo>
                  <a:lnTo>
                    <a:pt x="546" y="138"/>
                  </a:lnTo>
                  <a:lnTo>
                    <a:pt x="534" y="132"/>
                  </a:lnTo>
                  <a:lnTo>
                    <a:pt x="516" y="114"/>
                  </a:lnTo>
                  <a:lnTo>
                    <a:pt x="492" y="102"/>
                  </a:lnTo>
                  <a:lnTo>
                    <a:pt x="486" y="96"/>
                  </a:lnTo>
                  <a:lnTo>
                    <a:pt x="480" y="84"/>
                  </a:lnTo>
                  <a:lnTo>
                    <a:pt x="468" y="78"/>
                  </a:lnTo>
                  <a:lnTo>
                    <a:pt x="462" y="66"/>
                  </a:lnTo>
                  <a:lnTo>
                    <a:pt x="456" y="60"/>
                  </a:lnTo>
                  <a:lnTo>
                    <a:pt x="456" y="54"/>
                  </a:lnTo>
                  <a:lnTo>
                    <a:pt x="438" y="36"/>
                  </a:lnTo>
                  <a:lnTo>
                    <a:pt x="402" y="12"/>
                  </a:lnTo>
                  <a:lnTo>
                    <a:pt x="330" y="18"/>
                  </a:lnTo>
                  <a:lnTo>
                    <a:pt x="318" y="72"/>
                  </a:lnTo>
                  <a:lnTo>
                    <a:pt x="288" y="24"/>
                  </a:lnTo>
                  <a:lnTo>
                    <a:pt x="234" y="24"/>
                  </a:lnTo>
                  <a:lnTo>
                    <a:pt x="216" y="18"/>
                  </a:lnTo>
                  <a:lnTo>
                    <a:pt x="204" y="18"/>
                  </a:lnTo>
                  <a:lnTo>
                    <a:pt x="180" y="6"/>
                  </a:lnTo>
                  <a:lnTo>
                    <a:pt x="174" y="0"/>
                  </a:lnTo>
                  <a:lnTo>
                    <a:pt x="162" y="24"/>
                  </a:lnTo>
                  <a:lnTo>
                    <a:pt x="138" y="30"/>
                  </a:lnTo>
                  <a:lnTo>
                    <a:pt x="138" y="48"/>
                  </a:lnTo>
                  <a:lnTo>
                    <a:pt x="126" y="48"/>
                  </a:lnTo>
                  <a:lnTo>
                    <a:pt x="126" y="78"/>
                  </a:lnTo>
                  <a:lnTo>
                    <a:pt x="114" y="78"/>
                  </a:lnTo>
                  <a:lnTo>
                    <a:pt x="126" y="96"/>
                  </a:lnTo>
                  <a:lnTo>
                    <a:pt x="114" y="180"/>
                  </a:lnTo>
                  <a:lnTo>
                    <a:pt x="108" y="180"/>
                  </a:lnTo>
                  <a:lnTo>
                    <a:pt x="102" y="186"/>
                  </a:lnTo>
                  <a:lnTo>
                    <a:pt x="90" y="192"/>
                  </a:lnTo>
                  <a:lnTo>
                    <a:pt x="72" y="198"/>
                  </a:lnTo>
                  <a:lnTo>
                    <a:pt x="60" y="210"/>
                  </a:lnTo>
                  <a:lnTo>
                    <a:pt x="48" y="216"/>
                  </a:lnTo>
                  <a:lnTo>
                    <a:pt x="42" y="228"/>
                  </a:lnTo>
                  <a:lnTo>
                    <a:pt x="36" y="234"/>
                  </a:lnTo>
                  <a:lnTo>
                    <a:pt x="36" y="240"/>
                  </a:lnTo>
                  <a:lnTo>
                    <a:pt x="42" y="246"/>
                  </a:lnTo>
                  <a:lnTo>
                    <a:pt x="54" y="252"/>
                  </a:lnTo>
                  <a:lnTo>
                    <a:pt x="66" y="252"/>
                  </a:lnTo>
                  <a:lnTo>
                    <a:pt x="66" y="258"/>
                  </a:lnTo>
                  <a:lnTo>
                    <a:pt x="42" y="282"/>
                  </a:lnTo>
                  <a:lnTo>
                    <a:pt x="42" y="300"/>
                  </a:lnTo>
                  <a:lnTo>
                    <a:pt x="48" y="306"/>
                  </a:lnTo>
                  <a:lnTo>
                    <a:pt x="60" y="312"/>
                  </a:lnTo>
                  <a:lnTo>
                    <a:pt x="72" y="324"/>
                  </a:lnTo>
                  <a:lnTo>
                    <a:pt x="78" y="336"/>
                  </a:lnTo>
                  <a:lnTo>
                    <a:pt x="72" y="342"/>
                  </a:lnTo>
                  <a:lnTo>
                    <a:pt x="66" y="354"/>
                  </a:lnTo>
                  <a:lnTo>
                    <a:pt x="54" y="366"/>
                  </a:lnTo>
                  <a:lnTo>
                    <a:pt x="48" y="366"/>
                  </a:lnTo>
                  <a:lnTo>
                    <a:pt x="54" y="366"/>
                  </a:lnTo>
                  <a:lnTo>
                    <a:pt x="60" y="372"/>
                  </a:lnTo>
                  <a:lnTo>
                    <a:pt x="84" y="384"/>
                  </a:lnTo>
                  <a:lnTo>
                    <a:pt x="90" y="396"/>
                  </a:lnTo>
                  <a:lnTo>
                    <a:pt x="90" y="408"/>
                  </a:lnTo>
                  <a:lnTo>
                    <a:pt x="78" y="414"/>
                  </a:lnTo>
                  <a:lnTo>
                    <a:pt x="72" y="420"/>
                  </a:lnTo>
                  <a:lnTo>
                    <a:pt x="54" y="420"/>
                  </a:lnTo>
                  <a:lnTo>
                    <a:pt x="54" y="432"/>
                  </a:lnTo>
                  <a:lnTo>
                    <a:pt x="48" y="450"/>
                  </a:lnTo>
                  <a:lnTo>
                    <a:pt x="48" y="462"/>
                  </a:lnTo>
                  <a:lnTo>
                    <a:pt x="42" y="474"/>
                  </a:lnTo>
                  <a:lnTo>
                    <a:pt x="42" y="486"/>
                  </a:lnTo>
                  <a:lnTo>
                    <a:pt x="30" y="498"/>
                  </a:lnTo>
                  <a:lnTo>
                    <a:pt x="24" y="510"/>
                  </a:lnTo>
                  <a:lnTo>
                    <a:pt x="18" y="516"/>
                  </a:lnTo>
                  <a:lnTo>
                    <a:pt x="18" y="582"/>
                  </a:lnTo>
                  <a:lnTo>
                    <a:pt x="6" y="594"/>
                  </a:lnTo>
                  <a:lnTo>
                    <a:pt x="6" y="606"/>
                  </a:lnTo>
                  <a:lnTo>
                    <a:pt x="18" y="630"/>
                  </a:lnTo>
                  <a:lnTo>
                    <a:pt x="30" y="666"/>
                  </a:lnTo>
                  <a:lnTo>
                    <a:pt x="36" y="678"/>
                  </a:lnTo>
                  <a:lnTo>
                    <a:pt x="36" y="684"/>
                  </a:lnTo>
                  <a:lnTo>
                    <a:pt x="12" y="684"/>
                  </a:lnTo>
                  <a:lnTo>
                    <a:pt x="18" y="738"/>
                  </a:lnTo>
                  <a:lnTo>
                    <a:pt x="6" y="744"/>
                  </a:lnTo>
                  <a:lnTo>
                    <a:pt x="0" y="744"/>
                  </a:lnTo>
                  <a:lnTo>
                    <a:pt x="0" y="768"/>
                  </a:lnTo>
                  <a:lnTo>
                    <a:pt x="6" y="774"/>
                  </a:lnTo>
                  <a:lnTo>
                    <a:pt x="6" y="780"/>
                  </a:lnTo>
                  <a:lnTo>
                    <a:pt x="18" y="786"/>
                  </a:lnTo>
                  <a:lnTo>
                    <a:pt x="36" y="804"/>
                  </a:lnTo>
                  <a:lnTo>
                    <a:pt x="36" y="816"/>
                  </a:lnTo>
                  <a:lnTo>
                    <a:pt x="30" y="822"/>
                  </a:lnTo>
                  <a:lnTo>
                    <a:pt x="30" y="828"/>
                  </a:lnTo>
                  <a:lnTo>
                    <a:pt x="48" y="846"/>
                  </a:lnTo>
                  <a:lnTo>
                    <a:pt x="60" y="876"/>
                  </a:lnTo>
                  <a:lnTo>
                    <a:pt x="66" y="888"/>
                  </a:lnTo>
                  <a:lnTo>
                    <a:pt x="60" y="894"/>
                  </a:lnTo>
                  <a:lnTo>
                    <a:pt x="60" y="906"/>
                  </a:lnTo>
                  <a:lnTo>
                    <a:pt x="72" y="918"/>
                  </a:lnTo>
                  <a:lnTo>
                    <a:pt x="96" y="918"/>
                  </a:lnTo>
                  <a:lnTo>
                    <a:pt x="102" y="960"/>
                  </a:lnTo>
                  <a:lnTo>
                    <a:pt x="108" y="972"/>
                  </a:lnTo>
                  <a:lnTo>
                    <a:pt x="114" y="978"/>
                  </a:lnTo>
                  <a:lnTo>
                    <a:pt x="120" y="990"/>
                  </a:lnTo>
                  <a:lnTo>
                    <a:pt x="120" y="996"/>
                  </a:lnTo>
                  <a:lnTo>
                    <a:pt x="102" y="1014"/>
                  </a:lnTo>
                  <a:lnTo>
                    <a:pt x="102" y="1038"/>
                  </a:lnTo>
                  <a:lnTo>
                    <a:pt x="96" y="1056"/>
                  </a:lnTo>
                  <a:lnTo>
                    <a:pt x="96" y="1086"/>
                  </a:lnTo>
                  <a:lnTo>
                    <a:pt x="84" y="1086"/>
                  </a:lnTo>
                  <a:lnTo>
                    <a:pt x="90" y="1092"/>
                  </a:lnTo>
                  <a:lnTo>
                    <a:pt x="96" y="1104"/>
                  </a:lnTo>
                  <a:lnTo>
                    <a:pt x="102" y="1110"/>
                  </a:lnTo>
                  <a:lnTo>
                    <a:pt x="108" y="1122"/>
                  </a:lnTo>
                  <a:lnTo>
                    <a:pt x="114" y="1128"/>
                  </a:lnTo>
                  <a:lnTo>
                    <a:pt x="114" y="1140"/>
                  </a:lnTo>
                  <a:lnTo>
                    <a:pt x="108" y="1152"/>
                  </a:lnTo>
                  <a:lnTo>
                    <a:pt x="108" y="1158"/>
                  </a:lnTo>
                  <a:lnTo>
                    <a:pt x="102" y="1176"/>
                  </a:lnTo>
                  <a:lnTo>
                    <a:pt x="78" y="1182"/>
                  </a:lnTo>
                  <a:lnTo>
                    <a:pt x="78" y="1188"/>
                  </a:lnTo>
                  <a:lnTo>
                    <a:pt x="84" y="1194"/>
                  </a:lnTo>
                  <a:lnTo>
                    <a:pt x="84" y="1206"/>
                  </a:lnTo>
                  <a:lnTo>
                    <a:pt x="90" y="1224"/>
                  </a:lnTo>
                  <a:lnTo>
                    <a:pt x="96" y="1236"/>
                  </a:lnTo>
                  <a:lnTo>
                    <a:pt x="96" y="1284"/>
                  </a:lnTo>
                  <a:lnTo>
                    <a:pt x="126" y="1308"/>
                  </a:lnTo>
                  <a:lnTo>
                    <a:pt x="126" y="1326"/>
                  </a:lnTo>
                  <a:lnTo>
                    <a:pt x="132" y="1326"/>
                  </a:lnTo>
                  <a:lnTo>
                    <a:pt x="150" y="1344"/>
                  </a:lnTo>
                  <a:lnTo>
                    <a:pt x="150" y="1350"/>
                  </a:lnTo>
                  <a:lnTo>
                    <a:pt x="144" y="1362"/>
                  </a:lnTo>
                  <a:lnTo>
                    <a:pt x="132" y="1368"/>
                  </a:lnTo>
                  <a:lnTo>
                    <a:pt x="126" y="1374"/>
                  </a:lnTo>
                  <a:lnTo>
                    <a:pt x="120" y="1374"/>
                  </a:lnTo>
                  <a:lnTo>
                    <a:pt x="132" y="1416"/>
                  </a:lnTo>
                  <a:lnTo>
                    <a:pt x="114" y="1428"/>
                  </a:lnTo>
                  <a:lnTo>
                    <a:pt x="132" y="1446"/>
                  </a:lnTo>
                  <a:lnTo>
                    <a:pt x="132" y="1452"/>
                  </a:lnTo>
                  <a:lnTo>
                    <a:pt x="126" y="1464"/>
                  </a:lnTo>
                  <a:lnTo>
                    <a:pt x="126" y="1470"/>
                  </a:lnTo>
                  <a:lnTo>
                    <a:pt x="144" y="1482"/>
                  </a:lnTo>
                  <a:lnTo>
                    <a:pt x="144" y="1494"/>
                  </a:lnTo>
                  <a:lnTo>
                    <a:pt x="138" y="1500"/>
                  </a:lnTo>
                  <a:lnTo>
                    <a:pt x="138" y="1530"/>
                  </a:lnTo>
                  <a:lnTo>
                    <a:pt x="144" y="1536"/>
                  </a:lnTo>
                  <a:lnTo>
                    <a:pt x="150" y="1548"/>
                  </a:lnTo>
                  <a:lnTo>
                    <a:pt x="150" y="1572"/>
                  </a:lnTo>
                  <a:lnTo>
                    <a:pt x="156" y="1584"/>
                  </a:lnTo>
                  <a:lnTo>
                    <a:pt x="174" y="1602"/>
                  </a:lnTo>
                  <a:lnTo>
                    <a:pt x="186" y="1608"/>
                  </a:lnTo>
                  <a:lnTo>
                    <a:pt x="198" y="1620"/>
                  </a:lnTo>
                  <a:lnTo>
                    <a:pt x="192" y="1620"/>
                  </a:lnTo>
                  <a:lnTo>
                    <a:pt x="180" y="1626"/>
                  </a:lnTo>
                  <a:lnTo>
                    <a:pt x="174" y="1632"/>
                  </a:lnTo>
                  <a:lnTo>
                    <a:pt x="174" y="1644"/>
                  </a:lnTo>
                  <a:lnTo>
                    <a:pt x="180" y="1656"/>
                  </a:lnTo>
                  <a:lnTo>
                    <a:pt x="180" y="1674"/>
                  </a:lnTo>
                  <a:lnTo>
                    <a:pt x="186" y="1686"/>
                  </a:lnTo>
                  <a:lnTo>
                    <a:pt x="186" y="1698"/>
                  </a:lnTo>
                  <a:lnTo>
                    <a:pt x="192" y="1704"/>
                  </a:lnTo>
                  <a:lnTo>
                    <a:pt x="216" y="1716"/>
                  </a:lnTo>
                  <a:lnTo>
                    <a:pt x="210" y="1746"/>
                  </a:lnTo>
                  <a:lnTo>
                    <a:pt x="216" y="1746"/>
                  </a:lnTo>
                  <a:lnTo>
                    <a:pt x="228" y="1752"/>
                  </a:lnTo>
                  <a:lnTo>
                    <a:pt x="234" y="1758"/>
                  </a:lnTo>
                  <a:lnTo>
                    <a:pt x="234" y="1764"/>
                  </a:lnTo>
                  <a:lnTo>
                    <a:pt x="240" y="1776"/>
                  </a:lnTo>
                  <a:lnTo>
                    <a:pt x="240" y="1806"/>
                  </a:lnTo>
                  <a:lnTo>
                    <a:pt x="252" y="1818"/>
                  </a:lnTo>
                  <a:lnTo>
                    <a:pt x="282" y="1818"/>
                  </a:lnTo>
                  <a:lnTo>
                    <a:pt x="294" y="1824"/>
                  </a:lnTo>
                  <a:lnTo>
                    <a:pt x="294" y="1830"/>
                  </a:lnTo>
                  <a:lnTo>
                    <a:pt x="288" y="1836"/>
                  </a:lnTo>
                  <a:lnTo>
                    <a:pt x="276" y="1836"/>
                  </a:lnTo>
                  <a:lnTo>
                    <a:pt x="264" y="1842"/>
                  </a:lnTo>
                  <a:lnTo>
                    <a:pt x="246" y="1842"/>
                  </a:lnTo>
                  <a:lnTo>
                    <a:pt x="252" y="1848"/>
                  </a:lnTo>
                  <a:lnTo>
                    <a:pt x="258" y="1848"/>
                  </a:lnTo>
                  <a:lnTo>
                    <a:pt x="270" y="1854"/>
                  </a:lnTo>
                  <a:lnTo>
                    <a:pt x="276" y="1860"/>
                  </a:lnTo>
                  <a:lnTo>
                    <a:pt x="288" y="1860"/>
                  </a:lnTo>
                  <a:lnTo>
                    <a:pt x="312" y="1884"/>
                  </a:lnTo>
                  <a:lnTo>
                    <a:pt x="306" y="1890"/>
                  </a:lnTo>
                  <a:lnTo>
                    <a:pt x="300" y="1902"/>
                  </a:lnTo>
                  <a:lnTo>
                    <a:pt x="288" y="1914"/>
                  </a:lnTo>
                  <a:lnTo>
                    <a:pt x="312" y="1932"/>
                  </a:lnTo>
                  <a:lnTo>
                    <a:pt x="306" y="1956"/>
                  </a:lnTo>
                  <a:lnTo>
                    <a:pt x="330" y="1980"/>
                  </a:lnTo>
                  <a:lnTo>
                    <a:pt x="324" y="2016"/>
                  </a:lnTo>
                  <a:lnTo>
                    <a:pt x="336" y="2040"/>
                  </a:lnTo>
                  <a:lnTo>
                    <a:pt x="324" y="2046"/>
                  </a:lnTo>
                  <a:lnTo>
                    <a:pt x="318" y="2088"/>
                  </a:lnTo>
                  <a:lnTo>
                    <a:pt x="324" y="2088"/>
                  </a:lnTo>
                  <a:lnTo>
                    <a:pt x="348" y="2112"/>
                  </a:lnTo>
                  <a:lnTo>
                    <a:pt x="348" y="2118"/>
                  </a:lnTo>
                  <a:lnTo>
                    <a:pt x="342" y="2118"/>
                  </a:lnTo>
                  <a:lnTo>
                    <a:pt x="330" y="2124"/>
                  </a:lnTo>
                  <a:lnTo>
                    <a:pt x="324" y="2130"/>
                  </a:lnTo>
                  <a:lnTo>
                    <a:pt x="348" y="2154"/>
                  </a:lnTo>
                  <a:lnTo>
                    <a:pt x="348" y="2160"/>
                  </a:lnTo>
                  <a:lnTo>
                    <a:pt x="342" y="2166"/>
                  </a:lnTo>
                  <a:lnTo>
                    <a:pt x="336" y="2166"/>
                  </a:lnTo>
                  <a:lnTo>
                    <a:pt x="330" y="2172"/>
                  </a:lnTo>
                  <a:lnTo>
                    <a:pt x="324" y="2172"/>
                  </a:lnTo>
                  <a:lnTo>
                    <a:pt x="324" y="2196"/>
                  </a:lnTo>
                  <a:lnTo>
                    <a:pt x="312" y="2202"/>
                  </a:lnTo>
                  <a:lnTo>
                    <a:pt x="312" y="2214"/>
                  </a:lnTo>
                  <a:lnTo>
                    <a:pt x="318" y="2226"/>
                  </a:lnTo>
                  <a:lnTo>
                    <a:pt x="324" y="2232"/>
                  </a:lnTo>
                  <a:lnTo>
                    <a:pt x="324" y="2268"/>
                  </a:lnTo>
                  <a:lnTo>
                    <a:pt x="354" y="2274"/>
                  </a:lnTo>
                  <a:lnTo>
                    <a:pt x="354" y="2280"/>
                  </a:lnTo>
                  <a:lnTo>
                    <a:pt x="360" y="2286"/>
                  </a:lnTo>
                  <a:lnTo>
                    <a:pt x="360" y="2298"/>
                  </a:lnTo>
                  <a:lnTo>
                    <a:pt x="366" y="2304"/>
                  </a:lnTo>
                  <a:lnTo>
                    <a:pt x="378" y="2310"/>
                  </a:lnTo>
                  <a:lnTo>
                    <a:pt x="384" y="2310"/>
                  </a:lnTo>
                  <a:lnTo>
                    <a:pt x="396" y="2298"/>
                  </a:lnTo>
                  <a:lnTo>
                    <a:pt x="414" y="2298"/>
                  </a:lnTo>
                  <a:lnTo>
                    <a:pt x="426" y="2304"/>
                  </a:lnTo>
                  <a:lnTo>
                    <a:pt x="438" y="2316"/>
                  </a:lnTo>
                  <a:lnTo>
                    <a:pt x="438" y="2340"/>
                  </a:lnTo>
                  <a:lnTo>
                    <a:pt x="456" y="2364"/>
                  </a:lnTo>
                  <a:lnTo>
                    <a:pt x="468" y="2382"/>
                  </a:lnTo>
                  <a:lnTo>
                    <a:pt x="504" y="2400"/>
                  </a:lnTo>
                  <a:lnTo>
                    <a:pt x="522" y="2418"/>
                  </a:lnTo>
                  <a:lnTo>
                    <a:pt x="534" y="2418"/>
                  </a:lnTo>
                  <a:lnTo>
                    <a:pt x="546" y="2412"/>
                  </a:lnTo>
                  <a:lnTo>
                    <a:pt x="642" y="2412"/>
                  </a:lnTo>
                  <a:lnTo>
                    <a:pt x="666" y="2430"/>
                  </a:lnTo>
                  <a:lnTo>
                    <a:pt x="660" y="2442"/>
                  </a:lnTo>
                  <a:lnTo>
                    <a:pt x="666" y="2424"/>
                  </a:lnTo>
                  <a:lnTo>
                    <a:pt x="672" y="2418"/>
                  </a:lnTo>
                  <a:lnTo>
                    <a:pt x="684" y="2418"/>
                  </a:lnTo>
                  <a:lnTo>
                    <a:pt x="690" y="2424"/>
                  </a:lnTo>
                  <a:lnTo>
                    <a:pt x="702" y="2424"/>
                  </a:lnTo>
                  <a:lnTo>
                    <a:pt x="714" y="2430"/>
                  </a:lnTo>
                  <a:lnTo>
                    <a:pt x="720" y="2436"/>
                  </a:lnTo>
                  <a:lnTo>
                    <a:pt x="678" y="2382"/>
                  </a:lnTo>
                  <a:lnTo>
                    <a:pt x="660" y="2382"/>
                  </a:lnTo>
                  <a:lnTo>
                    <a:pt x="666" y="2370"/>
                  </a:lnTo>
                  <a:lnTo>
                    <a:pt x="630" y="2340"/>
                  </a:lnTo>
                  <a:lnTo>
                    <a:pt x="630" y="2310"/>
                  </a:lnTo>
                  <a:lnTo>
                    <a:pt x="618" y="2298"/>
                  </a:lnTo>
                  <a:lnTo>
                    <a:pt x="624" y="2286"/>
                  </a:lnTo>
                  <a:lnTo>
                    <a:pt x="630" y="2286"/>
                  </a:lnTo>
                  <a:lnTo>
                    <a:pt x="642" y="2274"/>
                  </a:lnTo>
                  <a:lnTo>
                    <a:pt x="642" y="2268"/>
                  </a:lnTo>
                  <a:lnTo>
                    <a:pt x="636" y="2268"/>
                  </a:lnTo>
                  <a:lnTo>
                    <a:pt x="624" y="2262"/>
                  </a:lnTo>
                  <a:lnTo>
                    <a:pt x="606" y="2262"/>
                  </a:lnTo>
                  <a:lnTo>
                    <a:pt x="618" y="2250"/>
                  </a:lnTo>
                  <a:lnTo>
                    <a:pt x="618" y="2232"/>
                  </a:lnTo>
                  <a:lnTo>
                    <a:pt x="636" y="2256"/>
                  </a:lnTo>
                  <a:lnTo>
                    <a:pt x="648" y="2262"/>
                  </a:lnTo>
                  <a:lnTo>
                    <a:pt x="666" y="2262"/>
                  </a:lnTo>
                  <a:lnTo>
                    <a:pt x="672" y="2256"/>
                  </a:lnTo>
                  <a:lnTo>
                    <a:pt x="678" y="2244"/>
                  </a:lnTo>
                  <a:lnTo>
                    <a:pt x="678" y="2226"/>
                  </a:lnTo>
                  <a:lnTo>
                    <a:pt x="672" y="2208"/>
                  </a:lnTo>
                  <a:lnTo>
                    <a:pt x="666" y="2196"/>
                  </a:lnTo>
                  <a:lnTo>
                    <a:pt x="666" y="2178"/>
                  </a:lnTo>
                  <a:lnTo>
                    <a:pt x="678" y="2154"/>
                  </a:lnTo>
                  <a:lnTo>
                    <a:pt x="690" y="2142"/>
                  </a:lnTo>
                  <a:lnTo>
                    <a:pt x="708" y="2130"/>
                  </a:lnTo>
                  <a:lnTo>
                    <a:pt x="738" y="2100"/>
                  </a:lnTo>
                  <a:lnTo>
                    <a:pt x="726" y="2088"/>
                  </a:lnTo>
                  <a:lnTo>
                    <a:pt x="702" y="2088"/>
                  </a:lnTo>
                  <a:lnTo>
                    <a:pt x="726" y="2082"/>
                  </a:lnTo>
                  <a:lnTo>
                    <a:pt x="726" y="2064"/>
                  </a:lnTo>
                  <a:lnTo>
                    <a:pt x="714" y="2040"/>
                  </a:lnTo>
                  <a:lnTo>
                    <a:pt x="708" y="2034"/>
                  </a:lnTo>
                  <a:lnTo>
                    <a:pt x="696" y="2028"/>
                  </a:lnTo>
                  <a:lnTo>
                    <a:pt x="690" y="2028"/>
                  </a:lnTo>
                  <a:lnTo>
                    <a:pt x="684" y="2034"/>
                  </a:lnTo>
                  <a:lnTo>
                    <a:pt x="672" y="2016"/>
                  </a:lnTo>
                  <a:lnTo>
                    <a:pt x="642" y="2016"/>
                  </a:lnTo>
                  <a:lnTo>
                    <a:pt x="636" y="2010"/>
                  </a:lnTo>
                  <a:lnTo>
                    <a:pt x="624" y="2004"/>
                  </a:lnTo>
                  <a:lnTo>
                    <a:pt x="606" y="1992"/>
                  </a:lnTo>
                  <a:lnTo>
                    <a:pt x="582" y="1968"/>
                  </a:lnTo>
                  <a:lnTo>
                    <a:pt x="570" y="1950"/>
                  </a:lnTo>
                  <a:lnTo>
                    <a:pt x="564" y="1938"/>
                  </a:lnTo>
                  <a:lnTo>
                    <a:pt x="564" y="1926"/>
                  </a:lnTo>
                  <a:lnTo>
                    <a:pt x="570" y="1914"/>
                  </a:lnTo>
                  <a:lnTo>
                    <a:pt x="570" y="1908"/>
                  </a:lnTo>
                  <a:lnTo>
                    <a:pt x="576" y="1908"/>
                  </a:lnTo>
                  <a:lnTo>
                    <a:pt x="582" y="1902"/>
                  </a:lnTo>
                  <a:lnTo>
                    <a:pt x="594" y="1878"/>
                  </a:lnTo>
                  <a:lnTo>
                    <a:pt x="606" y="1878"/>
                  </a:lnTo>
                  <a:lnTo>
                    <a:pt x="612" y="1860"/>
                  </a:lnTo>
                  <a:lnTo>
                    <a:pt x="666" y="1860"/>
                  </a:lnTo>
                  <a:lnTo>
                    <a:pt x="654" y="1848"/>
                  </a:lnTo>
                  <a:lnTo>
                    <a:pt x="654" y="1824"/>
                  </a:lnTo>
                  <a:lnTo>
                    <a:pt x="666" y="1824"/>
                  </a:lnTo>
                  <a:lnTo>
                    <a:pt x="666" y="1794"/>
                  </a:lnTo>
                  <a:lnTo>
                    <a:pt x="660" y="1788"/>
                  </a:lnTo>
                  <a:lnTo>
                    <a:pt x="654" y="1776"/>
                  </a:lnTo>
                  <a:lnTo>
                    <a:pt x="642" y="1764"/>
                  </a:lnTo>
                  <a:lnTo>
                    <a:pt x="642" y="1746"/>
                  </a:lnTo>
                  <a:lnTo>
                    <a:pt x="648" y="1728"/>
                  </a:lnTo>
                  <a:lnTo>
                    <a:pt x="654" y="1716"/>
                  </a:lnTo>
                  <a:lnTo>
                    <a:pt x="666" y="1710"/>
                  </a:lnTo>
                  <a:lnTo>
                    <a:pt x="672" y="1704"/>
                  </a:lnTo>
                  <a:lnTo>
                    <a:pt x="684" y="1704"/>
                  </a:lnTo>
                  <a:lnTo>
                    <a:pt x="684" y="1692"/>
                  </a:lnTo>
                  <a:lnTo>
                    <a:pt x="660" y="1692"/>
                  </a:lnTo>
                  <a:lnTo>
                    <a:pt x="648" y="1686"/>
                  </a:lnTo>
                  <a:lnTo>
                    <a:pt x="642" y="1680"/>
                  </a:lnTo>
                  <a:lnTo>
                    <a:pt x="642" y="1674"/>
                  </a:lnTo>
                  <a:lnTo>
                    <a:pt x="654" y="1668"/>
                  </a:lnTo>
                  <a:lnTo>
                    <a:pt x="666" y="1668"/>
                  </a:lnTo>
                  <a:lnTo>
                    <a:pt x="702" y="1686"/>
                  </a:lnTo>
                  <a:lnTo>
                    <a:pt x="708" y="1692"/>
                  </a:lnTo>
                  <a:lnTo>
                    <a:pt x="714" y="1692"/>
                  </a:lnTo>
                  <a:lnTo>
                    <a:pt x="720" y="1686"/>
                  </a:lnTo>
                  <a:lnTo>
                    <a:pt x="732" y="1680"/>
                  </a:lnTo>
                  <a:lnTo>
                    <a:pt x="732" y="1656"/>
                  </a:lnTo>
                  <a:lnTo>
                    <a:pt x="726" y="1644"/>
                  </a:lnTo>
                  <a:lnTo>
                    <a:pt x="708" y="1626"/>
                  </a:lnTo>
                  <a:lnTo>
                    <a:pt x="696" y="1626"/>
                  </a:lnTo>
                  <a:lnTo>
                    <a:pt x="690" y="1632"/>
                  </a:lnTo>
                  <a:lnTo>
                    <a:pt x="690" y="1650"/>
                  </a:lnTo>
                  <a:lnTo>
                    <a:pt x="684" y="1656"/>
                  </a:lnTo>
                  <a:lnTo>
                    <a:pt x="666" y="1656"/>
                  </a:lnTo>
                  <a:lnTo>
                    <a:pt x="654" y="1650"/>
                  </a:lnTo>
                  <a:lnTo>
                    <a:pt x="648" y="1644"/>
                  </a:lnTo>
                  <a:lnTo>
                    <a:pt x="648" y="1638"/>
                  </a:lnTo>
                  <a:lnTo>
                    <a:pt x="612" y="1638"/>
                  </a:lnTo>
                  <a:lnTo>
                    <a:pt x="606" y="1632"/>
                  </a:lnTo>
                  <a:lnTo>
                    <a:pt x="606" y="1572"/>
                  </a:lnTo>
                  <a:lnTo>
                    <a:pt x="600" y="1566"/>
                  </a:lnTo>
                  <a:lnTo>
                    <a:pt x="594" y="1554"/>
                  </a:lnTo>
                  <a:lnTo>
                    <a:pt x="588" y="1536"/>
                  </a:lnTo>
                  <a:lnTo>
                    <a:pt x="588" y="1524"/>
                  </a:lnTo>
                  <a:lnTo>
                    <a:pt x="594" y="1518"/>
                  </a:lnTo>
                  <a:lnTo>
                    <a:pt x="600" y="1518"/>
                  </a:lnTo>
                  <a:lnTo>
                    <a:pt x="606" y="1524"/>
                  </a:lnTo>
                  <a:lnTo>
                    <a:pt x="618" y="1524"/>
                  </a:lnTo>
                  <a:lnTo>
                    <a:pt x="624" y="1530"/>
                  </a:lnTo>
                  <a:lnTo>
                    <a:pt x="636" y="1536"/>
                  </a:lnTo>
                  <a:lnTo>
                    <a:pt x="672" y="1548"/>
                  </a:lnTo>
                  <a:lnTo>
                    <a:pt x="690" y="1560"/>
                  </a:lnTo>
                  <a:lnTo>
                    <a:pt x="708" y="1560"/>
                  </a:lnTo>
                  <a:lnTo>
                    <a:pt x="726" y="1554"/>
                  </a:lnTo>
                  <a:lnTo>
                    <a:pt x="738" y="1542"/>
                  </a:lnTo>
                  <a:lnTo>
                    <a:pt x="750" y="1536"/>
                  </a:lnTo>
                  <a:lnTo>
                    <a:pt x="768" y="1530"/>
                  </a:lnTo>
                  <a:lnTo>
                    <a:pt x="774" y="1524"/>
                  </a:lnTo>
                  <a:lnTo>
                    <a:pt x="774" y="1512"/>
                  </a:lnTo>
                  <a:lnTo>
                    <a:pt x="762" y="1506"/>
                  </a:lnTo>
                  <a:lnTo>
                    <a:pt x="750" y="1494"/>
                  </a:lnTo>
                  <a:lnTo>
                    <a:pt x="738" y="1488"/>
                  </a:lnTo>
                  <a:lnTo>
                    <a:pt x="738" y="1464"/>
                  </a:lnTo>
                  <a:lnTo>
                    <a:pt x="744" y="1452"/>
                  </a:lnTo>
                  <a:lnTo>
                    <a:pt x="750" y="1446"/>
                  </a:lnTo>
                  <a:lnTo>
                    <a:pt x="750" y="1434"/>
                  </a:lnTo>
                  <a:lnTo>
                    <a:pt x="756" y="1422"/>
                  </a:lnTo>
                  <a:lnTo>
                    <a:pt x="744" y="1410"/>
                  </a:lnTo>
                  <a:lnTo>
                    <a:pt x="726" y="1410"/>
                  </a:lnTo>
                  <a:lnTo>
                    <a:pt x="720" y="1386"/>
                  </a:lnTo>
                  <a:lnTo>
                    <a:pt x="714" y="1380"/>
                  </a:lnTo>
                  <a:lnTo>
                    <a:pt x="714" y="1368"/>
                  </a:lnTo>
                  <a:lnTo>
                    <a:pt x="720" y="1362"/>
                  </a:lnTo>
                  <a:lnTo>
                    <a:pt x="726" y="1362"/>
                  </a:lnTo>
                  <a:lnTo>
                    <a:pt x="732" y="1374"/>
                  </a:lnTo>
                  <a:lnTo>
                    <a:pt x="738" y="1380"/>
                  </a:lnTo>
                  <a:lnTo>
                    <a:pt x="738" y="1386"/>
                  </a:lnTo>
                  <a:lnTo>
                    <a:pt x="744" y="1398"/>
                  </a:lnTo>
                  <a:lnTo>
                    <a:pt x="756" y="1398"/>
                  </a:lnTo>
                  <a:lnTo>
                    <a:pt x="750" y="1380"/>
                  </a:lnTo>
                  <a:lnTo>
                    <a:pt x="828" y="1386"/>
                  </a:lnTo>
                  <a:lnTo>
                    <a:pt x="834" y="1380"/>
                  </a:lnTo>
                  <a:lnTo>
                    <a:pt x="840" y="1380"/>
                  </a:lnTo>
                  <a:lnTo>
                    <a:pt x="846" y="1374"/>
                  </a:lnTo>
                  <a:lnTo>
                    <a:pt x="864" y="1368"/>
                  </a:lnTo>
                  <a:lnTo>
                    <a:pt x="894" y="1362"/>
                  </a:lnTo>
                  <a:lnTo>
                    <a:pt x="930" y="1350"/>
                  </a:lnTo>
                  <a:lnTo>
                    <a:pt x="972" y="1338"/>
                  </a:lnTo>
                  <a:lnTo>
                    <a:pt x="1002" y="1326"/>
                  </a:lnTo>
                  <a:lnTo>
                    <a:pt x="1014" y="1320"/>
                  </a:lnTo>
                  <a:lnTo>
                    <a:pt x="1014" y="1284"/>
                  </a:lnTo>
                  <a:lnTo>
                    <a:pt x="1032" y="1272"/>
                  </a:lnTo>
                  <a:lnTo>
                    <a:pt x="1044" y="1218"/>
                  </a:lnTo>
                  <a:lnTo>
                    <a:pt x="1038" y="1194"/>
                  </a:lnTo>
                  <a:lnTo>
                    <a:pt x="1038" y="1170"/>
                  </a:lnTo>
                  <a:lnTo>
                    <a:pt x="1032" y="1170"/>
                  </a:lnTo>
                  <a:lnTo>
                    <a:pt x="1026" y="1164"/>
                  </a:lnTo>
                  <a:lnTo>
                    <a:pt x="1002" y="1152"/>
                  </a:lnTo>
                  <a:lnTo>
                    <a:pt x="990" y="1152"/>
                  </a:lnTo>
                  <a:lnTo>
                    <a:pt x="984" y="1146"/>
                  </a:lnTo>
                  <a:lnTo>
                    <a:pt x="978" y="1146"/>
                  </a:lnTo>
                  <a:lnTo>
                    <a:pt x="972" y="1140"/>
                  </a:lnTo>
                  <a:lnTo>
                    <a:pt x="990" y="1122"/>
                  </a:lnTo>
                  <a:lnTo>
                    <a:pt x="990" y="1092"/>
                  </a:lnTo>
                  <a:lnTo>
                    <a:pt x="984" y="1080"/>
                  </a:lnTo>
                  <a:lnTo>
                    <a:pt x="978" y="1074"/>
                  </a:lnTo>
                  <a:lnTo>
                    <a:pt x="954" y="1062"/>
                  </a:lnTo>
                  <a:lnTo>
                    <a:pt x="918" y="1050"/>
                  </a:lnTo>
                  <a:lnTo>
                    <a:pt x="906" y="1044"/>
                  </a:lnTo>
                  <a:lnTo>
                    <a:pt x="888" y="1032"/>
                  </a:lnTo>
                  <a:lnTo>
                    <a:pt x="876" y="1020"/>
                  </a:lnTo>
                  <a:lnTo>
                    <a:pt x="876" y="1002"/>
                  </a:lnTo>
                  <a:lnTo>
                    <a:pt x="882" y="990"/>
                  </a:lnTo>
                  <a:lnTo>
                    <a:pt x="888" y="990"/>
                  </a:lnTo>
                  <a:lnTo>
                    <a:pt x="888" y="984"/>
                  </a:lnTo>
                  <a:lnTo>
                    <a:pt x="858" y="948"/>
                  </a:lnTo>
                  <a:lnTo>
                    <a:pt x="858" y="900"/>
                  </a:lnTo>
                  <a:lnTo>
                    <a:pt x="882" y="900"/>
                  </a:lnTo>
                  <a:lnTo>
                    <a:pt x="888" y="894"/>
                  </a:lnTo>
                  <a:lnTo>
                    <a:pt x="894" y="894"/>
                  </a:lnTo>
                  <a:lnTo>
                    <a:pt x="894" y="888"/>
                  </a:lnTo>
                  <a:lnTo>
                    <a:pt x="888" y="876"/>
                  </a:lnTo>
                  <a:lnTo>
                    <a:pt x="876" y="870"/>
                  </a:lnTo>
                  <a:lnTo>
                    <a:pt x="870" y="858"/>
                  </a:lnTo>
                  <a:lnTo>
                    <a:pt x="864" y="852"/>
                  </a:lnTo>
                  <a:lnTo>
                    <a:pt x="876" y="834"/>
                  </a:lnTo>
                  <a:lnTo>
                    <a:pt x="864" y="822"/>
                  </a:lnTo>
                  <a:lnTo>
                    <a:pt x="858" y="810"/>
                  </a:lnTo>
                  <a:lnTo>
                    <a:pt x="852" y="804"/>
                  </a:lnTo>
                  <a:lnTo>
                    <a:pt x="864" y="792"/>
                  </a:lnTo>
                  <a:lnTo>
                    <a:pt x="882" y="792"/>
                  </a:lnTo>
                  <a:lnTo>
                    <a:pt x="858" y="774"/>
                  </a:lnTo>
                  <a:lnTo>
                    <a:pt x="858" y="738"/>
                  </a:lnTo>
                  <a:lnTo>
                    <a:pt x="882" y="726"/>
                  </a:lnTo>
                  <a:lnTo>
                    <a:pt x="876" y="726"/>
                  </a:lnTo>
                  <a:lnTo>
                    <a:pt x="852" y="702"/>
                  </a:lnTo>
                  <a:lnTo>
                    <a:pt x="852" y="696"/>
                  </a:lnTo>
                  <a:lnTo>
                    <a:pt x="870" y="678"/>
                  </a:lnTo>
                  <a:lnTo>
                    <a:pt x="870" y="666"/>
                  </a:lnTo>
                  <a:lnTo>
                    <a:pt x="876" y="654"/>
                  </a:lnTo>
                  <a:lnTo>
                    <a:pt x="876" y="642"/>
                  </a:lnTo>
                  <a:lnTo>
                    <a:pt x="882" y="636"/>
                  </a:lnTo>
                  <a:lnTo>
                    <a:pt x="900" y="636"/>
                  </a:lnTo>
                  <a:lnTo>
                    <a:pt x="906" y="630"/>
                  </a:lnTo>
                  <a:lnTo>
                    <a:pt x="912" y="618"/>
                  </a:lnTo>
                  <a:lnTo>
                    <a:pt x="918" y="612"/>
                  </a:lnTo>
                  <a:lnTo>
                    <a:pt x="918" y="588"/>
                  </a:lnTo>
                  <a:lnTo>
                    <a:pt x="930" y="588"/>
                  </a:lnTo>
                  <a:lnTo>
                    <a:pt x="948" y="570"/>
                  </a:lnTo>
                  <a:lnTo>
                    <a:pt x="948" y="558"/>
                  </a:lnTo>
                  <a:lnTo>
                    <a:pt x="954" y="546"/>
                  </a:lnTo>
                  <a:lnTo>
                    <a:pt x="954" y="534"/>
                  </a:lnTo>
                  <a:close/>
                  <a:moveTo>
                    <a:pt x="930" y="1020"/>
                  </a:moveTo>
                  <a:lnTo>
                    <a:pt x="942" y="1020"/>
                  </a:lnTo>
                  <a:lnTo>
                    <a:pt x="930" y="1014"/>
                  </a:lnTo>
                  <a:lnTo>
                    <a:pt x="930" y="1020"/>
                  </a:lnTo>
                  <a:close/>
                </a:path>
              </a:pathLst>
            </a:custGeom>
            <a:solidFill>
              <a:srgbClr val="658B26"/>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209" name="Angola" descr="© INSCALE GmbH, 05.05.2010&#10;http://www.presentationload.com/"/>
            <p:cNvSpPr>
              <a:spLocks noEditPoints="1"/>
            </p:cNvSpPr>
            <p:nvPr/>
          </p:nvSpPr>
          <p:spPr bwMode="gray">
            <a:xfrm>
              <a:off x="4546603" y="4216399"/>
              <a:ext cx="357188" cy="446088"/>
            </a:xfrm>
            <a:custGeom>
              <a:avLst/>
              <a:gdLst>
                <a:gd name="T0" fmla="*/ 2147483647 w 888"/>
                <a:gd name="T1" fmla="*/ 2147483647 h 1104"/>
                <a:gd name="T2" fmla="*/ 2147483647 w 888"/>
                <a:gd name="T3" fmla="*/ 2147483647 h 1104"/>
                <a:gd name="T4" fmla="*/ 2147483647 w 888"/>
                <a:gd name="T5" fmla="*/ 2147483647 h 1104"/>
                <a:gd name="T6" fmla="*/ 2147483647 w 888"/>
                <a:gd name="T7" fmla="*/ 0 h 1104"/>
                <a:gd name="T8" fmla="*/ 2147483647 w 888"/>
                <a:gd name="T9" fmla="*/ 2147483647 h 1104"/>
                <a:gd name="T10" fmla="*/ 2147483647 w 888"/>
                <a:gd name="T11" fmla="*/ 2147483647 h 1104"/>
                <a:gd name="T12" fmla="*/ 2147483647 w 888"/>
                <a:gd name="T13" fmla="*/ 2147483647 h 1104"/>
                <a:gd name="T14" fmla="*/ 2147483647 w 888"/>
                <a:gd name="T15" fmla="*/ 2147483647 h 1104"/>
                <a:gd name="T16" fmla="*/ 2147483647 w 888"/>
                <a:gd name="T17" fmla="*/ 2147483647 h 1104"/>
                <a:gd name="T18" fmla="*/ 2147483647 w 888"/>
                <a:gd name="T19" fmla="*/ 2147483647 h 1104"/>
                <a:gd name="T20" fmla="*/ 2147483647 w 888"/>
                <a:gd name="T21" fmla="*/ 2147483647 h 1104"/>
                <a:gd name="T22" fmla="*/ 2147483647 w 888"/>
                <a:gd name="T23" fmla="*/ 2147483647 h 1104"/>
                <a:gd name="T24" fmla="*/ 2147483647 w 888"/>
                <a:gd name="T25" fmla="*/ 2147483647 h 1104"/>
                <a:gd name="T26" fmla="*/ 2147483647 w 888"/>
                <a:gd name="T27" fmla="*/ 2147483647 h 1104"/>
                <a:gd name="T28" fmla="*/ 2147483647 w 888"/>
                <a:gd name="T29" fmla="*/ 2147483647 h 1104"/>
                <a:gd name="T30" fmla="*/ 2147483647 w 888"/>
                <a:gd name="T31" fmla="*/ 2147483647 h 1104"/>
                <a:gd name="T32" fmla="*/ 2147483647 w 888"/>
                <a:gd name="T33" fmla="*/ 2147483647 h 1104"/>
                <a:gd name="T34" fmla="*/ 2147483647 w 888"/>
                <a:gd name="T35" fmla="*/ 2147483647 h 1104"/>
                <a:gd name="T36" fmla="*/ 2147483647 w 888"/>
                <a:gd name="T37" fmla="*/ 2147483647 h 1104"/>
                <a:gd name="T38" fmla="*/ 2147483647 w 888"/>
                <a:gd name="T39" fmla="*/ 2147483647 h 1104"/>
                <a:gd name="T40" fmla="*/ 2147483647 w 888"/>
                <a:gd name="T41" fmla="*/ 2147483647 h 1104"/>
                <a:gd name="T42" fmla="*/ 2147483647 w 888"/>
                <a:gd name="T43" fmla="*/ 2147483647 h 1104"/>
                <a:gd name="T44" fmla="*/ 2147483647 w 888"/>
                <a:gd name="T45" fmla="*/ 2147483647 h 1104"/>
                <a:gd name="T46" fmla="*/ 2147483647 w 888"/>
                <a:gd name="T47" fmla="*/ 2147483647 h 1104"/>
                <a:gd name="T48" fmla="*/ 2147483647 w 888"/>
                <a:gd name="T49" fmla="*/ 2147483647 h 1104"/>
                <a:gd name="T50" fmla="*/ 2147483647 w 888"/>
                <a:gd name="T51" fmla="*/ 2147483647 h 1104"/>
                <a:gd name="T52" fmla="*/ 2147483647 w 888"/>
                <a:gd name="T53" fmla="*/ 2147483647 h 1104"/>
                <a:gd name="T54" fmla="*/ 2147483647 w 888"/>
                <a:gd name="T55" fmla="*/ 2147483647 h 1104"/>
                <a:gd name="T56" fmla="*/ 2147483647 w 888"/>
                <a:gd name="T57" fmla="*/ 2147483647 h 1104"/>
                <a:gd name="T58" fmla="*/ 2147483647 w 888"/>
                <a:gd name="T59" fmla="*/ 2147483647 h 1104"/>
                <a:gd name="T60" fmla="*/ 2147483647 w 888"/>
                <a:gd name="T61" fmla="*/ 2147483647 h 1104"/>
                <a:gd name="T62" fmla="*/ 2147483647 w 888"/>
                <a:gd name="T63" fmla="*/ 2147483647 h 1104"/>
                <a:gd name="T64" fmla="*/ 2147483647 w 888"/>
                <a:gd name="T65" fmla="*/ 2147483647 h 1104"/>
                <a:gd name="T66" fmla="*/ 2147483647 w 888"/>
                <a:gd name="T67" fmla="*/ 2147483647 h 1104"/>
                <a:gd name="T68" fmla="*/ 2147483647 w 888"/>
                <a:gd name="T69" fmla="*/ 2147483647 h 1104"/>
                <a:gd name="T70" fmla="*/ 2147483647 w 888"/>
                <a:gd name="T71" fmla="*/ 2147483647 h 1104"/>
                <a:gd name="T72" fmla="*/ 2147483647 w 888"/>
                <a:gd name="T73" fmla="*/ 2147483647 h 1104"/>
                <a:gd name="T74" fmla="*/ 0 w 888"/>
                <a:gd name="T75" fmla="*/ 2147483647 h 1104"/>
                <a:gd name="T76" fmla="*/ 2147483647 w 888"/>
                <a:gd name="T77" fmla="*/ 2147483647 h 1104"/>
                <a:gd name="T78" fmla="*/ 2147483647 w 888"/>
                <a:gd name="T79" fmla="*/ 2147483647 h 1104"/>
                <a:gd name="T80" fmla="*/ 2147483647 w 888"/>
                <a:gd name="T81" fmla="*/ 2147483647 h 1104"/>
                <a:gd name="T82" fmla="*/ 2147483647 w 888"/>
                <a:gd name="T83" fmla="*/ 2147483647 h 1104"/>
                <a:gd name="T84" fmla="*/ 2147483647 w 888"/>
                <a:gd name="T85" fmla="*/ 2147483647 h 1104"/>
                <a:gd name="T86" fmla="*/ 2147483647 w 888"/>
                <a:gd name="T87" fmla="*/ 2147483647 h 1104"/>
                <a:gd name="T88" fmla="*/ 2147483647 w 888"/>
                <a:gd name="T89" fmla="*/ 2147483647 h 1104"/>
                <a:gd name="T90" fmla="*/ 2147483647 w 888"/>
                <a:gd name="T91" fmla="*/ 2147483647 h 1104"/>
                <a:gd name="T92" fmla="*/ 2147483647 w 888"/>
                <a:gd name="T93" fmla="*/ 2147483647 h 1104"/>
                <a:gd name="T94" fmla="*/ 2147483647 w 888"/>
                <a:gd name="T95" fmla="*/ 2147483647 h 11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88"/>
                <a:gd name="T145" fmla="*/ 0 h 1104"/>
                <a:gd name="T146" fmla="*/ 888 w 888"/>
                <a:gd name="T147" fmla="*/ 1104 h 110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88" h="1104">
                  <a:moveTo>
                    <a:pt x="42" y="114"/>
                  </a:moveTo>
                  <a:lnTo>
                    <a:pt x="42" y="120"/>
                  </a:lnTo>
                  <a:lnTo>
                    <a:pt x="48" y="120"/>
                  </a:lnTo>
                  <a:lnTo>
                    <a:pt x="54" y="114"/>
                  </a:lnTo>
                  <a:lnTo>
                    <a:pt x="66" y="108"/>
                  </a:lnTo>
                  <a:lnTo>
                    <a:pt x="72" y="102"/>
                  </a:lnTo>
                  <a:lnTo>
                    <a:pt x="72" y="96"/>
                  </a:lnTo>
                  <a:lnTo>
                    <a:pt x="66" y="84"/>
                  </a:lnTo>
                  <a:lnTo>
                    <a:pt x="66" y="78"/>
                  </a:lnTo>
                  <a:lnTo>
                    <a:pt x="60" y="66"/>
                  </a:lnTo>
                  <a:lnTo>
                    <a:pt x="96" y="36"/>
                  </a:lnTo>
                  <a:lnTo>
                    <a:pt x="102" y="24"/>
                  </a:lnTo>
                  <a:lnTo>
                    <a:pt x="102" y="18"/>
                  </a:lnTo>
                  <a:lnTo>
                    <a:pt x="96" y="12"/>
                  </a:lnTo>
                  <a:lnTo>
                    <a:pt x="96" y="6"/>
                  </a:lnTo>
                  <a:lnTo>
                    <a:pt x="90" y="0"/>
                  </a:lnTo>
                  <a:lnTo>
                    <a:pt x="84" y="6"/>
                  </a:lnTo>
                  <a:lnTo>
                    <a:pt x="72" y="12"/>
                  </a:lnTo>
                  <a:lnTo>
                    <a:pt x="66" y="18"/>
                  </a:lnTo>
                  <a:lnTo>
                    <a:pt x="54" y="24"/>
                  </a:lnTo>
                  <a:lnTo>
                    <a:pt x="54" y="42"/>
                  </a:lnTo>
                  <a:lnTo>
                    <a:pt x="36" y="42"/>
                  </a:lnTo>
                  <a:lnTo>
                    <a:pt x="36" y="60"/>
                  </a:lnTo>
                  <a:lnTo>
                    <a:pt x="42" y="114"/>
                  </a:lnTo>
                  <a:close/>
                  <a:moveTo>
                    <a:pt x="876" y="546"/>
                  </a:moveTo>
                  <a:lnTo>
                    <a:pt x="852" y="546"/>
                  </a:lnTo>
                  <a:lnTo>
                    <a:pt x="840" y="534"/>
                  </a:lnTo>
                  <a:lnTo>
                    <a:pt x="828" y="534"/>
                  </a:lnTo>
                  <a:lnTo>
                    <a:pt x="828" y="546"/>
                  </a:lnTo>
                  <a:lnTo>
                    <a:pt x="804" y="552"/>
                  </a:lnTo>
                  <a:lnTo>
                    <a:pt x="774" y="546"/>
                  </a:lnTo>
                  <a:lnTo>
                    <a:pt x="768" y="564"/>
                  </a:lnTo>
                  <a:lnTo>
                    <a:pt x="762" y="558"/>
                  </a:lnTo>
                  <a:lnTo>
                    <a:pt x="756" y="558"/>
                  </a:lnTo>
                  <a:lnTo>
                    <a:pt x="750" y="552"/>
                  </a:lnTo>
                  <a:lnTo>
                    <a:pt x="750" y="528"/>
                  </a:lnTo>
                  <a:lnTo>
                    <a:pt x="756" y="522"/>
                  </a:lnTo>
                  <a:lnTo>
                    <a:pt x="756" y="510"/>
                  </a:lnTo>
                  <a:lnTo>
                    <a:pt x="762" y="498"/>
                  </a:lnTo>
                  <a:lnTo>
                    <a:pt x="762" y="480"/>
                  </a:lnTo>
                  <a:lnTo>
                    <a:pt x="756" y="474"/>
                  </a:lnTo>
                  <a:lnTo>
                    <a:pt x="744" y="450"/>
                  </a:lnTo>
                  <a:lnTo>
                    <a:pt x="732" y="432"/>
                  </a:lnTo>
                  <a:lnTo>
                    <a:pt x="726" y="414"/>
                  </a:lnTo>
                  <a:lnTo>
                    <a:pt x="726" y="402"/>
                  </a:lnTo>
                  <a:lnTo>
                    <a:pt x="732" y="396"/>
                  </a:lnTo>
                  <a:lnTo>
                    <a:pt x="732" y="384"/>
                  </a:lnTo>
                  <a:lnTo>
                    <a:pt x="726" y="360"/>
                  </a:lnTo>
                  <a:lnTo>
                    <a:pt x="732" y="354"/>
                  </a:lnTo>
                  <a:lnTo>
                    <a:pt x="738" y="342"/>
                  </a:lnTo>
                  <a:lnTo>
                    <a:pt x="738" y="330"/>
                  </a:lnTo>
                  <a:lnTo>
                    <a:pt x="732" y="318"/>
                  </a:lnTo>
                  <a:lnTo>
                    <a:pt x="720" y="306"/>
                  </a:lnTo>
                  <a:lnTo>
                    <a:pt x="714" y="288"/>
                  </a:lnTo>
                  <a:lnTo>
                    <a:pt x="726" y="270"/>
                  </a:lnTo>
                  <a:lnTo>
                    <a:pt x="726" y="246"/>
                  </a:lnTo>
                  <a:lnTo>
                    <a:pt x="636" y="246"/>
                  </a:lnTo>
                  <a:lnTo>
                    <a:pt x="636" y="222"/>
                  </a:lnTo>
                  <a:lnTo>
                    <a:pt x="624" y="216"/>
                  </a:lnTo>
                  <a:lnTo>
                    <a:pt x="612" y="216"/>
                  </a:lnTo>
                  <a:lnTo>
                    <a:pt x="612" y="222"/>
                  </a:lnTo>
                  <a:lnTo>
                    <a:pt x="564" y="222"/>
                  </a:lnTo>
                  <a:lnTo>
                    <a:pt x="558" y="228"/>
                  </a:lnTo>
                  <a:lnTo>
                    <a:pt x="558" y="234"/>
                  </a:lnTo>
                  <a:lnTo>
                    <a:pt x="564" y="240"/>
                  </a:lnTo>
                  <a:lnTo>
                    <a:pt x="570" y="252"/>
                  </a:lnTo>
                  <a:lnTo>
                    <a:pt x="570" y="264"/>
                  </a:lnTo>
                  <a:lnTo>
                    <a:pt x="558" y="264"/>
                  </a:lnTo>
                  <a:lnTo>
                    <a:pt x="558" y="270"/>
                  </a:lnTo>
                  <a:lnTo>
                    <a:pt x="552" y="276"/>
                  </a:lnTo>
                  <a:lnTo>
                    <a:pt x="552" y="294"/>
                  </a:lnTo>
                  <a:lnTo>
                    <a:pt x="510" y="300"/>
                  </a:lnTo>
                  <a:lnTo>
                    <a:pt x="504" y="294"/>
                  </a:lnTo>
                  <a:lnTo>
                    <a:pt x="492" y="300"/>
                  </a:lnTo>
                  <a:lnTo>
                    <a:pt x="468" y="300"/>
                  </a:lnTo>
                  <a:lnTo>
                    <a:pt x="462" y="312"/>
                  </a:lnTo>
                  <a:lnTo>
                    <a:pt x="450" y="306"/>
                  </a:lnTo>
                  <a:lnTo>
                    <a:pt x="420" y="306"/>
                  </a:lnTo>
                  <a:lnTo>
                    <a:pt x="408" y="282"/>
                  </a:lnTo>
                  <a:lnTo>
                    <a:pt x="402" y="276"/>
                  </a:lnTo>
                  <a:lnTo>
                    <a:pt x="402" y="264"/>
                  </a:lnTo>
                  <a:lnTo>
                    <a:pt x="390" y="252"/>
                  </a:lnTo>
                  <a:lnTo>
                    <a:pt x="384" y="252"/>
                  </a:lnTo>
                  <a:lnTo>
                    <a:pt x="378" y="246"/>
                  </a:lnTo>
                  <a:lnTo>
                    <a:pt x="378" y="240"/>
                  </a:lnTo>
                  <a:lnTo>
                    <a:pt x="384" y="234"/>
                  </a:lnTo>
                  <a:lnTo>
                    <a:pt x="384" y="210"/>
                  </a:lnTo>
                  <a:lnTo>
                    <a:pt x="366" y="192"/>
                  </a:lnTo>
                  <a:lnTo>
                    <a:pt x="366" y="150"/>
                  </a:lnTo>
                  <a:lnTo>
                    <a:pt x="354" y="138"/>
                  </a:lnTo>
                  <a:lnTo>
                    <a:pt x="348" y="126"/>
                  </a:lnTo>
                  <a:lnTo>
                    <a:pt x="342" y="120"/>
                  </a:lnTo>
                  <a:lnTo>
                    <a:pt x="324" y="120"/>
                  </a:lnTo>
                  <a:lnTo>
                    <a:pt x="318" y="126"/>
                  </a:lnTo>
                  <a:lnTo>
                    <a:pt x="294" y="126"/>
                  </a:lnTo>
                  <a:lnTo>
                    <a:pt x="276" y="132"/>
                  </a:lnTo>
                  <a:lnTo>
                    <a:pt x="246" y="132"/>
                  </a:lnTo>
                  <a:lnTo>
                    <a:pt x="234" y="126"/>
                  </a:lnTo>
                  <a:lnTo>
                    <a:pt x="222" y="126"/>
                  </a:lnTo>
                  <a:lnTo>
                    <a:pt x="210" y="132"/>
                  </a:lnTo>
                  <a:lnTo>
                    <a:pt x="180" y="132"/>
                  </a:lnTo>
                  <a:lnTo>
                    <a:pt x="168" y="126"/>
                  </a:lnTo>
                  <a:lnTo>
                    <a:pt x="144" y="132"/>
                  </a:lnTo>
                  <a:lnTo>
                    <a:pt x="132" y="126"/>
                  </a:lnTo>
                  <a:lnTo>
                    <a:pt x="126" y="132"/>
                  </a:lnTo>
                  <a:lnTo>
                    <a:pt x="102" y="126"/>
                  </a:lnTo>
                  <a:lnTo>
                    <a:pt x="54" y="150"/>
                  </a:lnTo>
                  <a:lnTo>
                    <a:pt x="48" y="156"/>
                  </a:lnTo>
                  <a:lnTo>
                    <a:pt x="54" y="168"/>
                  </a:lnTo>
                  <a:lnTo>
                    <a:pt x="60" y="174"/>
                  </a:lnTo>
                  <a:lnTo>
                    <a:pt x="66" y="186"/>
                  </a:lnTo>
                  <a:lnTo>
                    <a:pt x="90" y="210"/>
                  </a:lnTo>
                  <a:lnTo>
                    <a:pt x="84" y="234"/>
                  </a:lnTo>
                  <a:lnTo>
                    <a:pt x="90" y="246"/>
                  </a:lnTo>
                  <a:lnTo>
                    <a:pt x="108" y="270"/>
                  </a:lnTo>
                  <a:lnTo>
                    <a:pt x="120" y="300"/>
                  </a:lnTo>
                  <a:lnTo>
                    <a:pt x="126" y="330"/>
                  </a:lnTo>
                  <a:lnTo>
                    <a:pt x="120" y="354"/>
                  </a:lnTo>
                  <a:lnTo>
                    <a:pt x="108" y="378"/>
                  </a:lnTo>
                  <a:lnTo>
                    <a:pt x="102" y="384"/>
                  </a:lnTo>
                  <a:lnTo>
                    <a:pt x="102" y="408"/>
                  </a:lnTo>
                  <a:lnTo>
                    <a:pt x="114" y="408"/>
                  </a:lnTo>
                  <a:lnTo>
                    <a:pt x="114" y="438"/>
                  </a:lnTo>
                  <a:lnTo>
                    <a:pt x="126" y="474"/>
                  </a:lnTo>
                  <a:lnTo>
                    <a:pt x="150" y="510"/>
                  </a:lnTo>
                  <a:lnTo>
                    <a:pt x="162" y="552"/>
                  </a:lnTo>
                  <a:lnTo>
                    <a:pt x="162" y="582"/>
                  </a:lnTo>
                  <a:lnTo>
                    <a:pt x="156" y="594"/>
                  </a:lnTo>
                  <a:lnTo>
                    <a:pt x="150" y="612"/>
                  </a:lnTo>
                  <a:lnTo>
                    <a:pt x="144" y="618"/>
                  </a:lnTo>
                  <a:lnTo>
                    <a:pt x="138" y="630"/>
                  </a:lnTo>
                  <a:lnTo>
                    <a:pt x="144" y="642"/>
                  </a:lnTo>
                  <a:lnTo>
                    <a:pt x="144" y="660"/>
                  </a:lnTo>
                  <a:lnTo>
                    <a:pt x="138" y="666"/>
                  </a:lnTo>
                  <a:lnTo>
                    <a:pt x="126" y="672"/>
                  </a:lnTo>
                  <a:lnTo>
                    <a:pt x="108" y="672"/>
                  </a:lnTo>
                  <a:lnTo>
                    <a:pt x="96" y="690"/>
                  </a:lnTo>
                  <a:lnTo>
                    <a:pt x="102" y="714"/>
                  </a:lnTo>
                  <a:lnTo>
                    <a:pt x="78" y="714"/>
                  </a:lnTo>
                  <a:lnTo>
                    <a:pt x="66" y="720"/>
                  </a:lnTo>
                  <a:lnTo>
                    <a:pt x="66" y="750"/>
                  </a:lnTo>
                  <a:lnTo>
                    <a:pt x="60" y="762"/>
                  </a:lnTo>
                  <a:lnTo>
                    <a:pt x="60" y="774"/>
                  </a:lnTo>
                  <a:lnTo>
                    <a:pt x="48" y="786"/>
                  </a:lnTo>
                  <a:lnTo>
                    <a:pt x="48" y="858"/>
                  </a:lnTo>
                  <a:lnTo>
                    <a:pt x="36" y="864"/>
                  </a:lnTo>
                  <a:lnTo>
                    <a:pt x="30" y="870"/>
                  </a:lnTo>
                  <a:lnTo>
                    <a:pt x="30" y="912"/>
                  </a:lnTo>
                  <a:lnTo>
                    <a:pt x="6" y="930"/>
                  </a:lnTo>
                  <a:lnTo>
                    <a:pt x="6" y="966"/>
                  </a:lnTo>
                  <a:lnTo>
                    <a:pt x="18" y="984"/>
                  </a:lnTo>
                  <a:lnTo>
                    <a:pt x="0" y="1002"/>
                  </a:lnTo>
                  <a:lnTo>
                    <a:pt x="0" y="1044"/>
                  </a:lnTo>
                  <a:lnTo>
                    <a:pt x="18" y="1044"/>
                  </a:lnTo>
                  <a:lnTo>
                    <a:pt x="36" y="1038"/>
                  </a:lnTo>
                  <a:lnTo>
                    <a:pt x="42" y="1044"/>
                  </a:lnTo>
                  <a:lnTo>
                    <a:pt x="72" y="1044"/>
                  </a:lnTo>
                  <a:lnTo>
                    <a:pt x="90" y="1026"/>
                  </a:lnTo>
                  <a:lnTo>
                    <a:pt x="90" y="1020"/>
                  </a:lnTo>
                  <a:lnTo>
                    <a:pt x="120" y="1020"/>
                  </a:lnTo>
                  <a:lnTo>
                    <a:pt x="126" y="1026"/>
                  </a:lnTo>
                  <a:lnTo>
                    <a:pt x="132" y="1038"/>
                  </a:lnTo>
                  <a:lnTo>
                    <a:pt x="156" y="1050"/>
                  </a:lnTo>
                  <a:lnTo>
                    <a:pt x="168" y="1050"/>
                  </a:lnTo>
                  <a:lnTo>
                    <a:pt x="174" y="1056"/>
                  </a:lnTo>
                  <a:lnTo>
                    <a:pt x="480" y="1056"/>
                  </a:lnTo>
                  <a:lnTo>
                    <a:pt x="480" y="1062"/>
                  </a:lnTo>
                  <a:lnTo>
                    <a:pt x="504" y="1086"/>
                  </a:lnTo>
                  <a:lnTo>
                    <a:pt x="540" y="1086"/>
                  </a:lnTo>
                  <a:lnTo>
                    <a:pt x="546" y="1098"/>
                  </a:lnTo>
                  <a:lnTo>
                    <a:pt x="618" y="1092"/>
                  </a:lnTo>
                  <a:lnTo>
                    <a:pt x="624" y="1104"/>
                  </a:lnTo>
                  <a:lnTo>
                    <a:pt x="696" y="1104"/>
                  </a:lnTo>
                  <a:lnTo>
                    <a:pt x="732" y="1098"/>
                  </a:lnTo>
                  <a:lnTo>
                    <a:pt x="780" y="1092"/>
                  </a:lnTo>
                  <a:lnTo>
                    <a:pt x="816" y="1080"/>
                  </a:lnTo>
                  <a:lnTo>
                    <a:pt x="828" y="1074"/>
                  </a:lnTo>
                  <a:lnTo>
                    <a:pt x="738" y="984"/>
                  </a:lnTo>
                  <a:lnTo>
                    <a:pt x="738" y="966"/>
                  </a:lnTo>
                  <a:lnTo>
                    <a:pt x="732" y="954"/>
                  </a:lnTo>
                  <a:lnTo>
                    <a:pt x="732" y="702"/>
                  </a:lnTo>
                  <a:lnTo>
                    <a:pt x="858" y="708"/>
                  </a:lnTo>
                  <a:lnTo>
                    <a:pt x="864" y="708"/>
                  </a:lnTo>
                  <a:lnTo>
                    <a:pt x="876" y="696"/>
                  </a:lnTo>
                  <a:lnTo>
                    <a:pt x="876" y="672"/>
                  </a:lnTo>
                  <a:lnTo>
                    <a:pt x="870" y="666"/>
                  </a:lnTo>
                  <a:lnTo>
                    <a:pt x="870" y="660"/>
                  </a:lnTo>
                  <a:lnTo>
                    <a:pt x="888" y="654"/>
                  </a:lnTo>
                  <a:lnTo>
                    <a:pt x="876" y="642"/>
                  </a:lnTo>
                  <a:lnTo>
                    <a:pt x="876" y="588"/>
                  </a:lnTo>
                  <a:lnTo>
                    <a:pt x="882" y="588"/>
                  </a:lnTo>
                  <a:lnTo>
                    <a:pt x="888" y="582"/>
                  </a:lnTo>
                  <a:lnTo>
                    <a:pt x="888" y="564"/>
                  </a:lnTo>
                  <a:lnTo>
                    <a:pt x="876" y="552"/>
                  </a:lnTo>
                  <a:lnTo>
                    <a:pt x="876" y="546"/>
                  </a:lnTo>
                  <a:close/>
                </a:path>
              </a:pathLst>
            </a:custGeom>
            <a:solidFill>
              <a:srgbClr val="692864"/>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210" name="Andorra" descr="© INSCALE GmbH, 05.05.2010&#10;http://www.presentationload.com/"/>
            <p:cNvSpPr>
              <a:spLocks/>
            </p:cNvSpPr>
            <p:nvPr/>
          </p:nvSpPr>
          <p:spPr bwMode="gray">
            <a:xfrm>
              <a:off x="4276729" y="2697161"/>
              <a:ext cx="12700" cy="6350"/>
            </a:xfrm>
            <a:custGeom>
              <a:avLst/>
              <a:gdLst>
                <a:gd name="T0" fmla="*/ 2147483647 w 30"/>
                <a:gd name="T1" fmla="*/ 2147483647 h 18"/>
                <a:gd name="T2" fmla="*/ 2147483647 w 30"/>
                <a:gd name="T3" fmla="*/ 2147483647 h 18"/>
                <a:gd name="T4" fmla="*/ 2147483647 w 30"/>
                <a:gd name="T5" fmla="*/ 2147483647 h 18"/>
                <a:gd name="T6" fmla="*/ 2147483647 w 30"/>
                <a:gd name="T7" fmla="*/ 0 h 18"/>
                <a:gd name="T8" fmla="*/ 0 w 30"/>
                <a:gd name="T9" fmla="*/ 0 h 18"/>
                <a:gd name="T10" fmla="*/ 2147483647 w 30"/>
                <a:gd name="T11" fmla="*/ 2147483647 h 18"/>
                <a:gd name="T12" fmla="*/ 0 60000 65536"/>
                <a:gd name="T13" fmla="*/ 0 60000 65536"/>
                <a:gd name="T14" fmla="*/ 0 60000 65536"/>
                <a:gd name="T15" fmla="*/ 0 60000 65536"/>
                <a:gd name="T16" fmla="*/ 0 60000 65536"/>
                <a:gd name="T17" fmla="*/ 0 60000 65536"/>
                <a:gd name="T18" fmla="*/ 0 w 30"/>
                <a:gd name="T19" fmla="*/ 0 h 18"/>
                <a:gd name="T20" fmla="*/ 30 w 3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0" h="18">
                  <a:moveTo>
                    <a:pt x="6" y="18"/>
                  </a:moveTo>
                  <a:lnTo>
                    <a:pt x="18" y="12"/>
                  </a:lnTo>
                  <a:lnTo>
                    <a:pt x="30" y="12"/>
                  </a:lnTo>
                  <a:lnTo>
                    <a:pt x="30" y="0"/>
                  </a:lnTo>
                  <a:lnTo>
                    <a:pt x="0" y="0"/>
                  </a:lnTo>
                  <a:lnTo>
                    <a:pt x="6" y="18"/>
                  </a:lnTo>
                  <a:close/>
                </a:path>
              </a:pathLst>
            </a:custGeom>
            <a:grp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211" name="Algeria" descr="© INSCALE GmbH, 05.05.2010&#10;http://www.presentationload.com/"/>
            <p:cNvSpPr>
              <a:spLocks/>
            </p:cNvSpPr>
            <p:nvPr/>
          </p:nvSpPr>
          <p:spPr bwMode="gray">
            <a:xfrm>
              <a:off x="3960816" y="2873376"/>
              <a:ext cx="595312" cy="587375"/>
            </a:xfrm>
            <a:custGeom>
              <a:avLst/>
              <a:gdLst>
                <a:gd name="T0" fmla="*/ 2147483647 w 1476"/>
                <a:gd name="T1" fmla="*/ 2147483647 h 1464"/>
                <a:gd name="T2" fmla="*/ 2147483647 w 1476"/>
                <a:gd name="T3" fmla="*/ 2147483647 h 1464"/>
                <a:gd name="T4" fmla="*/ 2147483647 w 1476"/>
                <a:gd name="T5" fmla="*/ 2147483647 h 1464"/>
                <a:gd name="T6" fmla="*/ 2147483647 w 1476"/>
                <a:gd name="T7" fmla="*/ 2147483647 h 1464"/>
                <a:gd name="T8" fmla="*/ 2147483647 w 1476"/>
                <a:gd name="T9" fmla="*/ 2147483647 h 1464"/>
                <a:gd name="T10" fmla="*/ 2147483647 w 1476"/>
                <a:gd name="T11" fmla="*/ 2147483647 h 1464"/>
                <a:gd name="T12" fmla="*/ 2147483647 w 1476"/>
                <a:gd name="T13" fmla="*/ 2147483647 h 1464"/>
                <a:gd name="T14" fmla="*/ 2147483647 w 1476"/>
                <a:gd name="T15" fmla="*/ 2147483647 h 1464"/>
                <a:gd name="T16" fmla="*/ 2147483647 w 1476"/>
                <a:gd name="T17" fmla="*/ 2147483647 h 1464"/>
                <a:gd name="T18" fmla="*/ 2147483647 w 1476"/>
                <a:gd name="T19" fmla="*/ 2147483647 h 1464"/>
                <a:gd name="T20" fmla="*/ 2147483647 w 1476"/>
                <a:gd name="T21" fmla="*/ 2147483647 h 1464"/>
                <a:gd name="T22" fmla="*/ 2147483647 w 1476"/>
                <a:gd name="T23" fmla="*/ 2147483647 h 1464"/>
                <a:gd name="T24" fmla="*/ 2147483647 w 1476"/>
                <a:gd name="T25" fmla="*/ 2147483647 h 1464"/>
                <a:gd name="T26" fmla="*/ 2147483647 w 1476"/>
                <a:gd name="T27" fmla="*/ 2147483647 h 1464"/>
                <a:gd name="T28" fmla="*/ 2147483647 w 1476"/>
                <a:gd name="T29" fmla="*/ 2147483647 h 1464"/>
                <a:gd name="T30" fmla="*/ 2147483647 w 1476"/>
                <a:gd name="T31" fmla="*/ 2147483647 h 1464"/>
                <a:gd name="T32" fmla="*/ 2147483647 w 1476"/>
                <a:gd name="T33" fmla="*/ 2147483647 h 1464"/>
                <a:gd name="T34" fmla="*/ 2147483647 w 1476"/>
                <a:gd name="T35" fmla="*/ 2147483647 h 1464"/>
                <a:gd name="T36" fmla="*/ 2147483647 w 1476"/>
                <a:gd name="T37" fmla="*/ 2147483647 h 1464"/>
                <a:gd name="T38" fmla="*/ 2147483647 w 1476"/>
                <a:gd name="T39" fmla="*/ 2147483647 h 1464"/>
                <a:gd name="T40" fmla="*/ 2147483647 w 1476"/>
                <a:gd name="T41" fmla="*/ 2147483647 h 1464"/>
                <a:gd name="T42" fmla="*/ 2147483647 w 1476"/>
                <a:gd name="T43" fmla="*/ 2147483647 h 1464"/>
                <a:gd name="T44" fmla="*/ 2147483647 w 1476"/>
                <a:gd name="T45" fmla="*/ 2147483647 h 1464"/>
                <a:gd name="T46" fmla="*/ 2147483647 w 1476"/>
                <a:gd name="T47" fmla="*/ 2147483647 h 1464"/>
                <a:gd name="T48" fmla="*/ 2147483647 w 1476"/>
                <a:gd name="T49" fmla="*/ 2147483647 h 1464"/>
                <a:gd name="T50" fmla="*/ 2147483647 w 1476"/>
                <a:gd name="T51" fmla="*/ 2147483647 h 1464"/>
                <a:gd name="T52" fmla="*/ 2147483647 w 1476"/>
                <a:gd name="T53" fmla="*/ 2147483647 h 1464"/>
                <a:gd name="T54" fmla="*/ 2147483647 w 1476"/>
                <a:gd name="T55" fmla="*/ 2147483647 h 1464"/>
                <a:gd name="T56" fmla="*/ 2147483647 w 1476"/>
                <a:gd name="T57" fmla="*/ 2147483647 h 1464"/>
                <a:gd name="T58" fmla="*/ 2147483647 w 1476"/>
                <a:gd name="T59" fmla="*/ 2147483647 h 1464"/>
                <a:gd name="T60" fmla="*/ 2147483647 w 1476"/>
                <a:gd name="T61" fmla="*/ 2147483647 h 1464"/>
                <a:gd name="T62" fmla="*/ 2147483647 w 1476"/>
                <a:gd name="T63" fmla="*/ 2147483647 h 1464"/>
                <a:gd name="T64" fmla="*/ 2147483647 w 1476"/>
                <a:gd name="T65" fmla="*/ 2147483647 h 1464"/>
                <a:gd name="T66" fmla="*/ 2147483647 w 1476"/>
                <a:gd name="T67" fmla="*/ 2147483647 h 1464"/>
                <a:gd name="T68" fmla="*/ 2147483647 w 1476"/>
                <a:gd name="T69" fmla="*/ 2147483647 h 1464"/>
                <a:gd name="T70" fmla="*/ 2147483647 w 1476"/>
                <a:gd name="T71" fmla="*/ 2147483647 h 1464"/>
                <a:gd name="T72" fmla="*/ 2147483647 w 1476"/>
                <a:gd name="T73" fmla="*/ 2147483647 h 1464"/>
                <a:gd name="T74" fmla="*/ 2147483647 w 1476"/>
                <a:gd name="T75" fmla="*/ 2147483647 h 1464"/>
                <a:gd name="T76" fmla="*/ 2147483647 w 1476"/>
                <a:gd name="T77" fmla="*/ 2147483647 h 1464"/>
                <a:gd name="T78" fmla="*/ 2147483647 w 1476"/>
                <a:gd name="T79" fmla="*/ 2147483647 h 1464"/>
                <a:gd name="T80" fmla="*/ 2147483647 w 1476"/>
                <a:gd name="T81" fmla="*/ 2147483647 h 1464"/>
                <a:gd name="T82" fmla="*/ 2147483647 w 1476"/>
                <a:gd name="T83" fmla="*/ 2147483647 h 1464"/>
                <a:gd name="T84" fmla="*/ 2147483647 w 1476"/>
                <a:gd name="T85" fmla="*/ 2147483647 h 1464"/>
                <a:gd name="T86" fmla="*/ 2147483647 w 1476"/>
                <a:gd name="T87" fmla="*/ 2147483647 h 1464"/>
                <a:gd name="T88" fmla="*/ 2147483647 w 1476"/>
                <a:gd name="T89" fmla="*/ 2147483647 h 1464"/>
                <a:gd name="T90" fmla="*/ 2147483647 w 1476"/>
                <a:gd name="T91" fmla="*/ 2147483647 h 1464"/>
                <a:gd name="T92" fmla="*/ 2147483647 w 1476"/>
                <a:gd name="T93" fmla="*/ 2147483647 h 1464"/>
                <a:gd name="T94" fmla="*/ 2147483647 w 1476"/>
                <a:gd name="T95" fmla="*/ 2147483647 h 1464"/>
                <a:gd name="T96" fmla="*/ 2147483647 w 1476"/>
                <a:gd name="T97" fmla="*/ 2147483647 h 1464"/>
                <a:gd name="T98" fmla="*/ 2147483647 w 1476"/>
                <a:gd name="T99" fmla="*/ 2147483647 h 1464"/>
                <a:gd name="T100" fmla="*/ 2147483647 w 1476"/>
                <a:gd name="T101" fmla="*/ 2147483647 h 1464"/>
                <a:gd name="T102" fmla="*/ 2147483647 w 1476"/>
                <a:gd name="T103" fmla="*/ 2147483647 h 1464"/>
                <a:gd name="T104" fmla="*/ 2147483647 w 1476"/>
                <a:gd name="T105" fmla="*/ 2147483647 h 146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476"/>
                <a:gd name="T160" fmla="*/ 0 h 1464"/>
                <a:gd name="T161" fmla="*/ 1476 w 1476"/>
                <a:gd name="T162" fmla="*/ 1464 h 146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476" h="1464">
                  <a:moveTo>
                    <a:pt x="360" y="534"/>
                  </a:moveTo>
                  <a:lnTo>
                    <a:pt x="318" y="534"/>
                  </a:lnTo>
                  <a:lnTo>
                    <a:pt x="312" y="546"/>
                  </a:lnTo>
                  <a:lnTo>
                    <a:pt x="306" y="552"/>
                  </a:lnTo>
                  <a:lnTo>
                    <a:pt x="294" y="576"/>
                  </a:lnTo>
                  <a:lnTo>
                    <a:pt x="282" y="588"/>
                  </a:lnTo>
                  <a:lnTo>
                    <a:pt x="258" y="588"/>
                  </a:lnTo>
                  <a:lnTo>
                    <a:pt x="246" y="582"/>
                  </a:lnTo>
                  <a:lnTo>
                    <a:pt x="234" y="582"/>
                  </a:lnTo>
                  <a:lnTo>
                    <a:pt x="228" y="594"/>
                  </a:lnTo>
                  <a:lnTo>
                    <a:pt x="204" y="600"/>
                  </a:lnTo>
                  <a:lnTo>
                    <a:pt x="204" y="606"/>
                  </a:lnTo>
                  <a:lnTo>
                    <a:pt x="198" y="618"/>
                  </a:lnTo>
                  <a:lnTo>
                    <a:pt x="186" y="618"/>
                  </a:lnTo>
                  <a:lnTo>
                    <a:pt x="180" y="612"/>
                  </a:lnTo>
                  <a:lnTo>
                    <a:pt x="168" y="606"/>
                  </a:lnTo>
                  <a:lnTo>
                    <a:pt x="138" y="624"/>
                  </a:lnTo>
                  <a:lnTo>
                    <a:pt x="120" y="624"/>
                  </a:lnTo>
                  <a:lnTo>
                    <a:pt x="120" y="630"/>
                  </a:lnTo>
                  <a:lnTo>
                    <a:pt x="90" y="660"/>
                  </a:lnTo>
                  <a:lnTo>
                    <a:pt x="78" y="666"/>
                  </a:lnTo>
                  <a:lnTo>
                    <a:pt x="72" y="672"/>
                  </a:lnTo>
                  <a:lnTo>
                    <a:pt x="60" y="678"/>
                  </a:lnTo>
                  <a:lnTo>
                    <a:pt x="54" y="708"/>
                  </a:lnTo>
                  <a:lnTo>
                    <a:pt x="54" y="768"/>
                  </a:lnTo>
                  <a:lnTo>
                    <a:pt x="0" y="768"/>
                  </a:lnTo>
                  <a:lnTo>
                    <a:pt x="54" y="768"/>
                  </a:lnTo>
                  <a:lnTo>
                    <a:pt x="54" y="804"/>
                  </a:lnTo>
                  <a:lnTo>
                    <a:pt x="312" y="984"/>
                  </a:lnTo>
                  <a:lnTo>
                    <a:pt x="720" y="1296"/>
                  </a:lnTo>
                  <a:lnTo>
                    <a:pt x="720" y="1320"/>
                  </a:lnTo>
                  <a:lnTo>
                    <a:pt x="744" y="1320"/>
                  </a:lnTo>
                  <a:lnTo>
                    <a:pt x="750" y="1326"/>
                  </a:lnTo>
                  <a:lnTo>
                    <a:pt x="750" y="1344"/>
                  </a:lnTo>
                  <a:lnTo>
                    <a:pt x="762" y="1356"/>
                  </a:lnTo>
                  <a:lnTo>
                    <a:pt x="798" y="1356"/>
                  </a:lnTo>
                  <a:lnTo>
                    <a:pt x="804" y="1386"/>
                  </a:lnTo>
                  <a:lnTo>
                    <a:pt x="810" y="1386"/>
                  </a:lnTo>
                  <a:lnTo>
                    <a:pt x="816" y="1380"/>
                  </a:lnTo>
                  <a:lnTo>
                    <a:pt x="846" y="1380"/>
                  </a:lnTo>
                  <a:lnTo>
                    <a:pt x="858" y="1386"/>
                  </a:lnTo>
                  <a:lnTo>
                    <a:pt x="870" y="1410"/>
                  </a:lnTo>
                  <a:lnTo>
                    <a:pt x="870" y="1428"/>
                  </a:lnTo>
                  <a:lnTo>
                    <a:pt x="852" y="1446"/>
                  </a:lnTo>
                  <a:lnTo>
                    <a:pt x="852" y="1452"/>
                  </a:lnTo>
                  <a:lnTo>
                    <a:pt x="858" y="1458"/>
                  </a:lnTo>
                  <a:lnTo>
                    <a:pt x="870" y="1464"/>
                  </a:lnTo>
                  <a:lnTo>
                    <a:pt x="900" y="1464"/>
                  </a:lnTo>
                  <a:lnTo>
                    <a:pt x="906" y="1458"/>
                  </a:lnTo>
                  <a:lnTo>
                    <a:pt x="924" y="1458"/>
                  </a:lnTo>
                  <a:lnTo>
                    <a:pt x="954" y="1452"/>
                  </a:lnTo>
                  <a:lnTo>
                    <a:pt x="984" y="1440"/>
                  </a:lnTo>
                  <a:lnTo>
                    <a:pt x="1020" y="1434"/>
                  </a:lnTo>
                  <a:lnTo>
                    <a:pt x="1038" y="1434"/>
                  </a:lnTo>
                  <a:lnTo>
                    <a:pt x="1062" y="1416"/>
                  </a:lnTo>
                  <a:lnTo>
                    <a:pt x="1098" y="1386"/>
                  </a:lnTo>
                  <a:lnTo>
                    <a:pt x="1128" y="1350"/>
                  </a:lnTo>
                  <a:lnTo>
                    <a:pt x="1158" y="1326"/>
                  </a:lnTo>
                  <a:lnTo>
                    <a:pt x="1182" y="1314"/>
                  </a:lnTo>
                  <a:lnTo>
                    <a:pt x="1224" y="1284"/>
                  </a:lnTo>
                  <a:lnTo>
                    <a:pt x="1272" y="1248"/>
                  </a:lnTo>
                  <a:lnTo>
                    <a:pt x="1332" y="1206"/>
                  </a:lnTo>
                  <a:lnTo>
                    <a:pt x="1386" y="1170"/>
                  </a:lnTo>
                  <a:lnTo>
                    <a:pt x="1434" y="1134"/>
                  </a:lnTo>
                  <a:lnTo>
                    <a:pt x="1464" y="1110"/>
                  </a:lnTo>
                  <a:lnTo>
                    <a:pt x="1476" y="1104"/>
                  </a:lnTo>
                  <a:lnTo>
                    <a:pt x="1476" y="1098"/>
                  </a:lnTo>
                  <a:lnTo>
                    <a:pt x="1470" y="1092"/>
                  </a:lnTo>
                  <a:lnTo>
                    <a:pt x="1464" y="1080"/>
                  </a:lnTo>
                  <a:lnTo>
                    <a:pt x="1458" y="1062"/>
                  </a:lnTo>
                  <a:lnTo>
                    <a:pt x="1452" y="1050"/>
                  </a:lnTo>
                  <a:lnTo>
                    <a:pt x="1452" y="1044"/>
                  </a:lnTo>
                  <a:lnTo>
                    <a:pt x="1440" y="1032"/>
                  </a:lnTo>
                  <a:lnTo>
                    <a:pt x="1428" y="1032"/>
                  </a:lnTo>
                  <a:lnTo>
                    <a:pt x="1392" y="1014"/>
                  </a:lnTo>
                  <a:lnTo>
                    <a:pt x="1386" y="1014"/>
                  </a:lnTo>
                  <a:lnTo>
                    <a:pt x="1362" y="1026"/>
                  </a:lnTo>
                  <a:lnTo>
                    <a:pt x="1338" y="1002"/>
                  </a:lnTo>
                  <a:lnTo>
                    <a:pt x="1338" y="960"/>
                  </a:lnTo>
                  <a:lnTo>
                    <a:pt x="1332" y="954"/>
                  </a:lnTo>
                  <a:lnTo>
                    <a:pt x="1326" y="942"/>
                  </a:lnTo>
                  <a:lnTo>
                    <a:pt x="1314" y="930"/>
                  </a:lnTo>
                  <a:lnTo>
                    <a:pt x="1308" y="912"/>
                  </a:lnTo>
                  <a:lnTo>
                    <a:pt x="1296" y="900"/>
                  </a:lnTo>
                  <a:lnTo>
                    <a:pt x="1290" y="888"/>
                  </a:lnTo>
                  <a:lnTo>
                    <a:pt x="1290" y="882"/>
                  </a:lnTo>
                  <a:lnTo>
                    <a:pt x="1296" y="876"/>
                  </a:lnTo>
                  <a:lnTo>
                    <a:pt x="1308" y="876"/>
                  </a:lnTo>
                  <a:lnTo>
                    <a:pt x="1320" y="870"/>
                  </a:lnTo>
                  <a:lnTo>
                    <a:pt x="1326" y="864"/>
                  </a:lnTo>
                  <a:lnTo>
                    <a:pt x="1332" y="852"/>
                  </a:lnTo>
                  <a:lnTo>
                    <a:pt x="1332" y="840"/>
                  </a:lnTo>
                  <a:lnTo>
                    <a:pt x="1326" y="834"/>
                  </a:lnTo>
                  <a:lnTo>
                    <a:pt x="1326" y="828"/>
                  </a:lnTo>
                  <a:lnTo>
                    <a:pt x="1320" y="774"/>
                  </a:lnTo>
                  <a:lnTo>
                    <a:pt x="1332" y="750"/>
                  </a:lnTo>
                  <a:lnTo>
                    <a:pt x="1326" y="732"/>
                  </a:lnTo>
                  <a:lnTo>
                    <a:pt x="1326" y="726"/>
                  </a:lnTo>
                  <a:lnTo>
                    <a:pt x="1332" y="720"/>
                  </a:lnTo>
                  <a:lnTo>
                    <a:pt x="1332" y="690"/>
                  </a:lnTo>
                  <a:lnTo>
                    <a:pt x="1338" y="678"/>
                  </a:lnTo>
                  <a:lnTo>
                    <a:pt x="1338" y="672"/>
                  </a:lnTo>
                  <a:lnTo>
                    <a:pt x="1326" y="648"/>
                  </a:lnTo>
                  <a:lnTo>
                    <a:pt x="1302" y="588"/>
                  </a:lnTo>
                  <a:lnTo>
                    <a:pt x="1290" y="570"/>
                  </a:lnTo>
                  <a:lnTo>
                    <a:pt x="1296" y="564"/>
                  </a:lnTo>
                  <a:lnTo>
                    <a:pt x="1308" y="558"/>
                  </a:lnTo>
                  <a:lnTo>
                    <a:pt x="1296" y="528"/>
                  </a:lnTo>
                  <a:lnTo>
                    <a:pt x="1284" y="480"/>
                  </a:lnTo>
                  <a:lnTo>
                    <a:pt x="1278" y="438"/>
                  </a:lnTo>
                  <a:lnTo>
                    <a:pt x="1272" y="414"/>
                  </a:lnTo>
                  <a:lnTo>
                    <a:pt x="1266" y="408"/>
                  </a:lnTo>
                  <a:lnTo>
                    <a:pt x="1260" y="396"/>
                  </a:lnTo>
                  <a:lnTo>
                    <a:pt x="1236" y="384"/>
                  </a:lnTo>
                  <a:lnTo>
                    <a:pt x="1230" y="378"/>
                  </a:lnTo>
                  <a:lnTo>
                    <a:pt x="1224" y="378"/>
                  </a:lnTo>
                  <a:lnTo>
                    <a:pt x="1224" y="336"/>
                  </a:lnTo>
                  <a:lnTo>
                    <a:pt x="1212" y="324"/>
                  </a:lnTo>
                  <a:lnTo>
                    <a:pt x="1194" y="318"/>
                  </a:lnTo>
                  <a:lnTo>
                    <a:pt x="1182" y="318"/>
                  </a:lnTo>
                  <a:lnTo>
                    <a:pt x="1182" y="288"/>
                  </a:lnTo>
                  <a:lnTo>
                    <a:pt x="1170" y="288"/>
                  </a:lnTo>
                  <a:lnTo>
                    <a:pt x="1170" y="246"/>
                  </a:lnTo>
                  <a:lnTo>
                    <a:pt x="1194" y="222"/>
                  </a:lnTo>
                  <a:lnTo>
                    <a:pt x="1218" y="204"/>
                  </a:lnTo>
                  <a:lnTo>
                    <a:pt x="1218" y="198"/>
                  </a:lnTo>
                  <a:lnTo>
                    <a:pt x="1224" y="192"/>
                  </a:lnTo>
                  <a:lnTo>
                    <a:pt x="1224" y="180"/>
                  </a:lnTo>
                  <a:lnTo>
                    <a:pt x="1230" y="168"/>
                  </a:lnTo>
                  <a:lnTo>
                    <a:pt x="1230" y="126"/>
                  </a:lnTo>
                  <a:lnTo>
                    <a:pt x="1224" y="114"/>
                  </a:lnTo>
                  <a:lnTo>
                    <a:pt x="1224" y="78"/>
                  </a:lnTo>
                  <a:lnTo>
                    <a:pt x="1230" y="66"/>
                  </a:lnTo>
                  <a:lnTo>
                    <a:pt x="1230" y="54"/>
                  </a:lnTo>
                  <a:lnTo>
                    <a:pt x="1212" y="48"/>
                  </a:lnTo>
                  <a:lnTo>
                    <a:pt x="1254" y="30"/>
                  </a:lnTo>
                  <a:lnTo>
                    <a:pt x="1254" y="18"/>
                  </a:lnTo>
                  <a:lnTo>
                    <a:pt x="1242" y="18"/>
                  </a:lnTo>
                  <a:lnTo>
                    <a:pt x="1236" y="12"/>
                  </a:lnTo>
                  <a:lnTo>
                    <a:pt x="1224" y="12"/>
                  </a:lnTo>
                  <a:lnTo>
                    <a:pt x="1206" y="24"/>
                  </a:lnTo>
                  <a:lnTo>
                    <a:pt x="1170" y="6"/>
                  </a:lnTo>
                  <a:lnTo>
                    <a:pt x="1152" y="6"/>
                  </a:lnTo>
                  <a:lnTo>
                    <a:pt x="1152" y="18"/>
                  </a:lnTo>
                  <a:lnTo>
                    <a:pt x="1116" y="18"/>
                  </a:lnTo>
                  <a:lnTo>
                    <a:pt x="1092" y="0"/>
                  </a:lnTo>
                  <a:lnTo>
                    <a:pt x="1086" y="30"/>
                  </a:lnTo>
                  <a:lnTo>
                    <a:pt x="1056" y="18"/>
                  </a:lnTo>
                  <a:lnTo>
                    <a:pt x="1026" y="42"/>
                  </a:lnTo>
                  <a:lnTo>
                    <a:pt x="1002" y="30"/>
                  </a:lnTo>
                  <a:lnTo>
                    <a:pt x="984" y="30"/>
                  </a:lnTo>
                  <a:lnTo>
                    <a:pt x="966" y="24"/>
                  </a:lnTo>
                  <a:lnTo>
                    <a:pt x="948" y="24"/>
                  </a:lnTo>
                  <a:lnTo>
                    <a:pt x="924" y="30"/>
                  </a:lnTo>
                  <a:lnTo>
                    <a:pt x="906" y="30"/>
                  </a:lnTo>
                  <a:lnTo>
                    <a:pt x="900" y="36"/>
                  </a:lnTo>
                  <a:lnTo>
                    <a:pt x="888" y="36"/>
                  </a:lnTo>
                  <a:lnTo>
                    <a:pt x="876" y="42"/>
                  </a:lnTo>
                  <a:lnTo>
                    <a:pt x="816" y="42"/>
                  </a:lnTo>
                  <a:lnTo>
                    <a:pt x="810" y="48"/>
                  </a:lnTo>
                  <a:lnTo>
                    <a:pt x="750" y="48"/>
                  </a:lnTo>
                  <a:lnTo>
                    <a:pt x="744" y="54"/>
                  </a:lnTo>
                  <a:lnTo>
                    <a:pt x="726" y="54"/>
                  </a:lnTo>
                  <a:lnTo>
                    <a:pt x="714" y="60"/>
                  </a:lnTo>
                  <a:lnTo>
                    <a:pt x="696" y="66"/>
                  </a:lnTo>
                  <a:lnTo>
                    <a:pt x="684" y="78"/>
                  </a:lnTo>
                  <a:lnTo>
                    <a:pt x="678" y="90"/>
                  </a:lnTo>
                  <a:lnTo>
                    <a:pt x="666" y="102"/>
                  </a:lnTo>
                  <a:lnTo>
                    <a:pt x="666" y="108"/>
                  </a:lnTo>
                  <a:lnTo>
                    <a:pt x="636" y="108"/>
                  </a:lnTo>
                  <a:lnTo>
                    <a:pt x="624" y="114"/>
                  </a:lnTo>
                  <a:lnTo>
                    <a:pt x="606" y="114"/>
                  </a:lnTo>
                  <a:lnTo>
                    <a:pt x="594" y="120"/>
                  </a:lnTo>
                  <a:lnTo>
                    <a:pt x="588" y="126"/>
                  </a:lnTo>
                  <a:lnTo>
                    <a:pt x="588" y="132"/>
                  </a:lnTo>
                  <a:lnTo>
                    <a:pt x="558" y="162"/>
                  </a:lnTo>
                  <a:lnTo>
                    <a:pt x="546" y="168"/>
                  </a:lnTo>
                  <a:lnTo>
                    <a:pt x="522" y="168"/>
                  </a:lnTo>
                  <a:lnTo>
                    <a:pt x="528" y="174"/>
                  </a:lnTo>
                  <a:lnTo>
                    <a:pt x="534" y="186"/>
                  </a:lnTo>
                  <a:lnTo>
                    <a:pt x="546" y="192"/>
                  </a:lnTo>
                  <a:lnTo>
                    <a:pt x="540" y="198"/>
                  </a:lnTo>
                  <a:lnTo>
                    <a:pt x="540" y="210"/>
                  </a:lnTo>
                  <a:lnTo>
                    <a:pt x="552" y="210"/>
                  </a:lnTo>
                  <a:lnTo>
                    <a:pt x="546" y="276"/>
                  </a:lnTo>
                  <a:lnTo>
                    <a:pt x="558" y="294"/>
                  </a:lnTo>
                  <a:lnTo>
                    <a:pt x="546" y="324"/>
                  </a:lnTo>
                  <a:lnTo>
                    <a:pt x="564" y="324"/>
                  </a:lnTo>
                  <a:lnTo>
                    <a:pt x="564" y="354"/>
                  </a:lnTo>
                  <a:lnTo>
                    <a:pt x="588" y="372"/>
                  </a:lnTo>
                  <a:lnTo>
                    <a:pt x="570" y="390"/>
                  </a:lnTo>
                  <a:lnTo>
                    <a:pt x="570" y="402"/>
                  </a:lnTo>
                  <a:lnTo>
                    <a:pt x="516" y="408"/>
                  </a:lnTo>
                  <a:lnTo>
                    <a:pt x="504" y="402"/>
                  </a:lnTo>
                  <a:lnTo>
                    <a:pt x="486" y="402"/>
                  </a:lnTo>
                  <a:lnTo>
                    <a:pt x="486" y="408"/>
                  </a:lnTo>
                  <a:lnTo>
                    <a:pt x="480" y="414"/>
                  </a:lnTo>
                  <a:lnTo>
                    <a:pt x="474" y="408"/>
                  </a:lnTo>
                  <a:lnTo>
                    <a:pt x="462" y="408"/>
                  </a:lnTo>
                  <a:lnTo>
                    <a:pt x="462" y="414"/>
                  </a:lnTo>
                  <a:lnTo>
                    <a:pt x="456" y="420"/>
                  </a:lnTo>
                  <a:lnTo>
                    <a:pt x="456" y="432"/>
                  </a:lnTo>
                  <a:lnTo>
                    <a:pt x="432" y="432"/>
                  </a:lnTo>
                  <a:lnTo>
                    <a:pt x="420" y="438"/>
                  </a:lnTo>
                  <a:lnTo>
                    <a:pt x="396" y="438"/>
                  </a:lnTo>
                  <a:lnTo>
                    <a:pt x="390" y="444"/>
                  </a:lnTo>
                  <a:lnTo>
                    <a:pt x="390" y="456"/>
                  </a:lnTo>
                  <a:lnTo>
                    <a:pt x="396" y="462"/>
                  </a:lnTo>
                  <a:lnTo>
                    <a:pt x="402" y="474"/>
                  </a:lnTo>
                  <a:lnTo>
                    <a:pt x="414" y="492"/>
                  </a:lnTo>
                  <a:lnTo>
                    <a:pt x="390" y="504"/>
                  </a:lnTo>
                  <a:lnTo>
                    <a:pt x="390" y="510"/>
                  </a:lnTo>
                  <a:lnTo>
                    <a:pt x="378" y="522"/>
                  </a:lnTo>
                  <a:lnTo>
                    <a:pt x="366" y="528"/>
                  </a:lnTo>
                  <a:lnTo>
                    <a:pt x="360" y="534"/>
                  </a:lnTo>
                  <a:close/>
                </a:path>
              </a:pathLst>
            </a:custGeom>
            <a:solidFill>
              <a:srgbClr val="692864"/>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212" name="Albania" descr="© INSCALE GmbH, 05.05.2010&#10;http://www.presentationload.com/"/>
            <p:cNvSpPr>
              <a:spLocks/>
            </p:cNvSpPr>
            <p:nvPr/>
          </p:nvSpPr>
          <p:spPr bwMode="gray">
            <a:xfrm>
              <a:off x="4733929" y="2697161"/>
              <a:ext cx="58737" cy="98425"/>
            </a:xfrm>
            <a:custGeom>
              <a:avLst/>
              <a:gdLst>
                <a:gd name="T0" fmla="*/ 2147483647 w 144"/>
                <a:gd name="T1" fmla="*/ 2147483647 h 246"/>
                <a:gd name="T2" fmla="*/ 2147483647 w 144"/>
                <a:gd name="T3" fmla="*/ 2147483647 h 246"/>
                <a:gd name="T4" fmla="*/ 2147483647 w 144"/>
                <a:gd name="T5" fmla="*/ 2147483647 h 246"/>
                <a:gd name="T6" fmla="*/ 2147483647 w 144"/>
                <a:gd name="T7" fmla="*/ 2147483647 h 246"/>
                <a:gd name="T8" fmla="*/ 2147483647 w 144"/>
                <a:gd name="T9" fmla="*/ 2147483647 h 246"/>
                <a:gd name="T10" fmla="*/ 2147483647 w 144"/>
                <a:gd name="T11" fmla="*/ 2147483647 h 246"/>
                <a:gd name="T12" fmla="*/ 2147483647 w 144"/>
                <a:gd name="T13" fmla="*/ 2147483647 h 246"/>
                <a:gd name="T14" fmla="*/ 2147483647 w 144"/>
                <a:gd name="T15" fmla="*/ 2147483647 h 246"/>
                <a:gd name="T16" fmla="*/ 2147483647 w 144"/>
                <a:gd name="T17" fmla="*/ 2147483647 h 246"/>
                <a:gd name="T18" fmla="*/ 2147483647 w 144"/>
                <a:gd name="T19" fmla="*/ 2147483647 h 246"/>
                <a:gd name="T20" fmla="*/ 2147483647 w 144"/>
                <a:gd name="T21" fmla="*/ 2147483647 h 246"/>
                <a:gd name="T22" fmla="*/ 2147483647 w 144"/>
                <a:gd name="T23" fmla="*/ 2147483647 h 246"/>
                <a:gd name="T24" fmla="*/ 2147483647 w 144"/>
                <a:gd name="T25" fmla="*/ 2147483647 h 246"/>
                <a:gd name="T26" fmla="*/ 2147483647 w 144"/>
                <a:gd name="T27" fmla="*/ 2147483647 h 246"/>
                <a:gd name="T28" fmla="*/ 2147483647 w 144"/>
                <a:gd name="T29" fmla="*/ 2147483647 h 246"/>
                <a:gd name="T30" fmla="*/ 2147483647 w 144"/>
                <a:gd name="T31" fmla="*/ 2147483647 h 246"/>
                <a:gd name="T32" fmla="*/ 2147483647 w 144"/>
                <a:gd name="T33" fmla="*/ 2147483647 h 246"/>
                <a:gd name="T34" fmla="*/ 2147483647 w 144"/>
                <a:gd name="T35" fmla="*/ 2147483647 h 246"/>
                <a:gd name="T36" fmla="*/ 2147483647 w 144"/>
                <a:gd name="T37" fmla="*/ 2147483647 h 246"/>
                <a:gd name="T38" fmla="*/ 2147483647 w 144"/>
                <a:gd name="T39" fmla="*/ 0 h 246"/>
                <a:gd name="T40" fmla="*/ 2147483647 w 144"/>
                <a:gd name="T41" fmla="*/ 2147483647 h 246"/>
                <a:gd name="T42" fmla="*/ 2147483647 w 144"/>
                <a:gd name="T43" fmla="*/ 2147483647 h 246"/>
                <a:gd name="T44" fmla="*/ 0 w 144"/>
                <a:gd name="T45" fmla="*/ 2147483647 h 246"/>
                <a:gd name="T46" fmla="*/ 2147483647 w 144"/>
                <a:gd name="T47" fmla="*/ 2147483647 h 246"/>
                <a:gd name="T48" fmla="*/ 2147483647 w 144"/>
                <a:gd name="T49" fmla="*/ 2147483647 h 246"/>
                <a:gd name="T50" fmla="*/ 2147483647 w 144"/>
                <a:gd name="T51" fmla="*/ 2147483647 h 246"/>
                <a:gd name="T52" fmla="*/ 2147483647 w 144"/>
                <a:gd name="T53" fmla="*/ 2147483647 h 246"/>
                <a:gd name="T54" fmla="*/ 2147483647 w 144"/>
                <a:gd name="T55" fmla="*/ 2147483647 h 246"/>
                <a:gd name="T56" fmla="*/ 2147483647 w 144"/>
                <a:gd name="T57" fmla="*/ 2147483647 h 246"/>
                <a:gd name="T58" fmla="*/ 2147483647 w 144"/>
                <a:gd name="T59" fmla="*/ 2147483647 h 246"/>
                <a:gd name="T60" fmla="*/ 2147483647 w 144"/>
                <a:gd name="T61" fmla="*/ 2147483647 h 246"/>
                <a:gd name="T62" fmla="*/ 2147483647 w 144"/>
                <a:gd name="T63" fmla="*/ 2147483647 h 246"/>
                <a:gd name="T64" fmla="*/ 2147483647 w 144"/>
                <a:gd name="T65" fmla="*/ 2147483647 h 246"/>
                <a:gd name="T66" fmla="*/ 2147483647 w 144"/>
                <a:gd name="T67" fmla="*/ 2147483647 h 246"/>
                <a:gd name="T68" fmla="*/ 2147483647 w 144"/>
                <a:gd name="T69" fmla="*/ 2147483647 h 246"/>
                <a:gd name="T70" fmla="*/ 2147483647 w 144"/>
                <a:gd name="T71" fmla="*/ 2147483647 h 246"/>
                <a:gd name="T72" fmla="*/ 2147483647 w 144"/>
                <a:gd name="T73" fmla="*/ 2147483647 h 246"/>
                <a:gd name="T74" fmla="*/ 2147483647 w 144"/>
                <a:gd name="T75" fmla="*/ 2147483647 h 246"/>
                <a:gd name="T76" fmla="*/ 2147483647 w 144"/>
                <a:gd name="T77" fmla="*/ 2147483647 h 246"/>
                <a:gd name="T78" fmla="*/ 2147483647 w 144"/>
                <a:gd name="T79" fmla="*/ 2147483647 h 246"/>
                <a:gd name="T80" fmla="*/ 2147483647 w 144"/>
                <a:gd name="T81" fmla="*/ 2147483647 h 246"/>
                <a:gd name="T82" fmla="*/ 2147483647 w 144"/>
                <a:gd name="T83" fmla="*/ 2147483647 h 246"/>
                <a:gd name="T84" fmla="*/ 2147483647 w 144"/>
                <a:gd name="T85" fmla="*/ 2147483647 h 246"/>
                <a:gd name="T86" fmla="*/ 2147483647 w 144"/>
                <a:gd name="T87" fmla="*/ 2147483647 h 246"/>
                <a:gd name="T88" fmla="*/ 2147483647 w 144"/>
                <a:gd name="T89" fmla="*/ 2147483647 h 24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44"/>
                <a:gd name="T136" fmla="*/ 0 h 246"/>
                <a:gd name="T137" fmla="*/ 144 w 144"/>
                <a:gd name="T138" fmla="*/ 246 h 24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44" h="246">
                  <a:moveTo>
                    <a:pt x="96" y="210"/>
                  </a:moveTo>
                  <a:lnTo>
                    <a:pt x="96" y="204"/>
                  </a:lnTo>
                  <a:lnTo>
                    <a:pt x="108" y="204"/>
                  </a:lnTo>
                  <a:lnTo>
                    <a:pt x="120" y="198"/>
                  </a:lnTo>
                  <a:lnTo>
                    <a:pt x="120" y="174"/>
                  </a:lnTo>
                  <a:lnTo>
                    <a:pt x="138" y="174"/>
                  </a:lnTo>
                  <a:lnTo>
                    <a:pt x="144" y="168"/>
                  </a:lnTo>
                  <a:lnTo>
                    <a:pt x="144" y="138"/>
                  </a:lnTo>
                  <a:lnTo>
                    <a:pt x="120" y="144"/>
                  </a:lnTo>
                  <a:lnTo>
                    <a:pt x="120" y="126"/>
                  </a:lnTo>
                  <a:lnTo>
                    <a:pt x="114" y="126"/>
                  </a:lnTo>
                  <a:lnTo>
                    <a:pt x="108" y="120"/>
                  </a:lnTo>
                  <a:lnTo>
                    <a:pt x="108" y="96"/>
                  </a:lnTo>
                  <a:lnTo>
                    <a:pt x="102" y="84"/>
                  </a:lnTo>
                  <a:lnTo>
                    <a:pt x="102" y="42"/>
                  </a:lnTo>
                  <a:lnTo>
                    <a:pt x="96" y="24"/>
                  </a:lnTo>
                  <a:lnTo>
                    <a:pt x="84" y="24"/>
                  </a:lnTo>
                  <a:lnTo>
                    <a:pt x="72" y="6"/>
                  </a:lnTo>
                  <a:lnTo>
                    <a:pt x="66" y="12"/>
                  </a:lnTo>
                  <a:lnTo>
                    <a:pt x="36" y="0"/>
                  </a:lnTo>
                  <a:lnTo>
                    <a:pt x="36" y="18"/>
                  </a:lnTo>
                  <a:lnTo>
                    <a:pt x="24" y="24"/>
                  </a:lnTo>
                  <a:lnTo>
                    <a:pt x="0" y="24"/>
                  </a:lnTo>
                  <a:lnTo>
                    <a:pt x="18" y="36"/>
                  </a:lnTo>
                  <a:lnTo>
                    <a:pt x="24" y="30"/>
                  </a:lnTo>
                  <a:lnTo>
                    <a:pt x="30" y="48"/>
                  </a:lnTo>
                  <a:lnTo>
                    <a:pt x="18" y="60"/>
                  </a:lnTo>
                  <a:lnTo>
                    <a:pt x="24" y="66"/>
                  </a:lnTo>
                  <a:lnTo>
                    <a:pt x="48" y="66"/>
                  </a:lnTo>
                  <a:lnTo>
                    <a:pt x="48" y="84"/>
                  </a:lnTo>
                  <a:lnTo>
                    <a:pt x="42" y="96"/>
                  </a:lnTo>
                  <a:lnTo>
                    <a:pt x="42" y="114"/>
                  </a:lnTo>
                  <a:lnTo>
                    <a:pt x="36" y="132"/>
                  </a:lnTo>
                  <a:lnTo>
                    <a:pt x="36" y="156"/>
                  </a:lnTo>
                  <a:lnTo>
                    <a:pt x="24" y="180"/>
                  </a:lnTo>
                  <a:lnTo>
                    <a:pt x="24" y="186"/>
                  </a:lnTo>
                  <a:lnTo>
                    <a:pt x="42" y="204"/>
                  </a:lnTo>
                  <a:lnTo>
                    <a:pt x="54" y="210"/>
                  </a:lnTo>
                  <a:lnTo>
                    <a:pt x="60" y="216"/>
                  </a:lnTo>
                  <a:lnTo>
                    <a:pt x="60" y="234"/>
                  </a:lnTo>
                  <a:lnTo>
                    <a:pt x="66" y="240"/>
                  </a:lnTo>
                  <a:lnTo>
                    <a:pt x="84" y="240"/>
                  </a:lnTo>
                  <a:lnTo>
                    <a:pt x="90" y="246"/>
                  </a:lnTo>
                  <a:lnTo>
                    <a:pt x="96" y="246"/>
                  </a:lnTo>
                  <a:lnTo>
                    <a:pt x="96" y="210"/>
                  </a:lnTo>
                  <a:close/>
                </a:path>
              </a:pathLst>
            </a:custGeom>
            <a:solidFill>
              <a:srgbClr val="00508C"/>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213" name="South Africa" descr="© INSCALE GmbH, 05.05.2010&#10;http://www.presentationload.com/"/>
            <p:cNvSpPr>
              <a:spLocks noEditPoints="1"/>
            </p:cNvSpPr>
            <p:nvPr/>
          </p:nvSpPr>
          <p:spPr bwMode="gray">
            <a:xfrm>
              <a:off x="4678367" y="4797424"/>
              <a:ext cx="457201" cy="411163"/>
            </a:xfrm>
            <a:custGeom>
              <a:avLst/>
              <a:gdLst>
                <a:gd name="T0" fmla="*/ 2147483647 w 1134"/>
                <a:gd name="T1" fmla="*/ 2147483647 h 1020"/>
                <a:gd name="T2" fmla="*/ 2147483647 w 1134"/>
                <a:gd name="T3" fmla="*/ 2147483647 h 1020"/>
                <a:gd name="T4" fmla="*/ 2147483647 w 1134"/>
                <a:gd name="T5" fmla="*/ 2147483647 h 1020"/>
                <a:gd name="T6" fmla="*/ 2147483647 w 1134"/>
                <a:gd name="T7" fmla="*/ 2147483647 h 1020"/>
                <a:gd name="T8" fmla="*/ 2147483647 w 1134"/>
                <a:gd name="T9" fmla="*/ 2147483647 h 1020"/>
                <a:gd name="T10" fmla="*/ 2147483647 w 1134"/>
                <a:gd name="T11" fmla="*/ 2147483647 h 1020"/>
                <a:gd name="T12" fmla="*/ 2147483647 w 1134"/>
                <a:gd name="T13" fmla="*/ 2147483647 h 1020"/>
                <a:gd name="T14" fmla="*/ 2147483647 w 1134"/>
                <a:gd name="T15" fmla="*/ 2147483647 h 1020"/>
                <a:gd name="T16" fmla="*/ 2147483647 w 1134"/>
                <a:gd name="T17" fmla="*/ 2147483647 h 1020"/>
                <a:gd name="T18" fmla="*/ 2147483647 w 1134"/>
                <a:gd name="T19" fmla="*/ 2147483647 h 1020"/>
                <a:gd name="T20" fmla="*/ 2147483647 w 1134"/>
                <a:gd name="T21" fmla="*/ 2147483647 h 1020"/>
                <a:gd name="T22" fmla="*/ 2147483647 w 1134"/>
                <a:gd name="T23" fmla="*/ 2147483647 h 1020"/>
                <a:gd name="T24" fmla="*/ 2147483647 w 1134"/>
                <a:gd name="T25" fmla="*/ 2147483647 h 1020"/>
                <a:gd name="T26" fmla="*/ 2147483647 w 1134"/>
                <a:gd name="T27" fmla="*/ 2147483647 h 1020"/>
                <a:gd name="T28" fmla="*/ 2147483647 w 1134"/>
                <a:gd name="T29" fmla="*/ 2147483647 h 1020"/>
                <a:gd name="T30" fmla="*/ 2147483647 w 1134"/>
                <a:gd name="T31" fmla="*/ 2147483647 h 1020"/>
                <a:gd name="T32" fmla="*/ 2147483647 w 1134"/>
                <a:gd name="T33" fmla="*/ 2147483647 h 1020"/>
                <a:gd name="T34" fmla="*/ 2147483647 w 1134"/>
                <a:gd name="T35" fmla="*/ 2147483647 h 1020"/>
                <a:gd name="T36" fmla="*/ 2147483647 w 1134"/>
                <a:gd name="T37" fmla="*/ 2147483647 h 1020"/>
                <a:gd name="T38" fmla="*/ 2147483647 w 1134"/>
                <a:gd name="T39" fmla="*/ 2147483647 h 1020"/>
                <a:gd name="T40" fmla="*/ 2147483647 w 1134"/>
                <a:gd name="T41" fmla="*/ 2147483647 h 1020"/>
                <a:gd name="T42" fmla="*/ 2147483647 w 1134"/>
                <a:gd name="T43" fmla="*/ 2147483647 h 1020"/>
                <a:gd name="T44" fmla="*/ 2147483647 w 1134"/>
                <a:gd name="T45" fmla="*/ 2147483647 h 1020"/>
                <a:gd name="T46" fmla="*/ 2147483647 w 1134"/>
                <a:gd name="T47" fmla="*/ 2147483647 h 1020"/>
                <a:gd name="T48" fmla="*/ 2147483647 w 1134"/>
                <a:gd name="T49" fmla="*/ 2147483647 h 1020"/>
                <a:gd name="T50" fmla="*/ 2147483647 w 1134"/>
                <a:gd name="T51" fmla="*/ 2147483647 h 1020"/>
                <a:gd name="T52" fmla="*/ 2147483647 w 1134"/>
                <a:gd name="T53" fmla="*/ 2147483647 h 1020"/>
                <a:gd name="T54" fmla="*/ 2147483647 w 1134"/>
                <a:gd name="T55" fmla="*/ 2147483647 h 1020"/>
                <a:gd name="T56" fmla="*/ 2147483647 w 1134"/>
                <a:gd name="T57" fmla="*/ 2147483647 h 1020"/>
                <a:gd name="T58" fmla="*/ 2147483647 w 1134"/>
                <a:gd name="T59" fmla="*/ 2147483647 h 1020"/>
                <a:gd name="T60" fmla="*/ 2147483647 w 1134"/>
                <a:gd name="T61" fmla="*/ 2147483647 h 1020"/>
                <a:gd name="T62" fmla="*/ 0 w 1134"/>
                <a:gd name="T63" fmla="*/ 2147483647 h 1020"/>
                <a:gd name="T64" fmla="*/ 2147483647 w 1134"/>
                <a:gd name="T65" fmla="*/ 2147483647 h 1020"/>
                <a:gd name="T66" fmla="*/ 2147483647 w 1134"/>
                <a:gd name="T67" fmla="*/ 2147483647 h 1020"/>
                <a:gd name="T68" fmla="*/ 2147483647 w 1134"/>
                <a:gd name="T69" fmla="*/ 2147483647 h 1020"/>
                <a:gd name="T70" fmla="*/ 2147483647 w 1134"/>
                <a:gd name="T71" fmla="*/ 2147483647 h 1020"/>
                <a:gd name="T72" fmla="*/ 2147483647 w 1134"/>
                <a:gd name="T73" fmla="*/ 2147483647 h 1020"/>
                <a:gd name="T74" fmla="*/ 2147483647 w 1134"/>
                <a:gd name="T75" fmla="*/ 2147483647 h 1020"/>
                <a:gd name="T76" fmla="*/ 2147483647 w 1134"/>
                <a:gd name="T77" fmla="*/ 2147483647 h 1020"/>
                <a:gd name="T78" fmla="*/ 2147483647 w 1134"/>
                <a:gd name="T79" fmla="*/ 2147483647 h 1020"/>
                <a:gd name="T80" fmla="*/ 2147483647 w 1134"/>
                <a:gd name="T81" fmla="*/ 2147483647 h 1020"/>
                <a:gd name="T82" fmla="*/ 2147483647 w 1134"/>
                <a:gd name="T83" fmla="*/ 2147483647 h 1020"/>
                <a:gd name="T84" fmla="*/ 2147483647 w 1134"/>
                <a:gd name="T85" fmla="*/ 2147483647 h 1020"/>
                <a:gd name="T86" fmla="*/ 2147483647 w 1134"/>
                <a:gd name="T87" fmla="*/ 2147483647 h 1020"/>
                <a:gd name="T88" fmla="*/ 2147483647 w 1134"/>
                <a:gd name="T89" fmla="*/ 2147483647 h 1020"/>
                <a:gd name="T90" fmla="*/ 2147483647 w 1134"/>
                <a:gd name="T91" fmla="*/ 2147483647 h 1020"/>
                <a:gd name="T92" fmla="*/ 2147483647 w 1134"/>
                <a:gd name="T93" fmla="*/ 2147483647 h 1020"/>
                <a:gd name="T94" fmla="*/ 2147483647 w 1134"/>
                <a:gd name="T95" fmla="*/ 2147483647 h 1020"/>
                <a:gd name="T96" fmla="*/ 2147483647 w 1134"/>
                <a:gd name="T97" fmla="*/ 2147483647 h 1020"/>
                <a:gd name="T98" fmla="*/ 2147483647 w 1134"/>
                <a:gd name="T99" fmla="*/ 2147483647 h 1020"/>
                <a:gd name="T100" fmla="*/ 2147483647 w 1134"/>
                <a:gd name="T101" fmla="*/ 2147483647 h 1020"/>
                <a:gd name="T102" fmla="*/ 2147483647 w 1134"/>
                <a:gd name="T103" fmla="*/ 2147483647 h 1020"/>
                <a:gd name="T104" fmla="*/ 2147483647 w 1134"/>
                <a:gd name="T105" fmla="*/ 2147483647 h 1020"/>
                <a:gd name="T106" fmla="*/ 2147483647 w 1134"/>
                <a:gd name="T107" fmla="*/ 2147483647 h 1020"/>
                <a:gd name="T108" fmla="*/ 2147483647 w 1134"/>
                <a:gd name="T109" fmla="*/ 2147483647 h 1020"/>
                <a:gd name="T110" fmla="*/ 2147483647 w 1134"/>
                <a:gd name="T111" fmla="*/ 2147483647 h 1020"/>
                <a:gd name="T112" fmla="*/ 2147483647 w 1134"/>
                <a:gd name="T113" fmla="*/ 2147483647 h 1020"/>
                <a:gd name="T114" fmla="*/ 2147483647 w 1134"/>
                <a:gd name="T115" fmla="*/ 2147483647 h 1020"/>
                <a:gd name="T116" fmla="*/ 2147483647 w 1134"/>
                <a:gd name="T117" fmla="*/ 2147483647 h 1020"/>
                <a:gd name="T118" fmla="*/ 2147483647 w 1134"/>
                <a:gd name="T119" fmla="*/ 2147483647 h 1020"/>
                <a:gd name="T120" fmla="*/ 2147483647 w 1134"/>
                <a:gd name="T121" fmla="*/ 2147483647 h 1020"/>
                <a:gd name="T122" fmla="*/ 2147483647 w 1134"/>
                <a:gd name="T123" fmla="*/ 2147483647 h 1020"/>
                <a:gd name="T124" fmla="*/ 2147483647 w 1134"/>
                <a:gd name="T125" fmla="*/ 2147483647 h 102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34"/>
                <a:gd name="T190" fmla="*/ 0 h 1020"/>
                <a:gd name="T191" fmla="*/ 1134 w 1134"/>
                <a:gd name="T192" fmla="*/ 1020 h 102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34" h="1020">
                  <a:moveTo>
                    <a:pt x="1116" y="372"/>
                  </a:moveTo>
                  <a:lnTo>
                    <a:pt x="1098" y="372"/>
                  </a:lnTo>
                  <a:lnTo>
                    <a:pt x="1092" y="378"/>
                  </a:lnTo>
                  <a:lnTo>
                    <a:pt x="1086" y="378"/>
                  </a:lnTo>
                  <a:lnTo>
                    <a:pt x="1074" y="420"/>
                  </a:lnTo>
                  <a:lnTo>
                    <a:pt x="1062" y="420"/>
                  </a:lnTo>
                  <a:lnTo>
                    <a:pt x="1050" y="414"/>
                  </a:lnTo>
                  <a:lnTo>
                    <a:pt x="1032" y="414"/>
                  </a:lnTo>
                  <a:lnTo>
                    <a:pt x="1020" y="402"/>
                  </a:lnTo>
                  <a:lnTo>
                    <a:pt x="1008" y="396"/>
                  </a:lnTo>
                  <a:lnTo>
                    <a:pt x="996" y="372"/>
                  </a:lnTo>
                  <a:lnTo>
                    <a:pt x="996" y="348"/>
                  </a:lnTo>
                  <a:lnTo>
                    <a:pt x="1002" y="336"/>
                  </a:lnTo>
                  <a:lnTo>
                    <a:pt x="1014" y="324"/>
                  </a:lnTo>
                  <a:lnTo>
                    <a:pt x="1014" y="312"/>
                  </a:lnTo>
                  <a:lnTo>
                    <a:pt x="1020" y="300"/>
                  </a:lnTo>
                  <a:lnTo>
                    <a:pt x="1032" y="288"/>
                  </a:lnTo>
                  <a:lnTo>
                    <a:pt x="1038" y="288"/>
                  </a:lnTo>
                  <a:lnTo>
                    <a:pt x="1050" y="294"/>
                  </a:lnTo>
                  <a:lnTo>
                    <a:pt x="1062" y="306"/>
                  </a:lnTo>
                  <a:lnTo>
                    <a:pt x="1086" y="270"/>
                  </a:lnTo>
                  <a:lnTo>
                    <a:pt x="1086" y="180"/>
                  </a:lnTo>
                  <a:lnTo>
                    <a:pt x="1056" y="120"/>
                  </a:lnTo>
                  <a:lnTo>
                    <a:pt x="1056" y="102"/>
                  </a:lnTo>
                  <a:lnTo>
                    <a:pt x="1050" y="90"/>
                  </a:lnTo>
                  <a:lnTo>
                    <a:pt x="1050" y="72"/>
                  </a:lnTo>
                  <a:lnTo>
                    <a:pt x="1044" y="54"/>
                  </a:lnTo>
                  <a:lnTo>
                    <a:pt x="1044" y="24"/>
                  </a:lnTo>
                  <a:lnTo>
                    <a:pt x="1026" y="12"/>
                  </a:lnTo>
                  <a:lnTo>
                    <a:pt x="966" y="12"/>
                  </a:lnTo>
                  <a:lnTo>
                    <a:pt x="954" y="6"/>
                  </a:lnTo>
                  <a:lnTo>
                    <a:pt x="948" y="6"/>
                  </a:lnTo>
                  <a:lnTo>
                    <a:pt x="936" y="0"/>
                  </a:lnTo>
                  <a:lnTo>
                    <a:pt x="876" y="0"/>
                  </a:lnTo>
                  <a:lnTo>
                    <a:pt x="864" y="24"/>
                  </a:lnTo>
                  <a:lnTo>
                    <a:pt x="852" y="24"/>
                  </a:lnTo>
                  <a:lnTo>
                    <a:pt x="840" y="30"/>
                  </a:lnTo>
                  <a:lnTo>
                    <a:pt x="828" y="30"/>
                  </a:lnTo>
                  <a:lnTo>
                    <a:pt x="822" y="36"/>
                  </a:lnTo>
                  <a:lnTo>
                    <a:pt x="810" y="60"/>
                  </a:lnTo>
                  <a:lnTo>
                    <a:pt x="768" y="102"/>
                  </a:lnTo>
                  <a:lnTo>
                    <a:pt x="756" y="108"/>
                  </a:lnTo>
                  <a:lnTo>
                    <a:pt x="750" y="108"/>
                  </a:lnTo>
                  <a:lnTo>
                    <a:pt x="738" y="114"/>
                  </a:lnTo>
                  <a:lnTo>
                    <a:pt x="726" y="138"/>
                  </a:lnTo>
                  <a:lnTo>
                    <a:pt x="726" y="174"/>
                  </a:lnTo>
                  <a:lnTo>
                    <a:pt x="714" y="180"/>
                  </a:lnTo>
                  <a:lnTo>
                    <a:pt x="708" y="192"/>
                  </a:lnTo>
                  <a:lnTo>
                    <a:pt x="702" y="198"/>
                  </a:lnTo>
                  <a:lnTo>
                    <a:pt x="690" y="204"/>
                  </a:lnTo>
                  <a:lnTo>
                    <a:pt x="672" y="210"/>
                  </a:lnTo>
                  <a:lnTo>
                    <a:pt x="654" y="228"/>
                  </a:lnTo>
                  <a:lnTo>
                    <a:pt x="654" y="240"/>
                  </a:lnTo>
                  <a:lnTo>
                    <a:pt x="648" y="252"/>
                  </a:lnTo>
                  <a:lnTo>
                    <a:pt x="642" y="270"/>
                  </a:lnTo>
                  <a:lnTo>
                    <a:pt x="636" y="282"/>
                  </a:lnTo>
                  <a:lnTo>
                    <a:pt x="630" y="288"/>
                  </a:lnTo>
                  <a:lnTo>
                    <a:pt x="618" y="294"/>
                  </a:lnTo>
                  <a:lnTo>
                    <a:pt x="606" y="294"/>
                  </a:lnTo>
                  <a:lnTo>
                    <a:pt x="600" y="288"/>
                  </a:lnTo>
                  <a:lnTo>
                    <a:pt x="594" y="294"/>
                  </a:lnTo>
                  <a:lnTo>
                    <a:pt x="582" y="300"/>
                  </a:lnTo>
                  <a:lnTo>
                    <a:pt x="570" y="300"/>
                  </a:lnTo>
                  <a:lnTo>
                    <a:pt x="564" y="294"/>
                  </a:lnTo>
                  <a:lnTo>
                    <a:pt x="552" y="288"/>
                  </a:lnTo>
                  <a:lnTo>
                    <a:pt x="546" y="282"/>
                  </a:lnTo>
                  <a:lnTo>
                    <a:pt x="516" y="282"/>
                  </a:lnTo>
                  <a:lnTo>
                    <a:pt x="504" y="270"/>
                  </a:lnTo>
                  <a:lnTo>
                    <a:pt x="492" y="264"/>
                  </a:lnTo>
                  <a:lnTo>
                    <a:pt x="486" y="258"/>
                  </a:lnTo>
                  <a:lnTo>
                    <a:pt x="474" y="252"/>
                  </a:lnTo>
                  <a:lnTo>
                    <a:pt x="462" y="252"/>
                  </a:lnTo>
                  <a:lnTo>
                    <a:pt x="450" y="258"/>
                  </a:lnTo>
                  <a:lnTo>
                    <a:pt x="444" y="264"/>
                  </a:lnTo>
                  <a:lnTo>
                    <a:pt x="438" y="276"/>
                  </a:lnTo>
                  <a:lnTo>
                    <a:pt x="438" y="288"/>
                  </a:lnTo>
                  <a:lnTo>
                    <a:pt x="432" y="300"/>
                  </a:lnTo>
                  <a:lnTo>
                    <a:pt x="432" y="324"/>
                  </a:lnTo>
                  <a:lnTo>
                    <a:pt x="420" y="324"/>
                  </a:lnTo>
                  <a:lnTo>
                    <a:pt x="414" y="330"/>
                  </a:lnTo>
                  <a:lnTo>
                    <a:pt x="408" y="330"/>
                  </a:lnTo>
                  <a:lnTo>
                    <a:pt x="402" y="336"/>
                  </a:lnTo>
                  <a:lnTo>
                    <a:pt x="396" y="348"/>
                  </a:lnTo>
                  <a:lnTo>
                    <a:pt x="390" y="354"/>
                  </a:lnTo>
                  <a:lnTo>
                    <a:pt x="390" y="360"/>
                  </a:lnTo>
                  <a:lnTo>
                    <a:pt x="366" y="360"/>
                  </a:lnTo>
                  <a:lnTo>
                    <a:pt x="366" y="378"/>
                  </a:lnTo>
                  <a:lnTo>
                    <a:pt x="288" y="378"/>
                  </a:lnTo>
                  <a:lnTo>
                    <a:pt x="288" y="348"/>
                  </a:lnTo>
                  <a:lnTo>
                    <a:pt x="294" y="336"/>
                  </a:lnTo>
                  <a:lnTo>
                    <a:pt x="294" y="330"/>
                  </a:lnTo>
                  <a:lnTo>
                    <a:pt x="300" y="318"/>
                  </a:lnTo>
                  <a:lnTo>
                    <a:pt x="300" y="294"/>
                  </a:lnTo>
                  <a:lnTo>
                    <a:pt x="294" y="288"/>
                  </a:lnTo>
                  <a:lnTo>
                    <a:pt x="294" y="270"/>
                  </a:lnTo>
                  <a:lnTo>
                    <a:pt x="288" y="258"/>
                  </a:lnTo>
                  <a:lnTo>
                    <a:pt x="282" y="240"/>
                  </a:lnTo>
                  <a:lnTo>
                    <a:pt x="276" y="234"/>
                  </a:lnTo>
                  <a:lnTo>
                    <a:pt x="264" y="228"/>
                  </a:lnTo>
                  <a:lnTo>
                    <a:pt x="258" y="222"/>
                  </a:lnTo>
                  <a:lnTo>
                    <a:pt x="246" y="216"/>
                  </a:lnTo>
                  <a:lnTo>
                    <a:pt x="240" y="510"/>
                  </a:lnTo>
                  <a:lnTo>
                    <a:pt x="222" y="510"/>
                  </a:lnTo>
                  <a:lnTo>
                    <a:pt x="210" y="516"/>
                  </a:lnTo>
                  <a:lnTo>
                    <a:pt x="204" y="522"/>
                  </a:lnTo>
                  <a:lnTo>
                    <a:pt x="204" y="528"/>
                  </a:lnTo>
                  <a:lnTo>
                    <a:pt x="192" y="528"/>
                  </a:lnTo>
                  <a:lnTo>
                    <a:pt x="192" y="552"/>
                  </a:lnTo>
                  <a:lnTo>
                    <a:pt x="168" y="552"/>
                  </a:lnTo>
                  <a:lnTo>
                    <a:pt x="156" y="540"/>
                  </a:lnTo>
                  <a:lnTo>
                    <a:pt x="144" y="540"/>
                  </a:lnTo>
                  <a:lnTo>
                    <a:pt x="132" y="552"/>
                  </a:lnTo>
                  <a:lnTo>
                    <a:pt x="108" y="552"/>
                  </a:lnTo>
                  <a:lnTo>
                    <a:pt x="102" y="546"/>
                  </a:lnTo>
                  <a:lnTo>
                    <a:pt x="102" y="540"/>
                  </a:lnTo>
                  <a:lnTo>
                    <a:pt x="96" y="534"/>
                  </a:lnTo>
                  <a:lnTo>
                    <a:pt x="72" y="534"/>
                  </a:lnTo>
                  <a:lnTo>
                    <a:pt x="66" y="528"/>
                  </a:lnTo>
                  <a:lnTo>
                    <a:pt x="60" y="516"/>
                  </a:lnTo>
                  <a:lnTo>
                    <a:pt x="60" y="492"/>
                  </a:lnTo>
                  <a:lnTo>
                    <a:pt x="42" y="474"/>
                  </a:lnTo>
                  <a:lnTo>
                    <a:pt x="36" y="474"/>
                  </a:lnTo>
                  <a:lnTo>
                    <a:pt x="30" y="480"/>
                  </a:lnTo>
                  <a:lnTo>
                    <a:pt x="30" y="486"/>
                  </a:lnTo>
                  <a:lnTo>
                    <a:pt x="24" y="498"/>
                  </a:lnTo>
                  <a:lnTo>
                    <a:pt x="18" y="504"/>
                  </a:lnTo>
                  <a:lnTo>
                    <a:pt x="18" y="510"/>
                  </a:lnTo>
                  <a:lnTo>
                    <a:pt x="0" y="522"/>
                  </a:lnTo>
                  <a:lnTo>
                    <a:pt x="0" y="516"/>
                  </a:lnTo>
                  <a:lnTo>
                    <a:pt x="0" y="528"/>
                  </a:lnTo>
                  <a:lnTo>
                    <a:pt x="6" y="540"/>
                  </a:lnTo>
                  <a:lnTo>
                    <a:pt x="6" y="552"/>
                  </a:lnTo>
                  <a:lnTo>
                    <a:pt x="36" y="582"/>
                  </a:lnTo>
                  <a:lnTo>
                    <a:pt x="42" y="600"/>
                  </a:lnTo>
                  <a:lnTo>
                    <a:pt x="42" y="648"/>
                  </a:lnTo>
                  <a:lnTo>
                    <a:pt x="48" y="672"/>
                  </a:lnTo>
                  <a:lnTo>
                    <a:pt x="54" y="690"/>
                  </a:lnTo>
                  <a:lnTo>
                    <a:pt x="72" y="714"/>
                  </a:lnTo>
                  <a:lnTo>
                    <a:pt x="96" y="738"/>
                  </a:lnTo>
                  <a:lnTo>
                    <a:pt x="114" y="762"/>
                  </a:lnTo>
                  <a:lnTo>
                    <a:pt x="120" y="786"/>
                  </a:lnTo>
                  <a:lnTo>
                    <a:pt x="120" y="834"/>
                  </a:lnTo>
                  <a:lnTo>
                    <a:pt x="114" y="846"/>
                  </a:lnTo>
                  <a:lnTo>
                    <a:pt x="114" y="852"/>
                  </a:lnTo>
                  <a:lnTo>
                    <a:pt x="90" y="852"/>
                  </a:lnTo>
                  <a:lnTo>
                    <a:pt x="90" y="876"/>
                  </a:lnTo>
                  <a:lnTo>
                    <a:pt x="96" y="888"/>
                  </a:lnTo>
                  <a:lnTo>
                    <a:pt x="108" y="906"/>
                  </a:lnTo>
                  <a:lnTo>
                    <a:pt x="114" y="918"/>
                  </a:lnTo>
                  <a:lnTo>
                    <a:pt x="114" y="960"/>
                  </a:lnTo>
                  <a:lnTo>
                    <a:pt x="120" y="972"/>
                  </a:lnTo>
                  <a:lnTo>
                    <a:pt x="120" y="978"/>
                  </a:lnTo>
                  <a:lnTo>
                    <a:pt x="126" y="978"/>
                  </a:lnTo>
                  <a:lnTo>
                    <a:pt x="126" y="972"/>
                  </a:lnTo>
                  <a:lnTo>
                    <a:pt x="132" y="966"/>
                  </a:lnTo>
                  <a:lnTo>
                    <a:pt x="144" y="966"/>
                  </a:lnTo>
                  <a:lnTo>
                    <a:pt x="150" y="972"/>
                  </a:lnTo>
                  <a:lnTo>
                    <a:pt x="180" y="984"/>
                  </a:lnTo>
                  <a:lnTo>
                    <a:pt x="180" y="996"/>
                  </a:lnTo>
                  <a:lnTo>
                    <a:pt x="204" y="1020"/>
                  </a:lnTo>
                  <a:lnTo>
                    <a:pt x="216" y="1020"/>
                  </a:lnTo>
                  <a:lnTo>
                    <a:pt x="240" y="1008"/>
                  </a:lnTo>
                  <a:lnTo>
                    <a:pt x="246" y="996"/>
                  </a:lnTo>
                  <a:lnTo>
                    <a:pt x="252" y="990"/>
                  </a:lnTo>
                  <a:lnTo>
                    <a:pt x="264" y="984"/>
                  </a:lnTo>
                  <a:lnTo>
                    <a:pt x="294" y="984"/>
                  </a:lnTo>
                  <a:lnTo>
                    <a:pt x="306" y="990"/>
                  </a:lnTo>
                  <a:lnTo>
                    <a:pt x="354" y="990"/>
                  </a:lnTo>
                  <a:lnTo>
                    <a:pt x="354" y="984"/>
                  </a:lnTo>
                  <a:lnTo>
                    <a:pt x="360" y="978"/>
                  </a:lnTo>
                  <a:lnTo>
                    <a:pt x="360" y="966"/>
                  </a:lnTo>
                  <a:lnTo>
                    <a:pt x="366" y="960"/>
                  </a:lnTo>
                  <a:lnTo>
                    <a:pt x="378" y="954"/>
                  </a:lnTo>
                  <a:lnTo>
                    <a:pt x="408" y="954"/>
                  </a:lnTo>
                  <a:lnTo>
                    <a:pt x="420" y="960"/>
                  </a:lnTo>
                  <a:lnTo>
                    <a:pt x="432" y="960"/>
                  </a:lnTo>
                  <a:lnTo>
                    <a:pt x="438" y="966"/>
                  </a:lnTo>
                  <a:lnTo>
                    <a:pt x="444" y="960"/>
                  </a:lnTo>
                  <a:lnTo>
                    <a:pt x="456" y="960"/>
                  </a:lnTo>
                  <a:lnTo>
                    <a:pt x="468" y="954"/>
                  </a:lnTo>
                  <a:lnTo>
                    <a:pt x="504" y="954"/>
                  </a:lnTo>
                  <a:lnTo>
                    <a:pt x="522" y="960"/>
                  </a:lnTo>
                  <a:lnTo>
                    <a:pt x="534" y="966"/>
                  </a:lnTo>
                  <a:lnTo>
                    <a:pt x="552" y="966"/>
                  </a:lnTo>
                  <a:lnTo>
                    <a:pt x="558" y="960"/>
                  </a:lnTo>
                  <a:lnTo>
                    <a:pt x="570" y="954"/>
                  </a:lnTo>
                  <a:lnTo>
                    <a:pt x="606" y="954"/>
                  </a:lnTo>
                  <a:lnTo>
                    <a:pt x="618" y="948"/>
                  </a:lnTo>
                  <a:lnTo>
                    <a:pt x="624" y="942"/>
                  </a:lnTo>
                  <a:lnTo>
                    <a:pt x="636" y="936"/>
                  </a:lnTo>
                  <a:lnTo>
                    <a:pt x="684" y="936"/>
                  </a:lnTo>
                  <a:lnTo>
                    <a:pt x="708" y="924"/>
                  </a:lnTo>
                  <a:lnTo>
                    <a:pt x="720" y="912"/>
                  </a:lnTo>
                  <a:lnTo>
                    <a:pt x="738" y="900"/>
                  </a:lnTo>
                  <a:lnTo>
                    <a:pt x="774" y="864"/>
                  </a:lnTo>
                  <a:lnTo>
                    <a:pt x="786" y="858"/>
                  </a:lnTo>
                  <a:lnTo>
                    <a:pt x="804" y="846"/>
                  </a:lnTo>
                  <a:lnTo>
                    <a:pt x="900" y="750"/>
                  </a:lnTo>
                  <a:lnTo>
                    <a:pt x="918" y="750"/>
                  </a:lnTo>
                  <a:lnTo>
                    <a:pt x="924" y="744"/>
                  </a:lnTo>
                  <a:lnTo>
                    <a:pt x="960" y="696"/>
                  </a:lnTo>
                  <a:lnTo>
                    <a:pt x="972" y="672"/>
                  </a:lnTo>
                  <a:lnTo>
                    <a:pt x="984" y="654"/>
                  </a:lnTo>
                  <a:lnTo>
                    <a:pt x="990" y="642"/>
                  </a:lnTo>
                  <a:lnTo>
                    <a:pt x="1002" y="606"/>
                  </a:lnTo>
                  <a:lnTo>
                    <a:pt x="1014" y="588"/>
                  </a:lnTo>
                  <a:lnTo>
                    <a:pt x="1020" y="576"/>
                  </a:lnTo>
                  <a:lnTo>
                    <a:pt x="1026" y="570"/>
                  </a:lnTo>
                  <a:lnTo>
                    <a:pt x="1038" y="564"/>
                  </a:lnTo>
                  <a:lnTo>
                    <a:pt x="1050" y="552"/>
                  </a:lnTo>
                  <a:lnTo>
                    <a:pt x="1068" y="546"/>
                  </a:lnTo>
                  <a:lnTo>
                    <a:pt x="1086" y="534"/>
                  </a:lnTo>
                  <a:lnTo>
                    <a:pt x="1098" y="510"/>
                  </a:lnTo>
                  <a:lnTo>
                    <a:pt x="1098" y="498"/>
                  </a:lnTo>
                  <a:lnTo>
                    <a:pt x="1104" y="486"/>
                  </a:lnTo>
                  <a:lnTo>
                    <a:pt x="1110" y="468"/>
                  </a:lnTo>
                  <a:lnTo>
                    <a:pt x="1116" y="456"/>
                  </a:lnTo>
                  <a:lnTo>
                    <a:pt x="1122" y="450"/>
                  </a:lnTo>
                  <a:lnTo>
                    <a:pt x="1122" y="438"/>
                  </a:lnTo>
                  <a:lnTo>
                    <a:pt x="1128" y="432"/>
                  </a:lnTo>
                  <a:lnTo>
                    <a:pt x="1128" y="414"/>
                  </a:lnTo>
                  <a:lnTo>
                    <a:pt x="1134" y="396"/>
                  </a:lnTo>
                  <a:lnTo>
                    <a:pt x="1128" y="384"/>
                  </a:lnTo>
                  <a:lnTo>
                    <a:pt x="1116" y="372"/>
                  </a:lnTo>
                  <a:close/>
                  <a:moveTo>
                    <a:pt x="870" y="624"/>
                  </a:moveTo>
                  <a:lnTo>
                    <a:pt x="858" y="630"/>
                  </a:lnTo>
                  <a:lnTo>
                    <a:pt x="852" y="636"/>
                  </a:lnTo>
                  <a:lnTo>
                    <a:pt x="840" y="642"/>
                  </a:lnTo>
                  <a:lnTo>
                    <a:pt x="822" y="642"/>
                  </a:lnTo>
                  <a:lnTo>
                    <a:pt x="810" y="648"/>
                  </a:lnTo>
                  <a:lnTo>
                    <a:pt x="804" y="654"/>
                  </a:lnTo>
                  <a:lnTo>
                    <a:pt x="798" y="666"/>
                  </a:lnTo>
                  <a:lnTo>
                    <a:pt x="792" y="672"/>
                  </a:lnTo>
                  <a:lnTo>
                    <a:pt x="792" y="684"/>
                  </a:lnTo>
                  <a:lnTo>
                    <a:pt x="774" y="684"/>
                  </a:lnTo>
                  <a:lnTo>
                    <a:pt x="744" y="654"/>
                  </a:lnTo>
                  <a:lnTo>
                    <a:pt x="744" y="636"/>
                  </a:lnTo>
                  <a:lnTo>
                    <a:pt x="720" y="600"/>
                  </a:lnTo>
                  <a:lnTo>
                    <a:pt x="744" y="600"/>
                  </a:lnTo>
                  <a:lnTo>
                    <a:pt x="750" y="582"/>
                  </a:lnTo>
                  <a:lnTo>
                    <a:pt x="768" y="564"/>
                  </a:lnTo>
                  <a:lnTo>
                    <a:pt x="768" y="546"/>
                  </a:lnTo>
                  <a:lnTo>
                    <a:pt x="774" y="540"/>
                  </a:lnTo>
                  <a:lnTo>
                    <a:pt x="798" y="540"/>
                  </a:lnTo>
                  <a:lnTo>
                    <a:pt x="798" y="528"/>
                  </a:lnTo>
                  <a:lnTo>
                    <a:pt x="810" y="522"/>
                  </a:lnTo>
                  <a:lnTo>
                    <a:pt x="846" y="522"/>
                  </a:lnTo>
                  <a:lnTo>
                    <a:pt x="852" y="528"/>
                  </a:lnTo>
                  <a:lnTo>
                    <a:pt x="858" y="540"/>
                  </a:lnTo>
                  <a:lnTo>
                    <a:pt x="864" y="546"/>
                  </a:lnTo>
                  <a:lnTo>
                    <a:pt x="870" y="558"/>
                  </a:lnTo>
                  <a:lnTo>
                    <a:pt x="882" y="564"/>
                  </a:lnTo>
                  <a:lnTo>
                    <a:pt x="888" y="588"/>
                  </a:lnTo>
                  <a:lnTo>
                    <a:pt x="864" y="606"/>
                  </a:lnTo>
                  <a:lnTo>
                    <a:pt x="870" y="624"/>
                  </a:lnTo>
                  <a:close/>
                </a:path>
              </a:pathLst>
            </a:custGeom>
            <a:solidFill>
              <a:srgbClr val="692864"/>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214" name="Afghanistan" descr="© INSCALE GmbH, 05.05.2010&#10;http://www.presentationload.com/"/>
            <p:cNvSpPr>
              <a:spLocks/>
            </p:cNvSpPr>
            <p:nvPr/>
          </p:nvSpPr>
          <p:spPr bwMode="gray">
            <a:xfrm>
              <a:off x="5867406" y="2828925"/>
              <a:ext cx="365125" cy="296862"/>
            </a:xfrm>
            <a:custGeom>
              <a:avLst/>
              <a:gdLst>
                <a:gd name="T0" fmla="*/ 2147483647 w 906"/>
                <a:gd name="T1" fmla="*/ 2147483647 h 738"/>
                <a:gd name="T2" fmla="*/ 2147483647 w 906"/>
                <a:gd name="T3" fmla="*/ 2147483647 h 738"/>
                <a:gd name="T4" fmla="*/ 2147483647 w 906"/>
                <a:gd name="T5" fmla="*/ 2147483647 h 738"/>
                <a:gd name="T6" fmla="*/ 2147483647 w 906"/>
                <a:gd name="T7" fmla="*/ 2147483647 h 738"/>
                <a:gd name="T8" fmla="*/ 2147483647 w 906"/>
                <a:gd name="T9" fmla="*/ 2147483647 h 738"/>
                <a:gd name="T10" fmla="*/ 2147483647 w 906"/>
                <a:gd name="T11" fmla="*/ 0 h 738"/>
                <a:gd name="T12" fmla="*/ 2147483647 w 906"/>
                <a:gd name="T13" fmla="*/ 2147483647 h 738"/>
                <a:gd name="T14" fmla="*/ 2147483647 w 906"/>
                <a:gd name="T15" fmla="*/ 2147483647 h 738"/>
                <a:gd name="T16" fmla="*/ 2147483647 w 906"/>
                <a:gd name="T17" fmla="*/ 2147483647 h 738"/>
                <a:gd name="T18" fmla="*/ 2147483647 w 906"/>
                <a:gd name="T19" fmla="*/ 2147483647 h 738"/>
                <a:gd name="T20" fmla="*/ 2147483647 w 906"/>
                <a:gd name="T21" fmla="*/ 2147483647 h 738"/>
                <a:gd name="T22" fmla="*/ 2147483647 w 906"/>
                <a:gd name="T23" fmla="*/ 2147483647 h 738"/>
                <a:gd name="T24" fmla="*/ 2147483647 w 906"/>
                <a:gd name="T25" fmla="*/ 2147483647 h 738"/>
                <a:gd name="T26" fmla="*/ 2147483647 w 906"/>
                <a:gd name="T27" fmla="*/ 2147483647 h 738"/>
                <a:gd name="T28" fmla="*/ 2147483647 w 906"/>
                <a:gd name="T29" fmla="*/ 2147483647 h 738"/>
                <a:gd name="T30" fmla="*/ 2147483647 w 906"/>
                <a:gd name="T31" fmla="*/ 2147483647 h 738"/>
                <a:gd name="T32" fmla="*/ 2147483647 w 906"/>
                <a:gd name="T33" fmla="*/ 2147483647 h 738"/>
                <a:gd name="T34" fmla="*/ 2147483647 w 906"/>
                <a:gd name="T35" fmla="*/ 2147483647 h 738"/>
                <a:gd name="T36" fmla="*/ 2147483647 w 906"/>
                <a:gd name="T37" fmla="*/ 2147483647 h 738"/>
                <a:gd name="T38" fmla="*/ 2147483647 w 906"/>
                <a:gd name="T39" fmla="*/ 2147483647 h 738"/>
                <a:gd name="T40" fmla="*/ 2147483647 w 906"/>
                <a:gd name="T41" fmla="*/ 2147483647 h 738"/>
                <a:gd name="T42" fmla="*/ 2147483647 w 906"/>
                <a:gd name="T43" fmla="*/ 2147483647 h 738"/>
                <a:gd name="T44" fmla="*/ 2147483647 w 906"/>
                <a:gd name="T45" fmla="*/ 2147483647 h 738"/>
                <a:gd name="T46" fmla="*/ 0 w 906"/>
                <a:gd name="T47" fmla="*/ 2147483647 h 738"/>
                <a:gd name="T48" fmla="*/ 2147483647 w 906"/>
                <a:gd name="T49" fmla="*/ 2147483647 h 738"/>
                <a:gd name="T50" fmla="*/ 2147483647 w 906"/>
                <a:gd name="T51" fmla="*/ 2147483647 h 738"/>
                <a:gd name="T52" fmla="*/ 2147483647 w 906"/>
                <a:gd name="T53" fmla="*/ 2147483647 h 738"/>
                <a:gd name="T54" fmla="*/ 2147483647 w 906"/>
                <a:gd name="T55" fmla="*/ 2147483647 h 738"/>
                <a:gd name="T56" fmla="*/ 2147483647 w 906"/>
                <a:gd name="T57" fmla="*/ 2147483647 h 738"/>
                <a:gd name="T58" fmla="*/ 2147483647 w 906"/>
                <a:gd name="T59" fmla="*/ 2147483647 h 738"/>
                <a:gd name="T60" fmla="*/ 2147483647 w 906"/>
                <a:gd name="T61" fmla="*/ 2147483647 h 738"/>
                <a:gd name="T62" fmla="*/ 2147483647 w 906"/>
                <a:gd name="T63" fmla="*/ 2147483647 h 738"/>
                <a:gd name="T64" fmla="*/ 2147483647 w 906"/>
                <a:gd name="T65" fmla="*/ 2147483647 h 738"/>
                <a:gd name="T66" fmla="*/ 2147483647 w 906"/>
                <a:gd name="T67" fmla="*/ 2147483647 h 738"/>
                <a:gd name="T68" fmla="*/ 2147483647 w 906"/>
                <a:gd name="T69" fmla="*/ 2147483647 h 738"/>
                <a:gd name="T70" fmla="*/ 2147483647 w 906"/>
                <a:gd name="T71" fmla="*/ 2147483647 h 738"/>
                <a:gd name="T72" fmla="*/ 2147483647 w 906"/>
                <a:gd name="T73" fmla="*/ 2147483647 h 738"/>
                <a:gd name="T74" fmla="*/ 2147483647 w 906"/>
                <a:gd name="T75" fmla="*/ 2147483647 h 738"/>
                <a:gd name="T76" fmla="*/ 2147483647 w 906"/>
                <a:gd name="T77" fmla="*/ 2147483647 h 738"/>
                <a:gd name="T78" fmla="*/ 2147483647 w 906"/>
                <a:gd name="T79" fmla="*/ 2147483647 h 738"/>
                <a:gd name="T80" fmla="*/ 2147483647 w 906"/>
                <a:gd name="T81" fmla="*/ 2147483647 h 738"/>
                <a:gd name="T82" fmla="*/ 2147483647 w 906"/>
                <a:gd name="T83" fmla="*/ 2147483647 h 738"/>
                <a:gd name="T84" fmla="*/ 2147483647 w 906"/>
                <a:gd name="T85" fmla="*/ 2147483647 h 738"/>
                <a:gd name="T86" fmla="*/ 2147483647 w 906"/>
                <a:gd name="T87" fmla="*/ 2147483647 h 738"/>
                <a:gd name="T88" fmla="*/ 2147483647 w 906"/>
                <a:gd name="T89" fmla="*/ 2147483647 h 738"/>
                <a:gd name="T90" fmla="*/ 2147483647 w 906"/>
                <a:gd name="T91" fmla="*/ 2147483647 h 738"/>
                <a:gd name="T92" fmla="*/ 2147483647 w 906"/>
                <a:gd name="T93" fmla="*/ 2147483647 h 738"/>
                <a:gd name="T94" fmla="*/ 2147483647 w 906"/>
                <a:gd name="T95" fmla="*/ 2147483647 h 738"/>
                <a:gd name="T96" fmla="*/ 2147483647 w 906"/>
                <a:gd name="T97" fmla="*/ 2147483647 h 738"/>
                <a:gd name="T98" fmla="*/ 2147483647 w 906"/>
                <a:gd name="T99" fmla="*/ 2147483647 h 738"/>
                <a:gd name="T100" fmla="*/ 2147483647 w 906"/>
                <a:gd name="T101" fmla="*/ 2147483647 h 738"/>
                <a:gd name="T102" fmla="*/ 2147483647 w 906"/>
                <a:gd name="T103" fmla="*/ 2147483647 h 738"/>
                <a:gd name="T104" fmla="*/ 2147483647 w 906"/>
                <a:gd name="T105" fmla="*/ 2147483647 h 738"/>
                <a:gd name="T106" fmla="*/ 2147483647 w 906"/>
                <a:gd name="T107" fmla="*/ 2147483647 h 738"/>
                <a:gd name="T108" fmla="*/ 2147483647 w 906"/>
                <a:gd name="T109" fmla="*/ 2147483647 h 73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06"/>
                <a:gd name="T166" fmla="*/ 0 h 738"/>
                <a:gd name="T167" fmla="*/ 906 w 906"/>
                <a:gd name="T168" fmla="*/ 738 h 73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06" h="738">
                  <a:moveTo>
                    <a:pt x="894" y="108"/>
                  </a:moveTo>
                  <a:lnTo>
                    <a:pt x="894" y="96"/>
                  </a:lnTo>
                  <a:lnTo>
                    <a:pt x="906" y="96"/>
                  </a:lnTo>
                  <a:lnTo>
                    <a:pt x="900" y="90"/>
                  </a:lnTo>
                  <a:lnTo>
                    <a:pt x="876" y="90"/>
                  </a:lnTo>
                  <a:lnTo>
                    <a:pt x="840" y="102"/>
                  </a:lnTo>
                  <a:lnTo>
                    <a:pt x="840" y="84"/>
                  </a:lnTo>
                  <a:lnTo>
                    <a:pt x="816" y="84"/>
                  </a:lnTo>
                  <a:lnTo>
                    <a:pt x="792" y="96"/>
                  </a:lnTo>
                  <a:lnTo>
                    <a:pt x="786" y="102"/>
                  </a:lnTo>
                  <a:lnTo>
                    <a:pt x="780" y="114"/>
                  </a:lnTo>
                  <a:lnTo>
                    <a:pt x="774" y="120"/>
                  </a:lnTo>
                  <a:lnTo>
                    <a:pt x="756" y="120"/>
                  </a:lnTo>
                  <a:lnTo>
                    <a:pt x="750" y="126"/>
                  </a:lnTo>
                  <a:lnTo>
                    <a:pt x="744" y="138"/>
                  </a:lnTo>
                  <a:lnTo>
                    <a:pt x="732" y="144"/>
                  </a:lnTo>
                  <a:lnTo>
                    <a:pt x="726" y="150"/>
                  </a:lnTo>
                  <a:lnTo>
                    <a:pt x="720" y="150"/>
                  </a:lnTo>
                  <a:lnTo>
                    <a:pt x="690" y="120"/>
                  </a:lnTo>
                  <a:lnTo>
                    <a:pt x="690" y="114"/>
                  </a:lnTo>
                  <a:lnTo>
                    <a:pt x="678" y="48"/>
                  </a:lnTo>
                  <a:lnTo>
                    <a:pt x="660" y="48"/>
                  </a:lnTo>
                  <a:lnTo>
                    <a:pt x="660" y="18"/>
                  </a:lnTo>
                  <a:lnTo>
                    <a:pt x="642" y="0"/>
                  </a:lnTo>
                  <a:lnTo>
                    <a:pt x="624" y="0"/>
                  </a:lnTo>
                  <a:lnTo>
                    <a:pt x="618" y="6"/>
                  </a:lnTo>
                  <a:lnTo>
                    <a:pt x="618" y="30"/>
                  </a:lnTo>
                  <a:lnTo>
                    <a:pt x="612" y="36"/>
                  </a:lnTo>
                  <a:lnTo>
                    <a:pt x="606" y="36"/>
                  </a:lnTo>
                  <a:lnTo>
                    <a:pt x="594" y="48"/>
                  </a:lnTo>
                  <a:lnTo>
                    <a:pt x="594" y="54"/>
                  </a:lnTo>
                  <a:lnTo>
                    <a:pt x="600" y="60"/>
                  </a:lnTo>
                  <a:lnTo>
                    <a:pt x="606" y="60"/>
                  </a:lnTo>
                  <a:lnTo>
                    <a:pt x="600" y="84"/>
                  </a:lnTo>
                  <a:lnTo>
                    <a:pt x="588" y="72"/>
                  </a:lnTo>
                  <a:lnTo>
                    <a:pt x="570" y="72"/>
                  </a:lnTo>
                  <a:lnTo>
                    <a:pt x="558" y="78"/>
                  </a:lnTo>
                  <a:lnTo>
                    <a:pt x="546" y="90"/>
                  </a:lnTo>
                  <a:lnTo>
                    <a:pt x="546" y="120"/>
                  </a:lnTo>
                  <a:lnTo>
                    <a:pt x="540" y="120"/>
                  </a:lnTo>
                  <a:lnTo>
                    <a:pt x="534" y="114"/>
                  </a:lnTo>
                  <a:lnTo>
                    <a:pt x="528" y="102"/>
                  </a:lnTo>
                  <a:lnTo>
                    <a:pt x="522" y="96"/>
                  </a:lnTo>
                  <a:lnTo>
                    <a:pt x="510" y="96"/>
                  </a:lnTo>
                  <a:lnTo>
                    <a:pt x="504" y="102"/>
                  </a:lnTo>
                  <a:lnTo>
                    <a:pt x="492" y="108"/>
                  </a:lnTo>
                  <a:lnTo>
                    <a:pt x="474" y="126"/>
                  </a:lnTo>
                  <a:lnTo>
                    <a:pt x="468" y="126"/>
                  </a:lnTo>
                  <a:lnTo>
                    <a:pt x="456" y="114"/>
                  </a:lnTo>
                  <a:lnTo>
                    <a:pt x="444" y="108"/>
                  </a:lnTo>
                  <a:lnTo>
                    <a:pt x="438" y="102"/>
                  </a:lnTo>
                  <a:lnTo>
                    <a:pt x="426" y="102"/>
                  </a:lnTo>
                  <a:lnTo>
                    <a:pt x="414" y="108"/>
                  </a:lnTo>
                  <a:lnTo>
                    <a:pt x="396" y="84"/>
                  </a:lnTo>
                  <a:lnTo>
                    <a:pt x="384" y="96"/>
                  </a:lnTo>
                  <a:lnTo>
                    <a:pt x="342" y="96"/>
                  </a:lnTo>
                  <a:lnTo>
                    <a:pt x="330" y="90"/>
                  </a:lnTo>
                  <a:lnTo>
                    <a:pt x="324" y="84"/>
                  </a:lnTo>
                  <a:lnTo>
                    <a:pt x="312" y="78"/>
                  </a:lnTo>
                  <a:lnTo>
                    <a:pt x="300" y="78"/>
                  </a:lnTo>
                  <a:lnTo>
                    <a:pt x="300" y="102"/>
                  </a:lnTo>
                  <a:lnTo>
                    <a:pt x="264" y="102"/>
                  </a:lnTo>
                  <a:lnTo>
                    <a:pt x="252" y="108"/>
                  </a:lnTo>
                  <a:lnTo>
                    <a:pt x="246" y="120"/>
                  </a:lnTo>
                  <a:lnTo>
                    <a:pt x="246" y="180"/>
                  </a:lnTo>
                  <a:lnTo>
                    <a:pt x="234" y="180"/>
                  </a:lnTo>
                  <a:lnTo>
                    <a:pt x="222" y="186"/>
                  </a:lnTo>
                  <a:lnTo>
                    <a:pt x="216" y="198"/>
                  </a:lnTo>
                  <a:lnTo>
                    <a:pt x="180" y="216"/>
                  </a:lnTo>
                  <a:lnTo>
                    <a:pt x="168" y="216"/>
                  </a:lnTo>
                  <a:lnTo>
                    <a:pt x="168" y="228"/>
                  </a:lnTo>
                  <a:lnTo>
                    <a:pt x="156" y="252"/>
                  </a:lnTo>
                  <a:lnTo>
                    <a:pt x="150" y="258"/>
                  </a:lnTo>
                  <a:lnTo>
                    <a:pt x="138" y="264"/>
                  </a:lnTo>
                  <a:lnTo>
                    <a:pt x="114" y="264"/>
                  </a:lnTo>
                  <a:lnTo>
                    <a:pt x="90" y="240"/>
                  </a:lnTo>
                  <a:lnTo>
                    <a:pt x="84" y="240"/>
                  </a:lnTo>
                  <a:lnTo>
                    <a:pt x="78" y="246"/>
                  </a:lnTo>
                  <a:lnTo>
                    <a:pt x="66" y="246"/>
                  </a:lnTo>
                  <a:lnTo>
                    <a:pt x="60" y="240"/>
                  </a:lnTo>
                  <a:lnTo>
                    <a:pt x="48" y="240"/>
                  </a:lnTo>
                  <a:lnTo>
                    <a:pt x="42" y="234"/>
                  </a:lnTo>
                  <a:lnTo>
                    <a:pt x="36" y="240"/>
                  </a:lnTo>
                  <a:lnTo>
                    <a:pt x="30" y="252"/>
                  </a:lnTo>
                  <a:lnTo>
                    <a:pt x="30" y="258"/>
                  </a:lnTo>
                  <a:lnTo>
                    <a:pt x="36" y="270"/>
                  </a:lnTo>
                  <a:lnTo>
                    <a:pt x="36" y="294"/>
                  </a:lnTo>
                  <a:lnTo>
                    <a:pt x="42" y="300"/>
                  </a:lnTo>
                  <a:lnTo>
                    <a:pt x="42" y="306"/>
                  </a:lnTo>
                  <a:lnTo>
                    <a:pt x="18" y="312"/>
                  </a:lnTo>
                  <a:lnTo>
                    <a:pt x="30" y="330"/>
                  </a:lnTo>
                  <a:lnTo>
                    <a:pt x="24" y="330"/>
                  </a:lnTo>
                  <a:lnTo>
                    <a:pt x="18" y="336"/>
                  </a:lnTo>
                  <a:lnTo>
                    <a:pt x="6" y="342"/>
                  </a:lnTo>
                  <a:lnTo>
                    <a:pt x="0" y="348"/>
                  </a:lnTo>
                  <a:lnTo>
                    <a:pt x="0" y="354"/>
                  </a:lnTo>
                  <a:lnTo>
                    <a:pt x="12" y="366"/>
                  </a:lnTo>
                  <a:lnTo>
                    <a:pt x="12" y="396"/>
                  </a:lnTo>
                  <a:lnTo>
                    <a:pt x="36" y="396"/>
                  </a:lnTo>
                  <a:lnTo>
                    <a:pt x="42" y="402"/>
                  </a:lnTo>
                  <a:lnTo>
                    <a:pt x="42" y="408"/>
                  </a:lnTo>
                  <a:lnTo>
                    <a:pt x="24" y="426"/>
                  </a:lnTo>
                  <a:lnTo>
                    <a:pt x="18" y="438"/>
                  </a:lnTo>
                  <a:lnTo>
                    <a:pt x="30" y="462"/>
                  </a:lnTo>
                  <a:lnTo>
                    <a:pt x="42" y="480"/>
                  </a:lnTo>
                  <a:lnTo>
                    <a:pt x="54" y="504"/>
                  </a:lnTo>
                  <a:lnTo>
                    <a:pt x="60" y="510"/>
                  </a:lnTo>
                  <a:lnTo>
                    <a:pt x="60" y="564"/>
                  </a:lnTo>
                  <a:lnTo>
                    <a:pt x="66" y="570"/>
                  </a:lnTo>
                  <a:lnTo>
                    <a:pt x="72" y="570"/>
                  </a:lnTo>
                  <a:lnTo>
                    <a:pt x="84" y="576"/>
                  </a:lnTo>
                  <a:lnTo>
                    <a:pt x="120" y="576"/>
                  </a:lnTo>
                  <a:lnTo>
                    <a:pt x="126" y="582"/>
                  </a:lnTo>
                  <a:lnTo>
                    <a:pt x="138" y="606"/>
                  </a:lnTo>
                  <a:lnTo>
                    <a:pt x="114" y="654"/>
                  </a:lnTo>
                  <a:lnTo>
                    <a:pt x="108" y="660"/>
                  </a:lnTo>
                  <a:lnTo>
                    <a:pt x="102" y="672"/>
                  </a:lnTo>
                  <a:lnTo>
                    <a:pt x="84" y="690"/>
                  </a:lnTo>
                  <a:lnTo>
                    <a:pt x="84" y="702"/>
                  </a:lnTo>
                  <a:lnTo>
                    <a:pt x="120" y="702"/>
                  </a:lnTo>
                  <a:lnTo>
                    <a:pt x="132" y="708"/>
                  </a:lnTo>
                  <a:lnTo>
                    <a:pt x="150" y="720"/>
                  </a:lnTo>
                  <a:lnTo>
                    <a:pt x="168" y="726"/>
                  </a:lnTo>
                  <a:lnTo>
                    <a:pt x="192" y="738"/>
                  </a:lnTo>
                  <a:lnTo>
                    <a:pt x="210" y="738"/>
                  </a:lnTo>
                  <a:lnTo>
                    <a:pt x="228" y="732"/>
                  </a:lnTo>
                  <a:lnTo>
                    <a:pt x="234" y="732"/>
                  </a:lnTo>
                  <a:lnTo>
                    <a:pt x="240" y="726"/>
                  </a:lnTo>
                  <a:lnTo>
                    <a:pt x="294" y="726"/>
                  </a:lnTo>
                  <a:lnTo>
                    <a:pt x="294" y="732"/>
                  </a:lnTo>
                  <a:lnTo>
                    <a:pt x="318" y="732"/>
                  </a:lnTo>
                  <a:lnTo>
                    <a:pt x="324" y="726"/>
                  </a:lnTo>
                  <a:lnTo>
                    <a:pt x="348" y="726"/>
                  </a:lnTo>
                  <a:lnTo>
                    <a:pt x="366" y="720"/>
                  </a:lnTo>
                  <a:lnTo>
                    <a:pt x="396" y="720"/>
                  </a:lnTo>
                  <a:lnTo>
                    <a:pt x="444" y="696"/>
                  </a:lnTo>
                  <a:lnTo>
                    <a:pt x="450" y="696"/>
                  </a:lnTo>
                  <a:lnTo>
                    <a:pt x="456" y="690"/>
                  </a:lnTo>
                  <a:lnTo>
                    <a:pt x="456" y="660"/>
                  </a:lnTo>
                  <a:lnTo>
                    <a:pt x="450" y="654"/>
                  </a:lnTo>
                  <a:lnTo>
                    <a:pt x="450" y="636"/>
                  </a:lnTo>
                  <a:lnTo>
                    <a:pt x="444" y="624"/>
                  </a:lnTo>
                  <a:lnTo>
                    <a:pt x="444" y="606"/>
                  </a:lnTo>
                  <a:lnTo>
                    <a:pt x="450" y="594"/>
                  </a:lnTo>
                  <a:lnTo>
                    <a:pt x="462" y="588"/>
                  </a:lnTo>
                  <a:lnTo>
                    <a:pt x="468" y="576"/>
                  </a:lnTo>
                  <a:lnTo>
                    <a:pt x="486" y="576"/>
                  </a:lnTo>
                  <a:lnTo>
                    <a:pt x="486" y="588"/>
                  </a:lnTo>
                  <a:lnTo>
                    <a:pt x="528" y="588"/>
                  </a:lnTo>
                  <a:lnTo>
                    <a:pt x="534" y="582"/>
                  </a:lnTo>
                  <a:lnTo>
                    <a:pt x="534" y="576"/>
                  </a:lnTo>
                  <a:lnTo>
                    <a:pt x="528" y="570"/>
                  </a:lnTo>
                  <a:lnTo>
                    <a:pt x="522" y="570"/>
                  </a:lnTo>
                  <a:lnTo>
                    <a:pt x="522" y="564"/>
                  </a:lnTo>
                  <a:lnTo>
                    <a:pt x="528" y="558"/>
                  </a:lnTo>
                  <a:lnTo>
                    <a:pt x="534" y="558"/>
                  </a:lnTo>
                  <a:lnTo>
                    <a:pt x="546" y="552"/>
                  </a:lnTo>
                  <a:lnTo>
                    <a:pt x="552" y="546"/>
                  </a:lnTo>
                  <a:lnTo>
                    <a:pt x="564" y="540"/>
                  </a:lnTo>
                  <a:lnTo>
                    <a:pt x="594" y="540"/>
                  </a:lnTo>
                  <a:lnTo>
                    <a:pt x="594" y="552"/>
                  </a:lnTo>
                  <a:lnTo>
                    <a:pt x="600" y="558"/>
                  </a:lnTo>
                  <a:lnTo>
                    <a:pt x="612" y="558"/>
                  </a:lnTo>
                  <a:lnTo>
                    <a:pt x="624" y="552"/>
                  </a:lnTo>
                  <a:lnTo>
                    <a:pt x="630" y="540"/>
                  </a:lnTo>
                  <a:lnTo>
                    <a:pt x="636" y="534"/>
                  </a:lnTo>
                  <a:lnTo>
                    <a:pt x="636" y="528"/>
                  </a:lnTo>
                  <a:lnTo>
                    <a:pt x="630" y="522"/>
                  </a:lnTo>
                  <a:lnTo>
                    <a:pt x="630" y="510"/>
                  </a:lnTo>
                  <a:lnTo>
                    <a:pt x="624" y="498"/>
                  </a:lnTo>
                  <a:lnTo>
                    <a:pt x="624" y="480"/>
                  </a:lnTo>
                  <a:lnTo>
                    <a:pt x="630" y="474"/>
                  </a:lnTo>
                  <a:lnTo>
                    <a:pt x="636" y="474"/>
                  </a:lnTo>
                  <a:lnTo>
                    <a:pt x="636" y="438"/>
                  </a:lnTo>
                  <a:lnTo>
                    <a:pt x="642" y="432"/>
                  </a:lnTo>
                  <a:lnTo>
                    <a:pt x="660" y="432"/>
                  </a:lnTo>
                  <a:lnTo>
                    <a:pt x="690" y="414"/>
                  </a:lnTo>
                  <a:lnTo>
                    <a:pt x="684" y="414"/>
                  </a:lnTo>
                  <a:lnTo>
                    <a:pt x="672" y="408"/>
                  </a:lnTo>
                  <a:lnTo>
                    <a:pt x="672" y="402"/>
                  </a:lnTo>
                  <a:lnTo>
                    <a:pt x="666" y="396"/>
                  </a:lnTo>
                  <a:lnTo>
                    <a:pt x="666" y="390"/>
                  </a:lnTo>
                  <a:lnTo>
                    <a:pt x="654" y="384"/>
                  </a:lnTo>
                  <a:lnTo>
                    <a:pt x="642" y="372"/>
                  </a:lnTo>
                  <a:lnTo>
                    <a:pt x="642" y="360"/>
                  </a:lnTo>
                  <a:lnTo>
                    <a:pt x="660" y="360"/>
                  </a:lnTo>
                  <a:lnTo>
                    <a:pt x="666" y="366"/>
                  </a:lnTo>
                  <a:lnTo>
                    <a:pt x="684" y="372"/>
                  </a:lnTo>
                  <a:lnTo>
                    <a:pt x="690" y="372"/>
                  </a:lnTo>
                  <a:lnTo>
                    <a:pt x="696" y="366"/>
                  </a:lnTo>
                  <a:lnTo>
                    <a:pt x="714" y="366"/>
                  </a:lnTo>
                  <a:lnTo>
                    <a:pt x="714" y="336"/>
                  </a:lnTo>
                  <a:lnTo>
                    <a:pt x="708" y="330"/>
                  </a:lnTo>
                  <a:lnTo>
                    <a:pt x="708" y="318"/>
                  </a:lnTo>
                  <a:lnTo>
                    <a:pt x="714" y="306"/>
                  </a:lnTo>
                  <a:lnTo>
                    <a:pt x="738" y="282"/>
                  </a:lnTo>
                  <a:lnTo>
                    <a:pt x="738" y="276"/>
                  </a:lnTo>
                  <a:lnTo>
                    <a:pt x="732" y="264"/>
                  </a:lnTo>
                  <a:lnTo>
                    <a:pt x="726" y="258"/>
                  </a:lnTo>
                  <a:lnTo>
                    <a:pt x="726" y="228"/>
                  </a:lnTo>
                  <a:lnTo>
                    <a:pt x="696" y="198"/>
                  </a:lnTo>
                  <a:lnTo>
                    <a:pt x="696" y="192"/>
                  </a:lnTo>
                  <a:lnTo>
                    <a:pt x="702" y="186"/>
                  </a:lnTo>
                  <a:lnTo>
                    <a:pt x="708" y="174"/>
                  </a:lnTo>
                  <a:lnTo>
                    <a:pt x="714" y="168"/>
                  </a:lnTo>
                  <a:lnTo>
                    <a:pt x="738" y="156"/>
                  </a:lnTo>
                  <a:lnTo>
                    <a:pt x="744" y="150"/>
                  </a:lnTo>
                  <a:lnTo>
                    <a:pt x="768" y="138"/>
                  </a:lnTo>
                  <a:lnTo>
                    <a:pt x="774" y="138"/>
                  </a:lnTo>
                  <a:lnTo>
                    <a:pt x="780" y="132"/>
                  </a:lnTo>
                  <a:lnTo>
                    <a:pt x="822" y="132"/>
                  </a:lnTo>
                  <a:lnTo>
                    <a:pt x="828" y="126"/>
                  </a:lnTo>
                  <a:lnTo>
                    <a:pt x="852" y="126"/>
                  </a:lnTo>
                  <a:lnTo>
                    <a:pt x="864" y="132"/>
                  </a:lnTo>
                  <a:lnTo>
                    <a:pt x="876" y="132"/>
                  </a:lnTo>
                  <a:lnTo>
                    <a:pt x="882" y="126"/>
                  </a:lnTo>
                  <a:lnTo>
                    <a:pt x="894" y="126"/>
                  </a:lnTo>
                  <a:lnTo>
                    <a:pt x="900" y="120"/>
                  </a:lnTo>
                  <a:lnTo>
                    <a:pt x="894" y="114"/>
                  </a:lnTo>
                  <a:lnTo>
                    <a:pt x="894" y="108"/>
                  </a:lnTo>
                  <a:close/>
                </a:path>
              </a:pathLst>
            </a:custGeom>
            <a:solidFill>
              <a:srgbClr val="FFC000"/>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grpSp>
          <p:nvGrpSpPr>
            <p:cNvPr id="215" name="Group 340"/>
            <p:cNvGrpSpPr>
              <a:grpSpLocks/>
            </p:cNvGrpSpPr>
            <p:nvPr/>
          </p:nvGrpSpPr>
          <p:grpSpPr bwMode="gray">
            <a:xfrm>
              <a:off x="4724404" y="2584451"/>
              <a:ext cx="111125" cy="136525"/>
              <a:chOff x="2184" y="1242"/>
              <a:chExt cx="257" cy="316"/>
            </a:xfrm>
            <a:grpFill/>
          </p:grpSpPr>
          <p:sp>
            <p:nvSpPr>
              <p:cNvPr id="218" name="Freeform 341" descr="© INSCALE GmbH, 05.05.2010&#10;http://www.presentationload.com/"/>
              <p:cNvSpPr>
                <a:spLocks/>
              </p:cNvSpPr>
              <p:nvPr/>
            </p:nvSpPr>
            <p:spPr bwMode="gray">
              <a:xfrm>
                <a:off x="2184" y="1242"/>
                <a:ext cx="257" cy="282"/>
              </a:xfrm>
              <a:custGeom>
                <a:avLst/>
                <a:gdLst/>
                <a:ahLst/>
                <a:cxnLst>
                  <a:cxn ang="0">
                    <a:pos x="464" y="374"/>
                  </a:cxn>
                  <a:cxn ang="0">
                    <a:pos x="453" y="310"/>
                  </a:cxn>
                  <a:cxn ang="0">
                    <a:pos x="453" y="235"/>
                  </a:cxn>
                  <a:cxn ang="0">
                    <a:pos x="378" y="224"/>
                  </a:cxn>
                  <a:cxn ang="0">
                    <a:pos x="302" y="171"/>
                  </a:cxn>
                  <a:cxn ang="0">
                    <a:pos x="291" y="118"/>
                  </a:cxn>
                  <a:cxn ang="0">
                    <a:pos x="259" y="128"/>
                  </a:cxn>
                  <a:cxn ang="0">
                    <a:pos x="216" y="53"/>
                  </a:cxn>
                  <a:cxn ang="0">
                    <a:pos x="87" y="0"/>
                  </a:cxn>
                  <a:cxn ang="0">
                    <a:pos x="0" y="43"/>
                  </a:cxn>
                  <a:cxn ang="0">
                    <a:pos x="32" y="96"/>
                  </a:cxn>
                  <a:cxn ang="0">
                    <a:pos x="65" y="139"/>
                  </a:cxn>
                  <a:cxn ang="0">
                    <a:pos x="54" y="150"/>
                  </a:cxn>
                  <a:cxn ang="0">
                    <a:pos x="32" y="181"/>
                  </a:cxn>
                  <a:cxn ang="0">
                    <a:pos x="32" y="192"/>
                  </a:cxn>
                  <a:cxn ang="0">
                    <a:pos x="76" y="203"/>
                  </a:cxn>
                  <a:cxn ang="0">
                    <a:pos x="87" y="267"/>
                  </a:cxn>
                  <a:cxn ang="0">
                    <a:pos x="65" y="310"/>
                  </a:cxn>
                  <a:cxn ang="0">
                    <a:pos x="98" y="363"/>
                  </a:cxn>
                  <a:cxn ang="0">
                    <a:pos x="119" y="395"/>
                  </a:cxn>
                  <a:cxn ang="0">
                    <a:pos x="157" y="442"/>
                  </a:cxn>
                  <a:cxn ang="0">
                    <a:pos x="173" y="438"/>
                  </a:cxn>
                  <a:cxn ang="0">
                    <a:pos x="180" y="444"/>
                  </a:cxn>
                  <a:cxn ang="0">
                    <a:pos x="230" y="446"/>
                  </a:cxn>
                  <a:cxn ang="0">
                    <a:pos x="237" y="431"/>
                  </a:cxn>
                  <a:cxn ang="0">
                    <a:pos x="258" y="416"/>
                  </a:cxn>
                  <a:cxn ang="0">
                    <a:pos x="266" y="418"/>
                  </a:cxn>
                  <a:cxn ang="0">
                    <a:pos x="268" y="407"/>
                  </a:cxn>
                  <a:cxn ang="0">
                    <a:pos x="267" y="399"/>
                  </a:cxn>
                  <a:cxn ang="0">
                    <a:pos x="254" y="388"/>
                  </a:cxn>
                  <a:cxn ang="0">
                    <a:pos x="262" y="387"/>
                  </a:cxn>
                  <a:cxn ang="0">
                    <a:pos x="279" y="380"/>
                  </a:cxn>
                  <a:cxn ang="0">
                    <a:pos x="288" y="372"/>
                  </a:cxn>
                  <a:cxn ang="0">
                    <a:pos x="298" y="389"/>
                  </a:cxn>
                  <a:cxn ang="0">
                    <a:pos x="292" y="399"/>
                  </a:cxn>
                  <a:cxn ang="0">
                    <a:pos x="309" y="402"/>
                  </a:cxn>
                  <a:cxn ang="0">
                    <a:pos x="321" y="404"/>
                  </a:cxn>
                  <a:cxn ang="0">
                    <a:pos x="326" y="408"/>
                  </a:cxn>
                  <a:cxn ang="0">
                    <a:pos x="328" y="433"/>
                  </a:cxn>
                  <a:cxn ang="0">
                    <a:pos x="334" y="429"/>
                  </a:cxn>
                  <a:cxn ang="0">
                    <a:pos x="335" y="448"/>
                  </a:cxn>
                  <a:cxn ang="0">
                    <a:pos x="348" y="452"/>
                  </a:cxn>
                  <a:cxn ang="0">
                    <a:pos x="356" y="467"/>
                  </a:cxn>
                  <a:cxn ang="0">
                    <a:pos x="354" y="478"/>
                  </a:cxn>
                  <a:cxn ang="0">
                    <a:pos x="356" y="482"/>
                  </a:cxn>
                  <a:cxn ang="0">
                    <a:pos x="369" y="485"/>
                  </a:cxn>
                  <a:cxn ang="0">
                    <a:pos x="381" y="492"/>
                  </a:cxn>
                  <a:cxn ang="0">
                    <a:pos x="390" y="496"/>
                  </a:cxn>
                  <a:cxn ang="0">
                    <a:pos x="399" y="501"/>
                  </a:cxn>
                  <a:cxn ang="0">
                    <a:pos x="392" y="513"/>
                  </a:cxn>
                  <a:cxn ang="0">
                    <a:pos x="384" y="528"/>
                  </a:cxn>
                  <a:cxn ang="0">
                    <a:pos x="376" y="542"/>
                  </a:cxn>
                  <a:cxn ang="0">
                    <a:pos x="453" y="492"/>
                  </a:cxn>
                  <a:cxn ang="0">
                    <a:pos x="486" y="470"/>
                  </a:cxn>
                  <a:cxn ang="0">
                    <a:pos x="486" y="406"/>
                  </a:cxn>
                </a:cxnLst>
                <a:rect l="0" t="0" r="r" b="b"/>
                <a:pathLst>
                  <a:path w="496" h="542">
                    <a:moveTo>
                      <a:pt x="486" y="406"/>
                    </a:moveTo>
                    <a:cubicBezTo>
                      <a:pt x="453" y="395"/>
                      <a:pt x="453" y="395"/>
                      <a:pt x="453" y="395"/>
                    </a:cubicBezTo>
                    <a:cubicBezTo>
                      <a:pt x="464" y="374"/>
                      <a:pt x="464" y="374"/>
                      <a:pt x="464" y="374"/>
                    </a:cubicBezTo>
                    <a:cubicBezTo>
                      <a:pt x="432" y="363"/>
                      <a:pt x="432" y="363"/>
                      <a:pt x="432" y="363"/>
                    </a:cubicBezTo>
                    <a:cubicBezTo>
                      <a:pt x="432" y="331"/>
                      <a:pt x="432" y="331"/>
                      <a:pt x="432" y="331"/>
                    </a:cubicBezTo>
                    <a:cubicBezTo>
                      <a:pt x="453" y="310"/>
                      <a:pt x="453" y="310"/>
                      <a:pt x="453" y="310"/>
                    </a:cubicBezTo>
                    <a:cubicBezTo>
                      <a:pt x="453" y="267"/>
                      <a:pt x="453" y="267"/>
                      <a:pt x="453" y="267"/>
                    </a:cubicBezTo>
                    <a:cubicBezTo>
                      <a:pt x="442" y="256"/>
                      <a:pt x="442" y="256"/>
                      <a:pt x="442" y="256"/>
                    </a:cubicBezTo>
                    <a:cubicBezTo>
                      <a:pt x="453" y="235"/>
                      <a:pt x="453" y="235"/>
                      <a:pt x="453" y="235"/>
                    </a:cubicBezTo>
                    <a:cubicBezTo>
                      <a:pt x="464" y="224"/>
                      <a:pt x="464" y="224"/>
                      <a:pt x="464" y="224"/>
                    </a:cubicBezTo>
                    <a:cubicBezTo>
                      <a:pt x="421" y="213"/>
                      <a:pt x="421" y="213"/>
                      <a:pt x="421" y="213"/>
                    </a:cubicBezTo>
                    <a:cubicBezTo>
                      <a:pt x="378" y="224"/>
                      <a:pt x="378" y="224"/>
                      <a:pt x="378" y="224"/>
                    </a:cubicBezTo>
                    <a:cubicBezTo>
                      <a:pt x="367" y="213"/>
                      <a:pt x="367" y="213"/>
                      <a:pt x="367" y="213"/>
                    </a:cubicBezTo>
                    <a:cubicBezTo>
                      <a:pt x="324" y="203"/>
                      <a:pt x="324" y="203"/>
                      <a:pt x="324" y="203"/>
                    </a:cubicBezTo>
                    <a:cubicBezTo>
                      <a:pt x="302" y="171"/>
                      <a:pt x="302" y="171"/>
                      <a:pt x="302" y="171"/>
                    </a:cubicBezTo>
                    <a:cubicBezTo>
                      <a:pt x="313" y="160"/>
                      <a:pt x="313" y="160"/>
                      <a:pt x="313" y="160"/>
                    </a:cubicBezTo>
                    <a:cubicBezTo>
                      <a:pt x="313" y="128"/>
                      <a:pt x="313" y="128"/>
                      <a:pt x="313" y="128"/>
                    </a:cubicBezTo>
                    <a:cubicBezTo>
                      <a:pt x="291" y="118"/>
                      <a:pt x="291" y="118"/>
                      <a:pt x="291" y="118"/>
                    </a:cubicBezTo>
                    <a:cubicBezTo>
                      <a:pt x="280" y="118"/>
                      <a:pt x="280" y="118"/>
                      <a:pt x="280" y="118"/>
                    </a:cubicBezTo>
                    <a:cubicBezTo>
                      <a:pt x="270" y="128"/>
                      <a:pt x="270" y="128"/>
                      <a:pt x="270" y="128"/>
                    </a:cubicBezTo>
                    <a:cubicBezTo>
                      <a:pt x="259" y="128"/>
                      <a:pt x="259" y="128"/>
                      <a:pt x="259" y="128"/>
                    </a:cubicBezTo>
                    <a:cubicBezTo>
                      <a:pt x="249" y="118"/>
                      <a:pt x="249" y="118"/>
                      <a:pt x="249" y="118"/>
                    </a:cubicBezTo>
                    <a:cubicBezTo>
                      <a:pt x="227" y="53"/>
                      <a:pt x="227" y="53"/>
                      <a:pt x="227" y="53"/>
                    </a:cubicBezTo>
                    <a:cubicBezTo>
                      <a:pt x="216" y="53"/>
                      <a:pt x="216" y="53"/>
                      <a:pt x="216" y="53"/>
                    </a:cubicBezTo>
                    <a:cubicBezTo>
                      <a:pt x="173" y="21"/>
                      <a:pt x="173" y="21"/>
                      <a:pt x="173" y="21"/>
                    </a:cubicBezTo>
                    <a:cubicBezTo>
                      <a:pt x="129" y="0"/>
                      <a:pt x="129" y="0"/>
                      <a:pt x="129" y="0"/>
                    </a:cubicBezTo>
                    <a:cubicBezTo>
                      <a:pt x="87" y="0"/>
                      <a:pt x="87" y="0"/>
                      <a:pt x="87" y="0"/>
                    </a:cubicBezTo>
                    <a:cubicBezTo>
                      <a:pt x="54" y="32"/>
                      <a:pt x="54" y="32"/>
                      <a:pt x="54" y="32"/>
                    </a:cubicBezTo>
                    <a:cubicBezTo>
                      <a:pt x="11" y="32"/>
                      <a:pt x="11" y="32"/>
                      <a:pt x="11" y="32"/>
                    </a:cubicBezTo>
                    <a:cubicBezTo>
                      <a:pt x="0" y="43"/>
                      <a:pt x="0" y="43"/>
                      <a:pt x="0" y="43"/>
                    </a:cubicBezTo>
                    <a:cubicBezTo>
                      <a:pt x="11" y="43"/>
                      <a:pt x="11" y="43"/>
                      <a:pt x="11" y="43"/>
                    </a:cubicBezTo>
                    <a:cubicBezTo>
                      <a:pt x="22" y="96"/>
                      <a:pt x="22" y="96"/>
                      <a:pt x="22" y="96"/>
                    </a:cubicBezTo>
                    <a:cubicBezTo>
                      <a:pt x="32" y="96"/>
                      <a:pt x="32" y="96"/>
                      <a:pt x="32" y="96"/>
                    </a:cubicBezTo>
                    <a:cubicBezTo>
                      <a:pt x="22" y="128"/>
                      <a:pt x="22" y="128"/>
                      <a:pt x="22" y="128"/>
                    </a:cubicBezTo>
                    <a:cubicBezTo>
                      <a:pt x="43" y="128"/>
                      <a:pt x="43" y="128"/>
                      <a:pt x="43" y="128"/>
                    </a:cubicBezTo>
                    <a:cubicBezTo>
                      <a:pt x="65" y="139"/>
                      <a:pt x="65" y="139"/>
                      <a:pt x="65" y="139"/>
                    </a:cubicBezTo>
                    <a:cubicBezTo>
                      <a:pt x="76" y="139"/>
                      <a:pt x="76" y="139"/>
                      <a:pt x="76" y="139"/>
                    </a:cubicBezTo>
                    <a:cubicBezTo>
                      <a:pt x="65" y="150"/>
                      <a:pt x="65" y="150"/>
                      <a:pt x="65" y="150"/>
                    </a:cubicBezTo>
                    <a:cubicBezTo>
                      <a:pt x="54" y="150"/>
                      <a:pt x="54" y="150"/>
                      <a:pt x="54" y="150"/>
                    </a:cubicBezTo>
                    <a:cubicBezTo>
                      <a:pt x="43" y="160"/>
                      <a:pt x="43" y="160"/>
                      <a:pt x="43" y="160"/>
                    </a:cubicBezTo>
                    <a:cubicBezTo>
                      <a:pt x="32" y="160"/>
                      <a:pt x="32" y="160"/>
                      <a:pt x="32" y="160"/>
                    </a:cubicBezTo>
                    <a:cubicBezTo>
                      <a:pt x="32" y="181"/>
                      <a:pt x="32" y="181"/>
                      <a:pt x="32" y="181"/>
                    </a:cubicBezTo>
                    <a:cubicBezTo>
                      <a:pt x="22" y="181"/>
                      <a:pt x="22" y="181"/>
                      <a:pt x="22" y="181"/>
                    </a:cubicBezTo>
                    <a:cubicBezTo>
                      <a:pt x="22" y="192"/>
                      <a:pt x="22" y="192"/>
                      <a:pt x="22" y="192"/>
                    </a:cubicBezTo>
                    <a:cubicBezTo>
                      <a:pt x="32" y="192"/>
                      <a:pt x="32" y="192"/>
                      <a:pt x="32" y="192"/>
                    </a:cubicBezTo>
                    <a:cubicBezTo>
                      <a:pt x="54" y="181"/>
                      <a:pt x="54" y="181"/>
                      <a:pt x="54" y="181"/>
                    </a:cubicBezTo>
                    <a:cubicBezTo>
                      <a:pt x="76" y="181"/>
                      <a:pt x="76" y="181"/>
                      <a:pt x="76" y="181"/>
                    </a:cubicBezTo>
                    <a:cubicBezTo>
                      <a:pt x="76" y="203"/>
                      <a:pt x="76" y="203"/>
                      <a:pt x="76" y="203"/>
                    </a:cubicBezTo>
                    <a:cubicBezTo>
                      <a:pt x="43" y="235"/>
                      <a:pt x="43" y="235"/>
                      <a:pt x="43" y="235"/>
                    </a:cubicBezTo>
                    <a:cubicBezTo>
                      <a:pt x="43" y="267"/>
                      <a:pt x="43" y="267"/>
                      <a:pt x="43" y="267"/>
                    </a:cubicBezTo>
                    <a:cubicBezTo>
                      <a:pt x="87" y="267"/>
                      <a:pt x="87" y="267"/>
                      <a:pt x="87" y="267"/>
                    </a:cubicBezTo>
                    <a:cubicBezTo>
                      <a:pt x="98" y="278"/>
                      <a:pt x="98" y="278"/>
                      <a:pt x="98" y="278"/>
                    </a:cubicBezTo>
                    <a:cubicBezTo>
                      <a:pt x="108" y="299"/>
                      <a:pt x="108" y="299"/>
                      <a:pt x="108" y="299"/>
                    </a:cubicBezTo>
                    <a:cubicBezTo>
                      <a:pt x="65" y="310"/>
                      <a:pt x="65" y="310"/>
                      <a:pt x="65" y="310"/>
                    </a:cubicBezTo>
                    <a:cubicBezTo>
                      <a:pt x="87" y="331"/>
                      <a:pt x="87" y="331"/>
                      <a:pt x="87" y="331"/>
                    </a:cubicBezTo>
                    <a:cubicBezTo>
                      <a:pt x="98" y="353"/>
                      <a:pt x="98" y="353"/>
                      <a:pt x="98" y="353"/>
                    </a:cubicBezTo>
                    <a:cubicBezTo>
                      <a:pt x="98" y="363"/>
                      <a:pt x="98" y="363"/>
                      <a:pt x="98" y="363"/>
                    </a:cubicBezTo>
                    <a:cubicBezTo>
                      <a:pt x="87" y="363"/>
                      <a:pt x="87" y="363"/>
                      <a:pt x="87" y="363"/>
                    </a:cubicBezTo>
                    <a:cubicBezTo>
                      <a:pt x="87" y="374"/>
                      <a:pt x="87" y="374"/>
                      <a:pt x="87" y="374"/>
                    </a:cubicBezTo>
                    <a:cubicBezTo>
                      <a:pt x="119" y="395"/>
                      <a:pt x="119" y="395"/>
                      <a:pt x="119" y="395"/>
                    </a:cubicBezTo>
                    <a:cubicBezTo>
                      <a:pt x="140" y="417"/>
                      <a:pt x="140" y="417"/>
                      <a:pt x="140" y="417"/>
                    </a:cubicBezTo>
                    <a:cubicBezTo>
                      <a:pt x="157" y="442"/>
                      <a:pt x="157" y="442"/>
                      <a:pt x="157" y="442"/>
                    </a:cubicBezTo>
                    <a:cubicBezTo>
                      <a:pt x="157" y="442"/>
                      <a:pt x="157" y="442"/>
                      <a:pt x="157" y="442"/>
                    </a:cubicBezTo>
                    <a:cubicBezTo>
                      <a:pt x="159" y="442"/>
                      <a:pt x="161" y="443"/>
                      <a:pt x="166" y="444"/>
                    </a:cubicBezTo>
                    <a:cubicBezTo>
                      <a:pt x="166" y="444"/>
                      <a:pt x="166" y="444"/>
                      <a:pt x="167" y="444"/>
                    </a:cubicBezTo>
                    <a:cubicBezTo>
                      <a:pt x="173" y="438"/>
                      <a:pt x="173" y="438"/>
                      <a:pt x="173" y="438"/>
                    </a:cubicBezTo>
                    <a:cubicBezTo>
                      <a:pt x="173" y="447"/>
                      <a:pt x="173" y="447"/>
                      <a:pt x="173" y="447"/>
                    </a:cubicBezTo>
                    <a:cubicBezTo>
                      <a:pt x="174" y="448"/>
                      <a:pt x="175" y="448"/>
                      <a:pt x="176" y="449"/>
                    </a:cubicBezTo>
                    <a:cubicBezTo>
                      <a:pt x="176" y="449"/>
                      <a:pt x="176" y="449"/>
                      <a:pt x="180" y="444"/>
                    </a:cubicBezTo>
                    <a:cubicBezTo>
                      <a:pt x="180" y="444"/>
                      <a:pt x="180" y="444"/>
                      <a:pt x="199" y="447"/>
                    </a:cubicBezTo>
                    <a:cubicBezTo>
                      <a:pt x="199" y="447"/>
                      <a:pt x="199" y="447"/>
                      <a:pt x="212" y="446"/>
                    </a:cubicBezTo>
                    <a:cubicBezTo>
                      <a:pt x="212" y="446"/>
                      <a:pt x="212" y="446"/>
                      <a:pt x="230" y="446"/>
                    </a:cubicBezTo>
                    <a:cubicBezTo>
                      <a:pt x="230" y="446"/>
                      <a:pt x="230" y="446"/>
                      <a:pt x="240" y="443"/>
                    </a:cubicBezTo>
                    <a:cubicBezTo>
                      <a:pt x="240" y="443"/>
                      <a:pt x="240" y="443"/>
                      <a:pt x="239" y="437"/>
                    </a:cubicBezTo>
                    <a:cubicBezTo>
                      <a:pt x="239" y="437"/>
                      <a:pt x="239" y="437"/>
                      <a:pt x="237" y="431"/>
                    </a:cubicBezTo>
                    <a:cubicBezTo>
                      <a:pt x="237" y="431"/>
                      <a:pt x="237" y="431"/>
                      <a:pt x="245" y="425"/>
                    </a:cubicBezTo>
                    <a:cubicBezTo>
                      <a:pt x="245" y="425"/>
                      <a:pt x="245" y="425"/>
                      <a:pt x="255" y="417"/>
                    </a:cubicBezTo>
                    <a:cubicBezTo>
                      <a:pt x="255" y="417"/>
                      <a:pt x="255" y="417"/>
                      <a:pt x="258" y="416"/>
                    </a:cubicBezTo>
                    <a:cubicBezTo>
                      <a:pt x="258" y="416"/>
                      <a:pt x="258" y="416"/>
                      <a:pt x="258" y="421"/>
                    </a:cubicBezTo>
                    <a:cubicBezTo>
                      <a:pt x="258" y="421"/>
                      <a:pt x="258" y="421"/>
                      <a:pt x="262" y="419"/>
                    </a:cubicBezTo>
                    <a:cubicBezTo>
                      <a:pt x="262" y="419"/>
                      <a:pt x="262" y="419"/>
                      <a:pt x="266" y="418"/>
                    </a:cubicBezTo>
                    <a:cubicBezTo>
                      <a:pt x="266" y="418"/>
                      <a:pt x="266" y="418"/>
                      <a:pt x="263" y="414"/>
                    </a:cubicBezTo>
                    <a:cubicBezTo>
                      <a:pt x="263" y="414"/>
                      <a:pt x="263" y="414"/>
                      <a:pt x="267" y="412"/>
                    </a:cubicBezTo>
                    <a:cubicBezTo>
                      <a:pt x="267" y="412"/>
                      <a:pt x="267" y="412"/>
                      <a:pt x="268" y="407"/>
                    </a:cubicBezTo>
                    <a:cubicBezTo>
                      <a:pt x="268" y="407"/>
                      <a:pt x="268" y="407"/>
                      <a:pt x="264" y="405"/>
                    </a:cubicBezTo>
                    <a:cubicBezTo>
                      <a:pt x="264" y="405"/>
                      <a:pt x="264" y="405"/>
                      <a:pt x="264" y="402"/>
                    </a:cubicBezTo>
                    <a:cubicBezTo>
                      <a:pt x="264" y="402"/>
                      <a:pt x="264" y="402"/>
                      <a:pt x="267" y="399"/>
                    </a:cubicBezTo>
                    <a:cubicBezTo>
                      <a:pt x="267" y="399"/>
                      <a:pt x="267" y="399"/>
                      <a:pt x="266" y="396"/>
                    </a:cubicBezTo>
                    <a:cubicBezTo>
                      <a:pt x="266" y="396"/>
                      <a:pt x="266" y="396"/>
                      <a:pt x="258" y="394"/>
                    </a:cubicBezTo>
                    <a:cubicBezTo>
                      <a:pt x="258" y="394"/>
                      <a:pt x="258" y="394"/>
                      <a:pt x="254" y="388"/>
                    </a:cubicBezTo>
                    <a:cubicBezTo>
                      <a:pt x="254" y="388"/>
                      <a:pt x="254" y="388"/>
                      <a:pt x="256" y="385"/>
                    </a:cubicBezTo>
                    <a:cubicBezTo>
                      <a:pt x="256" y="385"/>
                      <a:pt x="256" y="385"/>
                      <a:pt x="259" y="389"/>
                    </a:cubicBezTo>
                    <a:cubicBezTo>
                      <a:pt x="259" y="389"/>
                      <a:pt x="259" y="389"/>
                      <a:pt x="262" y="387"/>
                    </a:cubicBezTo>
                    <a:cubicBezTo>
                      <a:pt x="262" y="387"/>
                      <a:pt x="262" y="387"/>
                      <a:pt x="267" y="388"/>
                    </a:cubicBezTo>
                    <a:cubicBezTo>
                      <a:pt x="267" y="388"/>
                      <a:pt x="267" y="388"/>
                      <a:pt x="271" y="385"/>
                    </a:cubicBezTo>
                    <a:cubicBezTo>
                      <a:pt x="271" y="385"/>
                      <a:pt x="271" y="385"/>
                      <a:pt x="279" y="380"/>
                    </a:cubicBezTo>
                    <a:cubicBezTo>
                      <a:pt x="279" y="380"/>
                      <a:pt x="279" y="380"/>
                      <a:pt x="282" y="378"/>
                    </a:cubicBezTo>
                    <a:cubicBezTo>
                      <a:pt x="282" y="378"/>
                      <a:pt x="282" y="378"/>
                      <a:pt x="283" y="374"/>
                    </a:cubicBezTo>
                    <a:cubicBezTo>
                      <a:pt x="283" y="374"/>
                      <a:pt x="283" y="374"/>
                      <a:pt x="288" y="372"/>
                    </a:cubicBezTo>
                    <a:cubicBezTo>
                      <a:pt x="288" y="372"/>
                      <a:pt x="288" y="372"/>
                      <a:pt x="293" y="377"/>
                    </a:cubicBezTo>
                    <a:cubicBezTo>
                      <a:pt x="293" y="377"/>
                      <a:pt x="293" y="377"/>
                      <a:pt x="297" y="384"/>
                    </a:cubicBezTo>
                    <a:cubicBezTo>
                      <a:pt x="297" y="384"/>
                      <a:pt x="297" y="384"/>
                      <a:pt x="298" y="389"/>
                    </a:cubicBezTo>
                    <a:cubicBezTo>
                      <a:pt x="298" y="389"/>
                      <a:pt x="298" y="389"/>
                      <a:pt x="298" y="392"/>
                    </a:cubicBezTo>
                    <a:cubicBezTo>
                      <a:pt x="298" y="392"/>
                      <a:pt x="298" y="392"/>
                      <a:pt x="291" y="396"/>
                    </a:cubicBezTo>
                    <a:cubicBezTo>
                      <a:pt x="291" y="396"/>
                      <a:pt x="291" y="396"/>
                      <a:pt x="292" y="399"/>
                    </a:cubicBezTo>
                    <a:cubicBezTo>
                      <a:pt x="292" y="399"/>
                      <a:pt x="292" y="399"/>
                      <a:pt x="299" y="400"/>
                    </a:cubicBezTo>
                    <a:cubicBezTo>
                      <a:pt x="299" y="400"/>
                      <a:pt x="299" y="400"/>
                      <a:pt x="303" y="404"/>
                    </a:cubicBezTo>
                    <a:cubicBezTo>
                      <a:pt x="303" y="404"/>
                      <a:pt x="303" y="404"/>
                      <a:pt x="309" y="402"/>
                    </a:cubicBezTo>
                    <a:cubicBezTo>
                      <a:pt x="309" y="402"/>
                      <a:pt x="309" y="402"/>
                      <a:pt x="314" y="404"/>
                    </a:cubicBezTo>
                    <a:cubicBezTo>
                      <a:pt x="314" y="404"/>
                      <a:pt x="314" y="404"/>
                      <a:pt x="319" y="401"/>
                    </a:cubicBezTo>
                    <a:cubicBezTo>
                      <a:pt x="319" y="401"/>
                      <a:pt x="319" y="401"/>
                      <a:pt x="321" y="404"/>
                    </a:cubicBezTo>
                    <a:cubicBezTo>
                      <a:pt x="321" y="404"/>
                      <a:pt x="321" y="404"/>
                      <a:pt x="318" y="408"/>
                    </a:cubicBezTo>
                    <a:cubicBezTo>
                      <a:pt x="318" y="408"/>
                      <a:pt x="318" y="408"/>
                      <a:pt x="324" y="407"/>
                    </a:cubicBezTo>
                    <a:cubicBezTo>
                      <a:pt x="324" y="407"/>
                      <a:pt x="324" y="407"/>
                      <a:pt x="326" y="408"/>
                    </a:cubicBezTo>
                    <a:cubicBezTo>
                      <a:pt x="326" y="408"/>
                      <a:pt x="326" y="408"/>
                      <a:pt x="324" y="425"/>
                    </a:cubicBezTo>
                    <a:cubicBezTo>
                      <a:pt x="324" y="425"/>
                      <a:pt x="324" y="425"/>
                      <a:pt x="324" y="432"/>
                    </a:cubicBezTo>
                    <a:cubicBezTo>
                      <a:pt x="324" y="432"/>
                      <a:pt x="324" y="432"/>
                      <a:pt x="328" y="433"/>
                    </a:cubicBezTo>
                    <a:cubicBezTo>
                      <a:pt x="328" y="433"/>
                      <a:pt x="328" y="433"/>
                      <a:pt x="330" y="431"/>
                    </a:cubicBezTo>
                    <a:cubicBezTo>
                      <a:pt x="330" y="431"/>
                      <a:pt x="330" y="431"/>
                      <a:pt x="331" y="428"/>
                    </a:cubicBezTo>
                    <a:cubicBezTo>
                      <a:pt x="331" y="428"/>
                      <a:pt x="331" y="428"/>
                      <a:pt x="334" y="429"/>
                    </a:cubicBezTo>
                    <a:cubicBezTo>
                      <a:pt x="334" y="429"/>
                      <a:pt x="334" y="429"/>
                      <a:pt x="336" y="433"/>
                    </a:cubicBezTo>
                    <a:cubicBezTo>
                      <a:pt x="336" y="433"/>
                      <a:pt x="336" y="433"/>
                      <a:pt x="336" y="443"/>
                    </a:cubicBezTo>
                    <a:cubicBezTo>
                      <a:pt x="336" y="443"/>
                      <a:pt x="336" y="443"/>
                      <a:pt x="335" y="448"/>
                    </a:cubicBezTo>
                    <a:cubicBezTo>
                      <a:pt x="335" y="448"/>
                      <a:pt x="335" y="448"/>
                      <a:pt x="339" y="450"/>
                    </a:cubicBezTo>
                    <a:cubicBezTo>
                      <a:pt x="339" y="450"/>
                      <a:pt x="339" y="450"/>
                      <a:pt x="344" y="450"/>
                    </a:cubicBezTo>
                    <a:cubicBezTo>
                      <a:pt x="344" y="450"/>
                      <a:pt x="344" y="450"/>
                      <a:pt x="348" y="452"/>
                    </a:cubicBezTo>
                    <a:cubicBezTo>
                      <a:pt x="348" y="452"/>
                      <a:pt x="348" y="452"/>
                      <a:pt x="353" y="456"/>
                    </a:cubicBezTo>
                    <a:cubicBezTo>
                      <a:pt x="353" y="456"/>
                      <a:pt x="353" y="456"/>
                      <a:pt x="357" y="457"/>
                    </a:cubicBezTo>
                    <a:cubicBezTo>
                      <a:pt x="357" y="457"/>
                      <a:pt x="357" y="457"/>
                      <a:pt x="356" y="467"/>
                    </a:cubicBezTo>
                    <a:cubicBezTo>
                      <a:pt x="356" y="467"/>
                      <a:pt x="356" y="467"/>
                      <a:pt x="356" y="472"/>
                    </a:cubicBezTo>
                    <a:cubicBezTo>
                      <a:pt x="356" y="472"/>
                      <a:pt x="356" y="472"/>
                      <a:pt x="352" y="473"/>
                    </a:cubicBezTo>
                    <a:cubicBezTo>
                      <a:pt x="352" y="473"/>
                      <a:pt x="352" y="473"/>
                      <a:pt x="354" y="478"/>
                    </a:cubicBezTo>
                    <a:cubicBezTo>
                      <a:pt x="354" y="478"/>
                      <a:pt x="354" y="478"/>
                      <a:pt x="351" y="482"/>
                    </a:cubicBezTo>
                    <a:cubicBezTo>
                      <a:pt x="351" y="482"/>
                      <a:pt x="351" y="482"/>
                      <a:pt x="353" y="483"/>
                    </a:cubicBezTo>
                    <a:cubicBezTo>
                      <a:pt x="353" y="483"/>
                      <a:pt x="353" y="483"/>
                      <a:pt x="356" y="482"/>
                    </a:cubicBezTo>
                    <a:cubicBezTo>
                      <a:pt x="356" y="482"/>
                      <a:pt x="356" y="482"/>
                      <a:pt x="361" y="485"/>
                    </a:cubicBezTo>
                    <a:cubicBezTo>
                      <a:pt x="361" y="485"/>
                      <a:pt x="361" y="485"/>
                      <a:pt x="364" y="483"/>
                    </a:cubicBezTo>
                    <a:cubicBezTo>
                      <a:pt x="364" y="483"/>
                      <a:pt x="364" y="483"/>
                      <a:pt x="369" y="485"/>
                    </a:cubicBezTo>
                    <a:cubicBezTo>
                      <a:pt x="369" y="485"/>
                      <a:pt x="369" y="485"/>
                      <a:pt x="372" y="485"/>
                    </a:cubicBezTo>
                    <a:cubicBezTo>
                      <a:pt x="372" y="485"/>
                      <a:pt x="372" y="485"/>
                      <a:pt x="377" y="489"/>
                    </a:cubicBezTo>
                    <a:cubicBezTo>
                      <a:pt x="377" y="489"/>
                      <a:pt x="377" y="489"/>
                      <a:pt x="381" y="492"/>
                    </a:cubicBezTo>
                    <a:cubicBezTo>
                      <a:pt x="381" y="492"/>
                      <a:pt x="381" y="492"/>
                      <a:pt x="383" y="496"/>
                    </a:cubicBezTo>
                    <a:cubicBezTo>
                      <a:pt x="383" y="496"/>
                      <a:pt x="383" y="496"/>
                      <a:pt x="385" y="499"/>
                    </a:cubicBezTo>
                    <a:cubicBezTo>
                      <a:pt x="385" y="499"/>
                      <a:pt x="385" y="499"/>
                      <a:pt x="390" y="496"/>
                    </a:cubicBezTo>
                    <a:cubicBezTo>
                      <a:pt x="390" y="496"/>
                      <a:pt x="390" y="496"/>
                      <a:pt x="394" y="494"/>
                    </a:cubicBezTo>
                    <a:cubicBezTo>
                      <a:pt x="394" y="494"/>
                      <a:pt x="394" y="494"/>
                      <a:pt x="398" y="496"/>
                    </a:cubicBezTo>
                    <a:cubicBezTo>
                      <a:pt x="398" y="496"/>
                      <a:pt x="398" y="496"/>
                      <a:pt x="399" y="501"/>
                    </a:cubicBezTo>
                    <a:cubicBezTo>
                      <a:pt x="399" y="501"/>
                      <a:pt x="399" y="501"/>
                      <a:pt x="395" y="505"/>
                    </a:cubicBezTo>
                    <a:cubicBezTo>
                      <a:pt x="395" y="505"/>
                      <a:pt x="395" y="505"/>
                      <a:pt x="395" y="509"/>
                    </a:cubicBezTo>
                    <a:cubicBezTo>
                      <a:pt x="395" y="509"/>
                      <a:pt x="395" y="509"/>
                      <a:pt x="392" y="513"/>
                    </a:cubicBezTo>
                    <a:cubicBezTo>
                      <a:pt x="392" y="513"/>
                      <a:pt x="392" y="513"/>
                      <a:pt x="392" y="516"/>
                    </a:cubicBezTo>
                    <a:cubicBezTo>
                      <a:pt x="392" y="516"/>
                      <a:pt x="392" y="516"/>
                      <a:pt x="386" y="519"/>
                    </a:cubicBezTo>
                    <a:cubicBezTo>
                      <a:pt x="386" y="519"/>
                      <a:pt x="386" y="519"/>
                      <a:pt x="384" y="528"/>
                    </a:cubicBezTo>
                    <a:cubicBezTo>
                      <a:pt x="384" y="528"/>
                      <a:pt x="384" y="528"/>
                      <a:pt x="379" y="531"/>
                    </a:cubicBezTo>
                    <a:cubicBezTo>
                      <a:pt x="379" y="531"/>
                      <a:pt x="379" y="531"/>
                      <a:pt x="376" y="535"/>
                    </a:cubicBezTo>
                    <a:cubicBezTo>
                      <a:pt x="376" y="535"/>
                      <a:pt x="376" y="535"/>
                      <a:pt x="376" y="542"/>
                    </a:cubicBezTo>
                    <a:cubicBezTo>
                      <a:pt x="432" y="535"/>
                      <a:pt x="432" y="535"/>
                      <a:pt x="432" y="535"/>
                    </a:cubicBezTo>
                    <a:cubicBezTo>
                      <a:pt x="453" y="535"/>
                      <a:pt x="453" y="535"/>
                      <a:pt x="453" y="535"/>
                    </a:cubicBezTo>
                    <a:cubicBezTo>
                      <a:pt x="453" y="492"/>
                      <a:pt x="453" y="492"/>
                      <a:pt x="453" y="492"/>
                    </a:cubicBezTo>
                    <a:cubicBezTo>
                      <a:pt x="442" y="481"/>
                      <a:pt x="442" y="481"/>
                      <a:pt x="442" y="481"/>
                    </a:cubicBezTo>
                    <a:cubicBezTo>
                      <a:pt x="442" y="470"/>
                      <a:pt x="442" y="470"/>
                      <a:pt x="442" y="470"/>
                    </a:cubicBezTo>
                    <a:cubicBezTo>
                      <a:pt x="486" y="470"/>
                      <a:pt x="486" y="470"/>
                      <a:pt x="486" y="470"/>
                    </a:cubicBezTo>
                    <a:cubicBezTo>
                      <a:pt x="496" y="460"/>
                      <a:pt x="496" y="460"/>
                      <a:pt x="496" y="460"/>
                    </a:cubicBezTo>
                    <a:cubicBezTo>
                      <a:pt x="496" y="417"/>
                      <a:pt x="496" y="417"/>
                      <a:pt x="496" y="417"/>
                    </a:cubicBezTo>
                    <a:lnTo>
                      <a:pt x="486" y="406"/>
                    </a:lnTo>
                    <a:close/>
                  </a:path>
                </a:pathLst>
              </a:custGeom>
              <a:solidFill>
                <a:srgbClr val="00508C"/>
              </a:solidFill>
              <a:ln w="3175" cap="flat" cmpd="sng">
                <a:solidFill>
                  <a:sysClr val="window" lastClr="FFFFFF"/>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219" name="Freeform 342" descr="© INSCALE GmbH, 05.05.2010&#10;http://www.presentationload.com/"/>
              <p:cNvSpPr>
                <a:spLocks noEditPoints="1"/>
              </p:cNvSpPr>
              <p:nvPr/>
            </p:nvSpPr>
            <p:spPr bwMode="gray">
              <a:xfrm>
                <a:off x="2268" y="1436"/>
                <a:ext cx="121" cy="122"/>
              </a:xfrm>
              <a:custGeom>
                <a:avLst/>
                <a:gdLst/>
                <a:ahLst/>
                <a:cxnLst>
                  <a:cxn ang="0">
                    <a:pos x="6" y="75"/>
                  </a:cxn>
                  <a:cxn ang="0">
                    <a:pos x="0" y="72"/>
                  </a:cxn>
                  <a:cxn ang="0">
                    <a:pos x="227" y="122"/>
                  </a:cxn>
                  <a:cxn ang="0">
                    <a:pos x="218" y="127"/>
                  </a:cxn>
                  <a:cxn ang="0">
                    <a:pos x="214" y="120"/>
                  </a:cxn>
                  <a:cxn ang="0">
                    <a:pos x="206" y="113"/>
                  </a:cxn>
                  <a:cxn ang="0">
                    <a:pos x="197" y="111"/>
                  </a:cxn>
                  <a:cxn ang="0">
                    <a:pos x="190" y="110"/>
                  </a:cxn>
                  <a:cxn ang="0">
                    <a:pos x="185" y="110"/>
                  </a:cxn>
                  <a:cxn ang="0">
                    <a:pos x="185" y="101"/>
                  </a:cxn>
                  <a:cxn ang="0">
                    <a:pos x="189" y="95"/>
                  </a:cxn>
                  <a:cxn ang="0">
                    <a:pos x="187" y="84"/>
                  </a:cxn>
                  <a:cxn ang="0">
                    <a:pos x="177" y="78"/>
                  </a:cxn>
                  <a:cxn ang="0">
                    <a:pos x="169" y="76"/>
                  </a:cxn>
                  <a:cxn ang="0">
                    <a:pos x="170" y="61"/>
                  </a:cxn>
                  <a:cxn ang="0">
                    <a:pos x="165" y="56"/>
                  </a:cxn>
                  <a:cxn ang="0">
                    <a:pos x="161" y="61"/>
                  </a:cxn>
                  <a:cxn ang="0">
                    <a:pos x="157" y="53"/>
                  </a:cxn>
                  <a:cxn ang="0">
                    <a:pos x="158" y="35"/>
                  </a:cxn>
                  <a:cxn ang="0">
                    <a:pos x="154" y="32"/>
                  </a:cxn>
                  <a:cxn ang="0">
                    <a:pos x="147" y="32"/>
                  </a:cxn>
                  <a:cxn ang="0">
                    <a:pos x="137" y="32"/>
                  </a:cxn>
                  <a:cxn ang="0">
                    <a:pos x="126" y="27"/>
                  </a:cxn>
                  <a:cxn ang="0">
                    <a:pos x="131" y="20"/>
                  </a:cxn>
                  <a:cxn ang="0">
                    <a:pos x="130" y="12"/>
                  </a:cxn>
                  <a:cxn ang="0">
                    <a:pos x="122" y="0"/>
                  </a:cxn>
                  <a:cxn ang="0">
                    <a:pos x="115" y="6"/>
                  </a:cxn>
                  <a:cxn ang="0">
                    <a:pos x="104" y="13"/>
                  </a:cxn>
                  <a:cxn ang="0">
                    <a:pos x="96" y="15"/>
                  </a:cxn>
                  <a:cxn ang="0">
                    <a:pos x="89" y="13"/>
                  </a:cxn>
                  <a:cxn ang="0">
                    <a:pos x="91" y="22"/>
                  </a:cxn>
                  <a:cxn ang="0">
                    <a:pos x="101" y="27"/>
                  </a:cxn>
                  <a:cxn ang="0">
                    <a:pos x="97" y="33"/>
                  </a:cxn>
                  <a:cxn ang="0">
                    <a:pos x="100" y="40"/>
                  </a:cxn>
                  <a:cxn ang="0">
                    <a:pos x="99" y="46"/>
                  </a:cxn>
                  <a:cxn ang="0">
                    <a:pos x="92" y="49"/>
                  </a:cxn>
                  <a:cxn ang="0">
                    <a:pos x="88" y="45"/>
                  </a:cxn>
                  <a:cxn ang="0">
                    <a:pos x="70" y="59"/>
                  </a:cxn>
                  <a:cxn ang="0">
                    <a:pos x="73" y="71"/>
                  </a:cxn>
                  <a:cxn ang="0">
                    <a:pos x="45" y="74"/>
                  </a:cxn>
                  <a:cxn ang="0">
                    <a:pos x="14" y="72"/>
                  </a:cxn>
                  <a:cxn ang="0">
                    <a:pos x="6" y="75"/>
                  </a:cxn>
                  <a:cxn ang="0">
                    <a:pos x="6" y="141"/>
                  </a:cxn>
                  <a:cxn ang="0">
                    <a:pos x="14" y="155"/>
                  </a:cxn>
                  <a:cxn ang="0">
                    <a:pos x="27" y="173"/>
                  </a:cxn>
                  <a:cxn ang="0">
                    <a:pos x="50" y="175"/>
                  </a:cxn>
                  <a:cxn ang="0">
                    <a:pos x="60" y="211"/>
                  </a:cxn>
                  <a:cxn ang="0">
                    <a:pos x="60" y="237"/>
                  </a:cxn>
                  <a:cxn ang="0">
                    <a:pos x="92" y="226"/>
                  </a:cxn>
                  <a:cxn ang="0">
                    <a:pos x="138" y="205"/>
                  </a:cxn>
                  <a:cxn ang="0">
                    <a:pos x="146" y="184"/>
                  </a:cxn>
                  <a:cxn ang="0">
                    <a:pos x="189" y="173"/>
                  </a:cxn>
                  <a:cxn ang="0">
                    <a:pos x="209" y="163"/>
                  </a:cxn>
                  <a:cxn ang="0">
                    <a:pos x="217" y="156"/>
                  </a:cxn>
                  <a:cxn ang="0">
                    <a:pos x="225" y="144"/>
                  </a:cxn>
                  <a:cxn ang="0">
                    <a:pos x="228" y="137"/>
                  </a:cxn>
                  <a:cxn ang="0">
                    <a:pos x="232" y="129"/>
                  </a:cxn>
                </a:cxnLst>
                <a:rect l="0" t="0" r="r" b="b"/>
                <a:pathLst>
                  <a:path w="232" h="237">
                    <a:moveTo>
                      <a:pt x="0" y="72"/>
                    </a:moveTo>
                    <a:cubicBezTo>
                      <a:pt x="1" y="72"/>
                      <a:pt x="2" y="73"/>
                      <a:pt x="6" y="75"/>
                    </a:cubicBezTo>
                    <a:cubicBezTo>
                      <a:pt x="6" y="66"/>
                      <a:pt x="6" y="66"/>
                      <a:pt x="6" y="66"/>
                    </a:cubicBezTo>
                    <a:lnTo>
                      <a:pt x="0" y="72"/>
                    </a:lnTo>
                    <a:close/>
                    <a:moveTo>
                      <a:pt x="231" y="124"/>
                    </a:moveTo>
                    <a:cubicBezTo>
                      <a:pt x="227" y="122"/>
                      <a:pt x="227" y="122"/>
                      <a:pt x="227" y="122"/>
                    </a:cubicBezTo>
                    <a:cubicBezTo>
                      <a:pt x="223" y="124"/>
                      <a:pt x="223" y="124"/>
                      <a:pt x="223" y="124"/>
                    </a:cubicBezTo>
                    <a:cubicBezTo>
                      <a:pt x="218" y="127"/>
                      <a:pt x="218" y="127"/>
                      <a:pt x="218" y="127"/>
                    </a:cubicBezTo>
                    <a:cubicBezTo>
                      <a:pt x="216" y="124"/>
                      <a:pt x="216" y="124"/>
                      <a:pt x="216" y="124"/>
                    </a:cubicBezTo>
                    <a:cubicBezTo>
                      <a:pt x="214" y="120"/>
                      <a:pt x="214" y="120"/>
                      <a:pt x="214" y="120"/>
                    </a:cubicBezTo>
                    <a:cubicBezTo>
                      <a:pt x="210" y="117"/>
                      <a:pt x="210" y="117"/>
                      <a:pt x="210" y="117"/>
                    </a:cubicBezTo>
                    <a:cubicBezTo>
                      <a:pt x="206" y="113"/>
                      <a:pt x="206" y="113"/>
                      <a:pt x="206" y="113"/>
                    </a:cubicBezTo>
                    <a:cubicBezTo>
                      <a:pt x="202" y="113"/>
                      <a:pt x="202" y="113"/>
                      <a:pt x="202" y="113"/>
                    </a:cubicBezTo>
                    <a:cubicBezTo>
                      <a:pt x="197" y="111"/>
                      <a:pt x="197" y="111"/>
                      <a:pt x="197" y="111"/>
                    </a:cubicBezTo>
                    <a:cubicBezTo>
                      <a:pt x="195" y="113"/>
                      <a:pt x="195" y="113"/>
                      <a:pt x="195" y="113"/>
                    </a:cubicBezTo>
                    <a:cubicBezTo>
                      <a:pt x="190" y="110"/>
                      <a:pt x="190" y="110"/>
                      <a:pt x="190" y="110"/>
                    </a:cubicBezTo>
                    <a:cubicBezTo>
                      <a:pt x="186" y="111"/>
                      <a:pt x="186" y="111"/>
                      <a:pt x="186" y="111"/>
                    </a:cubicBezTo>
                    <a:cubicBezTo>
                      <a:pt x="185" y="110"/>
                      <a:pt x="185" y="110"/>
                      <a:pt x="185" y="110"/>
                    </a:cubicBezTo>
                    <a:cubicBezTo>
                      <a:pt x="187" y="106"/>
                      <a:pt x="187" y="106"/>
                      <a:pt x="187" y="106"/>
                    </a:cubicBezTo>
                    <a:cubicBezTo>
                      <a:pt x="185" y="101"/>
                      <a:pt x="185" y="101"/>
                      <a:pt x="185" y="101"/>
                    </a:cubicBezTo>
                    <a:cubicBezTo>
                      <a:pt x="189" y="100"/>
                      <a:pt x="189" y="100"/>
                      <a:pt x="189" y="100"/>
                    </a:cubicBezTo>
                    <a:cubicBezTo>
                      <a:pt x="189" y="95"/>
                      <a:pt x="189" y="95"/>
                      <a:pt x="189" y="95"/>
                    </a:cubicBezTo>
                    <a:cubicBezTo>
                      <a:pt x="191" y="85"/>
                      <a:pt x="191" y="85"/>
                      <a:pt x="191" y="85"/>
                    </a:cubicBezTo>
                    <a:cubicBezTo>
                      <a:pt x="187" y="84"/>
                      <a:pt x="187" y="84"/>
                      <a:pt x="187" y="84"/>
                    </a:cubicBezTo>
                    <a:cubicBezTo>
                      <a:pt x="182" y="80"/>
                      <a:pt x="182" y="80"/>
                      <a:pt x="182" y="80"/>
                    </a:cubicBezTo>
                    <a:cubicBezTo>
                      <a:pt x="177" y="78"/>
                      <a:pt x="177" y="78"/>
                      <a:pt x="177" y="78"/>
                    </a:cubicBezTo>
                    <a:cubicBezTo>
                      <a:pt x="172" y="78"/>
                      <a:pt x="172" y="78"/>
                      <a:pt x="172" y="78"/>
                    </a:cubicBezTo>
                    <a:cubicBezTo>
                      <a:pt x="169" y="76"/>
                      <a:pt x="169" y="76"/>
                      <a:pt x="169" y="76"/>
                    </a:cubicBezTo>
                    <a:cubicBezTo>
                      <a:pt x="169" y="71"/>
                      <a:pt x="169" y="71"/>
                      <a:pt x="169" y="71"/>
                    </a:cubicBezTo>
                    <a:cubicBezTo>
                      <a:pt x="170" y="61"/>
                      <a:pt x="170" y="61"/>
                      <a:pt x="170" y="61"/>
                    </a:cubicBezTo>
                    <a:cubicBezTo>
                      <a:pt x="167" y="57"/>
                      <a:pt x="167" y="57"/>
                      <a:pt x="167" y="57"/>
                    </a:cubicBezTo>
                    <a:cubicBezTo>
                      <a:pt x="165" y="56"/>
                      <a:pt x="165" y="56"/>
                      <a:pt x="165" y="56"/>
                    </a:cubicBezTo>
                    <a:cubicBezTo>
                      <a:pt x="163" y="59"/>
                      <a:pt x="163" y="59"/>
                      <a:pt x="163" y="59"/>
                    </a:cubicBezTo>
                    <a:cubicBezTo>
                      <a:pt x="161" y="61"/>
                      <a:pt x="161" y="61"/>
                      <a:pt x="161" y="61"/>
                    </a:cubicBezTo>
                    <a:cubicBezTo>
                      <a:pt x="158" y="60"/>
                      <a:pt x="158" y="60"/>
                      <a:pt x="158" y="60"/>
                    </a:cubicBezTo>
                    <a:cubicBezTo>
                      <a:pt x="157" y="53"/>
                      <a:pt x="157" y="53"/>
                      <a:pt x="157" y="53"/>
                    </a:cubicBezTo>
                    <a:cubicBezTo>
                      <a:pt x="159" y="36"/>
                      <a:pt x="159" y="36"/>
                      <a:pt x="159" y="36"/>
                    </a:cubicBezTo>
                    <a:cubicBezTo>
                      <a:pt x="158" y="35"/>
                      <a:pt x="158" y="35"/>
                      <a:pt x="158" y="35"/>
                    </a:cubicBezTo>
                    <a:cubicBezTo>
                      <a:pt x="151" y="36"/>
                      <a:pt x="151" y="36"/>
                      <a:pt x="151" y="36"/>
                    </a:cubicBezTo>
                    <a:cubicBezTo>
                      <a:pt x="154" y="32"/>
                      <a:pt x="154" y="32"/>
                      <a:pt x="154" y="32"/>
                    </a:cubicBezTo>
                    <a:cubicBezTo>
                      <a:pt x="152" y="29"/>
                      <a:pt x="152" y="29"/>
                      <a:pt x="152" y="29"/>
                    </a:cubicBezTo>
                    <a:cubicBezTo>
                      <a:pt x="147" y="32"/>
                      <a:pt x="147" y="32"/>
                      <a:pt x="147" y="32"/>
                    </a:cubicBezTo>
                    <a:cubicBezTo>
                      <a:pt x="142" y="30"/>
                      <a:pt x="142" y="30"/>
                      <a:pt x="142" y="30"/>
                    </a:cubicBezTo>
                    <a:cubicBezTo>
                      <a:pt x="137" y="32"/>
                      <a:pt x="137" y="32"/>
                      <a:pt x="137" y="32"/>
                    </a:cubicBezTo>
                    <a:cubicBezTo>
                      <a:pt x="132" y="28"/>
                      <a:pt x="132" y="28"/>
                      <a:pt x="132" y="28"/>
                    </a:cubicBezTo>
                    <a:cubicBezTo>
                      <a:pt x="126" y="27"/>
                      <a:pt x="126" y="27"/>
                      <a:pt x="126" y="27"/>
                    </a:cubicBezTo>
                    <a:cubicBezTo>
                      <a:pt x="125" y="24"/>
                      <a:pt x="125" y="24"/>
                      <a:pt x="125" y="24"/>
                    </a:cubicBezTo>
                    <a:cubicBezTo>
                      <a:pt x="131" y="20"/>
                      <a:pt x="131" y="20"/>
                      <a:pt x="131" y="20"/>
                    </a:cubicBezTo>
                    <a:cubicBezTo>
                      <a:pt x="131" y="17"/>
                      <a:pt x="131" y="17"/>
                      <a:pt x="131" y="17"/>
                    </a:cubicBezTo>
                    <a:cubicBezTo>
                      <a:pt x="130" y="12"/>
                      <a:pt x="130" y="12"/>
                      <a:pt x="130" y="12"/>
                    </a:cubicBezTo>
                    <a:cubicBezTo>
                      <a:pt x="126" y="5"/>
                      <a:pt x="126" y="5"/>
                      <a:pt x="126" y="5"/>
                    </a:cubicBezTo>
                    <a:cubicBezTo>
                      <a:pt x="122" y="0"/>
                      <a:pt x="122" y="0"/>
                      <a:pt x="122" y="0"/>
                    </a:cubicBezTo>
                    <a:cubicBezTo>
                      <a:pt x="116" y="2"/>
                      <a:pt x="116" y="2"/>
                      <a:pt x="116" y="2"/>
                    </a:cubicBezTo>
                    <a:cubicBezTo>
                      <a:pt x="115" y="6"/>
                      <a:pt x="115" y="6"/>
                      <a:pt x="115" y="6"/>
                    </a:cubicBezTo>
                    <a:cubicBezTo>
                      <a:pt x="112" y="8"/>
                      <a:pt x="112" y="8"/>
                      <a:pt x="112" y="8"/>
                    </a:cubicBezTo>
                    <a:cubicBezTo>
                      <a:pt x="104" y="13"/>
                      <a:pt x="104" y="13"/>
                      <a:pt x="104" y="13"/>
                    </a:cubicBezTo>
                    <a:cubicBezTo>
                      <a:pt x="100" y="16"/>
                      <a:pt x="100" y="16"/>
                      <a:pt x="100" y="16"/>
                    </a:cubicBezTo>
                    <a:cubicBezTo>
                      <a:pt x="96" y="15"/>
                      <a:pt x="96" y="15"/>
                      <a:pt x="96" y="15"/>
                    </a:cubicBezTo>
                    <a:cubicBezTo>
                      <a:pt x="92" y="17"/>
                      <a:pt x="92" y="17"/>
                      <a:pt x="92" y="17"/>
                    </a:cubicBezTo>
                    <a:cubicBezTo>
                      <a:pt x="89" y="13"/>
                      <a:pt x="89" y="13"/>
                      <a:pt x="89" y="13"/>
                    </a:cubicBezTo>
                    <a:cubicBezTo>
                      <a:pt x="88" y="16"/>
                      <a:pt x="88" y="16"/>
                      <a:pt x="88" y="16"/>
                    </a:cubicBezTo>
                    <a:cubicBezTo>
                      <a:pt x="91" y="22"/>
                      <a:pt x="91" y="22"/>
                      <a:pt x="91" y="22"/>
                    </a:cubicBezTo>
                    <a:cubicBezTo>
                      <a:pt x="99" y="24"/>
                      <a:pt x="99" y="24"/>
                      <a:pt x="99" y="24"/>
                    </a:cubicBezTo>
                    <a:cubicBezTo>
                      <a:pt x="101" y="27"/>
                      <a:pt x="101" y="27"/>
                      <a:pt x="101" y="27"/>
                    </a:cubicBezTo>
                    <a:cubicBezTo>
                      <a:pt x="97" y="30"/>
                      <a:pt x="97" y="30"/>
                      <a:pt x="97" y="30"/>
                    </a:cubicBezTo>
                    <a:cubicBezTo>
                      <a:pt x="97" y="33"/>
                      <a:pt x="97" y="33"/>
                      <a:pt x="97" y="33"/>
                    </a:cubicBezTo>
                    <a:cubicBezTo>
                      <a:pt x="101" y="35"/>
                      <a:pt x="101" y="35"/>
                      <a:pt x="101" y="35"/>
                    </a:cubicBezTo>
                    <a:cubicBezTo>
                      <a:pt x="100" y="40"/>
                      <a:pt x="100" y="40"/>
                      <a:pt x="100" y="40"/>
                    </a:cubicBezTo>
                    <a:cubicBezTo>
                      <a:pt x="97" y="42"/>
                      <a:pt x="97" y="42"/>
                      <a:pt x="97" y="42"/>
                    </a:cubicBezTo>
                    <a:cubicBezTo>
                      <a:pt x="99" y="46"/>
                      <a:pt x="99" y="46"/>
                      <a:pt x="99" y="46"/>
                    </a:cubicBezTo>
                    <a:cubicBezTo>
                      <a:pt x="96" y="47"/>
                      <a:pt x="96" y="47"/>
                      <a:pt x="96" y="47"/>
                    </a:cubicBezTo>
                    <a:cubicBezTo>
                      <a:pt x="92" y="49"/>
                      <a:pt x="92" y="49"/>
                      <a:pt x="92" y="49"/>
                    </a:cubicBezTo>
                    <a:cubicBezTo>
                      <a:pt x="91" y="44"/>
                      <a:pt x="91" y="44"/>
                      <a:pt x="91" y="44"/>
                    </a:cubicBezTo>
                    <a:cubicBezTo>
                      <a:pt x="88" y="45"/>
                      <a:pt x="88" y="45"/>
                      <a:pt x="88" y="45"/>
                    </a:cubicBezTo>
                    <a:cubicBezTo>
                      <a:pt x="78" y="53"/>
                      <a:pt x="78" y="53"/>
                      <a:pt x="78" y="53"/>
                    </a:cubicBezTo>
                    <a:cubicBezTo>
                      <a:pt x="70" y="59"/>
                      <a:pt x="70" y="59"/>
                      <a:pt x="70" y="59"/>
                    </a:cubicBezTo>
                    <a:cubicBezTo>
                      <a:pt x="72" y="65"/>
                      <a:pt x="72" y="65"/>
                      <a:pt x="72" y="65"/>
                    </a:cubicBezTo>
                    <a:cubicBezTo>
                      <a:pt x="73" y="71"/>
                      <a:pt x="73" y="71"/>
                      <a:pt x="73" y="71"/>
                    </a:cubicBezTo>
                    <a:cubicBezTo>
                      <a:pt x="63" y="74"/>
                      <a:pt x="63" y="74"/>
                      <a:pt x="63" y="74"/>
                    </a:cubicBezTo>
                    <a:cubicBezTo>
                      <a:pt x="45" y="74"/>
                      <a:pt x="45" y="74"/>
                      <a:pt x="45" y="74"/>
                    </a:cubicBezTo>
                    <a:cubicBezTo>
                      <a:pt x="32" y="75"/>
                      <a:pt x="32" y="75"/>
                      <a:pt x="32" y="75"/>
                    </a:cubicBezTo>
                    <a:cubicBezTo>
                      <a:pt x="14" y="72"/>
                      <a:pt x="14" y="72"/>
                      <a:pt x="14" y="72"/>
                    </a:cubicBezTo>
                    <a:cubicBezTo>
                      <a:pt x="9" y="77"/>
                      <a:pt x="9" y="77"/>
                      <a:pt x="9" y="77"/>
                    </a:cubicBezTo>
                    <a:cubicBezTo>
                      <a:pt x="8" y="76"/>
                      <a:pt x="7" y="76"/>
                      <a:pt x="6" y="75"/>
                    </a:cubicBezTo>
                    <a:cubicBezTo>
                      <a:pt x="6" y="116"/>
                      <a:pt x="6" y="116"/>
                      <a:pt x="6" y="116"/>
                    </a:cubicBezTo>
                    <a:cubicBezTo>
                      <a:pt x="6" y="141"/>
                      <a:pt x="6" y="141"/>
                      <a:pt x="6" y="141"/>
                    </a:cubicBezTo>
                    <a:cubicBezTo>
                      <a:pt x="14" y="153"/>
                      <a:pt x="14" y="153"/>
                      <a:pt x="14" y="153"/>
                    </a:cubicBezTo>
                    <a:cubicBezTo>
                      <a:pt x="14" y="154"/>
                      <a:pt x="14" y="155"/>
                      <a:pt x="14" y="155"/>
                    </a:cubicBezTo>
                    <a:cubicBezTo>
                      <a:pt x="14" y="155"/>
                      <a:pt x="15" y="155"/>
                      <a:pt x="16" y="156"/>
                    </a:cubicBezTo>
                    <a:cubicBezTo>
                      <a:pt x="27" y="173"/>
                      <a:pt x="27" y="173"/>
                      <a:pt x="27" y="173"/>
                    </a:cubicBezTo>
                    <a:cubicBezTo>
                      <a:pt x="48" y="173"/>
                      <a:pt x="48" y="173"/>
                      <a:pt x="48" y="173"/>
                    </a:cubicBezTo>
                    <a:cubicBezTo>
                      <a:pt x="48" y="173"/>
                      <a:pt x="49" y="174"/>
                      <a:pt x="50" y="175"/>
                    </a:cubicBezTo>
                    <a:cubicBezTo>
                      <a:pt x="59" y="201"/>
                      <a:pt x="59" y="201"/>
                      <a:pt x="59" y="201"/>
                    </a:cubicBezTo>
                    <a:cubicBezTo>
                      <a:pt x="59" y="205"/>
                      <a:pt x="60" y="208"/>
                      <a:pt x="60" y="211"/>
                    </a:cubicBezTo>
                    <a:cubicBezTo>
                      <a:pt x="60" y="229"/>
                      <a:pt x="60" y="229"/>
                      <a:pt x="60" y="229"/>
                    </a:cubicBezTo>
                    <a:cubicBezTo>
                      <a:pt x="60" y="237"/>
                      <a:pt x="60" y="237"/>
                      <a:pt x="60" y="237"/>
                    </a:cubicBezTo>
                    <a:cubicBezTo>
                      <a:pt x="76" y="232"/>
                      <a:pt x="76" y="232"/>
                      <a:pt x="76" y="232"/>
                    </a:cubicBezTo>
                    <a:cubicBezTo>
                      <a:pt x="92" y="226"/>
                      <a:pt x="92" y="226"/>
                      <a:pt x="92" y="226"/>
                    </a:cubicBezTo>
                    <a:cubicBezTo>
                      <a:pt x="103" y="205"/>
                      <a:pt x="103" y="205"/>
                      <a:pt x="103" y="205"/>
                    </a:cubicBezTo>
                    <a:cubicBezTo>
                      <a:pt x="138" y="205"/>
                      <a:pt x="138" y="205"/>
                      <a:pt x="138" y="205"/>
                    </a:cubicBezTo>
                    <a:cubicBezTo>
                      <a:pt x="146" y="205"/>
                      <a:pt x="146" y="205"/>
                      <a:pt x="146" y="205"/>
                    </a:cubicBezTo>
                    <a:cubicBezTo>
                      <a:pt x="146" y="184"/>
                      <a:pt x="146" y="184"/>
                      <a:pt x="146" y="184"/>
                    </a:cubicBezTo>
                    <a:cubicBezTo>
                      <a:pt x="178" y="184"/>
                      <a:pt x="178" y="184"/>
                      <a:pt x="178" y="184"/>
                    </a:cubicBezTo>
                    <a:cubicBezTo>
                      <a:pt x="189" y="173"/>
                      <a:pt x="189" y="173"/>
                      <a:pt x="189" y="173"/>
                    </a:cubicBezTo>
                    <a:cubicBezTo>
                      <a:pt x="210" y="170"/>
                      <a:pt x="210" y="170"/>
                      <a:pt x="210" y="170"/>
                    </a:cubicBezTo>
                    <a:cubicBezTo>
                      <a:pt x="209" y="163"/>
                      <a:pt x="209" y="163"/>
                      <a:pt x="209" y="163"/>
                    </a:cubicBezTo>
                    <a:cubicBezTo>
                      <a:pt x="213" y="159"/>
                      <a:pt x="213" y="159"/>
                      <a:pt x="213" y="159"/>
                    </a:cubicBezTo>
                    <a:cubicBezTo>
                      <a:pt x="217" y="156"/>
                      <a:pt x="217" y="156"/>
                      <a:pt x="217" y="156"/>
                    </a:cubicBezTo>
                    <a:cubicBezTo>
                      <a:pt x="219" y="147"/>
                      <a:pt x="219" y="147"/>
                      <a:pt x="219" y="147"/>
                    </a:cubicBezTo>
                    <a:cubicBezTo>
                      <a:pt x="225" y="144"/>
                      <a:pt x="225" y="144"/>
                      <a:pt x="225" y="144"/>
                    </a:cubicBezTo>
                    <a:cubicBezTo>
                      <a:pt x="225" y="141"/>
                      <a:pt x="225" y="141"/>
                      <a:pt x="225" y="141"/>
                    </a:cubicBezTo>
                    <a:cubicBezTo>
                      <a:pt x="228" y="137"/>
                      <a:pt x="228" y="137"/>
                      <a:pt x="228" y="137"/>
                    </a:cubicBezTo>
                    <a:cubicBezTo>
                      <a:pt x="229" y="133"/>
                      <a:pt x="229" y="133"/>
                      <a:pt x="229" y="133"/>
                    </a:cubicBezTo>
                    <a:cubicBezTo>
                      <a:pt x="232" y="129"/>
                      <a:pt x="232" y="129"/>
                      <a:pt x="232" y="129"/>
                    </a:cubicBezTo>
                    <a:cubicBezTo>
                      <a:pt x="231" y="124"/>
                      <a:pt x="231" y="124"/>
                      <a:pt x="231" y="124"/>
                    </a:cubicBezTo>
                    <a:close/>
                  </a:path>
                </a:pathLst>
              </a:custGeom>
              <a:solidFill>
                <a:srgbClr val="00508C"/>
              </a:solidFill>
              <a:ln w="3175" cap="flat" cmpd="sng">
                <a:solidFill>
                  <a:sysClr val="window" lastClr="FFFFFF"/>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grpSp>
        <p:sp>
          <p:nvSpPr>
            <p:cNvPr id="216" name="Freeform 8"/>
            <p:cNvSpPr>
              <a:spLocks/>
            </p:cNvSpPr>
            <p:nvPr/>
          </p:nvSpPr>
          <p:spPr bwMode="gray">
            <a:xfrm>
              <a:off x="4832264" y="3322737"/>
              <a:ext cx="485066" cy="475875"/>
            </a:xfrm>
            <a:custGeom>
              <a:avLst/>
              <a:gdLst/>
              <a:ahLst/>
              <a:cxnLst>
                <a:cxn ang="0">
                  <a:pos x="442" y="199"/>
                </a:cxn>
                <a:cxn ang="0">
                  <a:pos x="446" y="187"/>
                </a:cxn>
                <a:cxn ang="0">
                  <a:pos x="475" y="170"/>
                </a:cxn>
                <a:cxn ang="0">
                  <a:pos x="458" y="149"/>
                </a:cxn>
                <a:cxn ang="0">
                  <a:pos x="439" y="137"/>
                </a:cxn>
                <a:cxn ang="0">
                  <a:pos x="434" y="114"/>
                </a:cxn>
                <a:cxn ang="0">
                  <a:pos x="430" y="90"/>
                </a:cxn>
                <a:cxn ang="0">
                  <a:pos x="423" y="55"/>
                </a:cxn>
                <a:cxn ang="0">
                  <a:pos x="413" y="29"/>
                </a:cxn>
                <a:cxn ang="0">
                  <a:pos x="387" y="0"/>
                </a:cxn>
                <a:cxn ang="0">
                  <a:pos x="361" y="26"/>
                </a:cxn>
                <a:cxn ang="0">
                  <a:pos x="345" y="31"/>
                </a:cxn>
                <a:cxn ang="0">
                  <a:pos x="326" y="47"/>
                </a:cxn>
                <a:cxn ang="0">
                  <a:pos x="269" y="36"/>
                </a:cxn>
                <a:cxn ang="0">
                  <a:pos x="87" y="36"/>
                </a:cxn>
                <a:cxn ang="0">
                  <a:pos x="54" y="241"/>
                </a:cxn>
                <a:cxn ang="0">
                  <a:pos x="30" y="246"/>
                </a:cxn>
                <a:cxn ang="0">
                  <a:pos x="30" y="258"/>
                </a:cxn>
                <a:cxn ang="0">
                  <a:pos x="16" y="272"/>
                </a:cxn>
                <a:cxn ang="0">
                  <a:pos x="7" y="300"/>
                </a:cxn>
                <a:cxn ang="0">
                  <a:pos x="9" y="322"/>
                </a:cxn>
                <a:cxn ang="0">
                  <a:pos x="4" y="338"/>
                </a:cxn>
                <a:cxn ang="0">
                  <a:pos x="19" y="338"/>
                </a:cxn>
                <a:cxn ang="0">
                  <a:pos x="21" y="373"/>
                </a:cxn>
                <a:cxn ang="0">
                  <a:pos x="35" y="385"/>
                </a:cxn>
                <a:cxn ang="0">
                  <a:pos x="42" y="409"/>
                </a:cxn>
                <a:cxn ang="0">
                  <a:pos x="54" y="430"/>
                </a:cxn>
                <a:cxn ang="0">
                  <a:pos x="47" y="451"/>
                </a:cxn>
                <a:cxn ang="0">
                  <a:pos x="49" y="463"/>
                </a:cxn>
                <a:cxn ang="0">
                  <a:pos x="73" y="456"/>
                </a:cxn>
                <a:cxn ang="0">
                  <a:pos x="78" y="447"/>
                </a:cxn>
                <a:cxn ang="0">
                  <a:pos x="89" y="418"/>
                </a:cxn>
                <a:cxn ang="0">
                  <a:pos x="115" y="416"/>
                </a:cxn>
                <a:cxn ang="0">
                  <a:pos x="125" y="430"/>
                </a:cxn>
                <a:cxn ang="0">
                  <a:pos x="170" y="433"/>
                </a:cxn>
                <a:cxn ang="0">
                  <a:pos x="196" y="442"/>
                </a:cxn>
                <a:cxn ang="0">
                  <a:pos x="234" y="411"/>
                </a:cxn>
                <a:cxn ang="0">
                  <a:pos x="290" y="409"/>
                </a:cxn>
                <a:cxn ang="0">
                  <a:pos x="307" y="364"/>
                </a:cxn>
                <a:cxn ang="0">
                  <a:pos x="331" y="347"/>
                </a:cxn>
                <a:cxn ang="0">
                  <a:pos x="328" y="378"/>
                </a:cxn>
                <a:cxn ang="0">
                  <a:pos x="335" y="399"/>
                </a:cxn>
                <a:cxn ang="0">
                  <a:pos x="357" y="423"/>
                </a:cxn>
                <a:cxn ang="0">
                  <a:pos x="359" y="409"/>
                </a:cxn>
                <a:cxn ang="0">
                  <a:pos x="368" y="399"/>
                </a:cxn>
                <a:cxn ang="0">
                  <a:pos x="380" y="385"/>
                </a:cxn>
                <a:cxn ang="0">
                  <a:pos x="382" y="364"/>
                </a:cxn>
                <a:cxn ang="0">
                  <a:pos x="392" y="343"/>
                </a:cxn>
                <a:cxn ang="0">
                  <a:pos x="411" y="333"/>
                </a:cxn>
                <a:cxn ang="0">
                  <a:pos x="418" y="303"/>
                </a:cxn>
                <a:cxn ang="0">
                  <a:pos x="416" y="262"/>
                </a:cxn>
                <a:cxn ang="0">
                  <a:pos x="423" y="239"/>
                </a:cxn>
                <a:cxn ang="0">
                  <a:pos x="430" y="215"/>
                </a:cxn>
              </a:cxnLst>
              <a:rect l="0" t="0" r="r" b="b"/>
              <a:pathLst>
                <a:path w="475" h="466">
                  <a:moveTo>
                    <a:pt x="432" y="208"/>
                  </a:moveTo>
                  <a:lnTo>
                    <a:pt x="434" y="206"/>
                  </a:lnTo>
                  <a:lnTo>
                    <a:pt x="434" y="199"/>
                  </a:lnTo>
                  <a:lnTo>
                    <a:pt x="442" y="199"/>
                  </a:lnTo>
                  <a:lnTo>
                    <a:pt x="444" y="196"/>
                  </a:lnTo>
                  <a:lnTo>
                    <a:pt x="444" y="194"/>
                  </a:lnTo>
                  <a:lnTo>
                    <a:pt x="446" y="192"/>
                  </a:lnTo>
                  <a:lnTo>
                    <a:pt x="446" y="187"/>
                  </a:lnTo>
                  <a:lnTo>
                    <a:pt x="451" y="187"/>
                  </a:lnTo>
                  <a:lnTo>
                    <a:pt x="460" y="184"/>
                  </a:lnTo>
                  <a:lnTo>
                    <a:pt x="470" y="180"/>
                  </a:lnTo>
                  <a:lnTo>
                    <a:pt x="475" y="170"/>
                  </a:lnTo>
                  <a:lnTo>
                    <a:pt x="475" y="166"/>
                  </a:lnTo>
                  <a:lnTo>
                    <a:pt x="460" y="154"/>
                  </a:lnTo>
                  <a:lnTo>
                    <a:pt x="460" y="151"/>
                  </a:lnTo>
                  <a:lnTo>
                    <a:pt x="458" y="149"/>
                  </a:lnTo>
                  <a:lnTo>
                    <a:pt x="458" y="144"/>
                  </a:lnTo>
                  <a:lnTo>
                    <a:pt x="453" y="142"/>
                  </a:lnTo>
                  <a:lnTo>
                    <a:pt x="444" y="142"/>
                  </a:lnTo>
                  <a:lnTo>
                    <a:pt x="439" y="137"/>
                  </a:lnTo>
                  <a:lnTo>
                    <a:pt x="439" y="132"/>
                  </a:lnTo>
                  <a:lnTo>
                    <a:pt x="437" y="125"/>
                  </a:lnTo>
                  <a:lnTo>
                    <a:pt x="437" y="118"/>
                  </a:lnTo>
                  <a:lnTo>
                    <a:pt x="434" y="114"/>
                  </a:lnTo>
                  <a:lnTo>
                    <a:pt x="434" y="107"/>
                  </a:lnTo>
                  <a:lnTo>
                    <a:pt x="432" y="107"/>
                  </a:lnTo>
                  <a:lnTo>
                    <a:pt x="432" y="97"/>
                  </a:lnTo>
                  <a:lnTo>
                    <a:pt x="430" y="90"/>
                  </a:lnTo>
                  <a:lnTo>
                    <a:pt x="430" y="73"/>
                  </a:lnTo>
                  <a:lnTo>
                    <a:pt x="427" y="69"/>
                  </a:lnTo>
                  <a:lnTo>
                    <a:pt x="434" y="66"/>
                  </a:lnTo>
                  <a:lnTo>
                    <a:pt x="423" y="55"/>
                  </a:lnTo>
                  <a:lnTo>
                    <a:pt x="423" y="38"/>
                  </a:lnTo>
                  <a:lnTo>
                    <a:pt x="420" y="33"/>
                  </a:lnTo>
                  <a:lnTo>
                    <a:pt x="418" y="31"/>
                  </a:lnTo>
                  <a:lnTo>
                    <a:pt x="413" y="29"/>
                  </a:lnTo>
                  <a:lnTo>
                    <a:pt x="401" y="17"/>
                  </a:lnTo>
                  <a:lnTo>
                    <a:pt x="397" y="17"/>
                  </a:lnTo>
                  <a:lnTo>
                    <a:pt x="390" y="10"/>
                  </a:lnTo>
                  <a:lnTo>
                    <a:pt x="387" y="0"/>
                  </a:lnTo>
                  <a:lnTo>
                    <a:pt x="378" y="12"/>
                  </a:lnTo>
                  <a:lnTo>
                    <a:pt x="364" y="12"/>
                  </a:lnTo>
                  <a:lnTo>
                    <a:pt x="364" y="21"/>
                  </a:lnTo>
                  <a:lnTo>
                    <a:pt x="361" y="26"/>
                  </a:lnTo>
                  <a:lnTo>
                    <a:pt x="359" y="29"/>
                  </a:lnTo>
                  <a:lnTo>
                    <a:pt x="352" y="29"/>
                  </a:lnTo>
                  <a:lnTo>
                    <a:pt x="349" y="31"/>
                  </a:lnTo>
                  <a:lnTo>
                    <a:pt x="345" y="31"/>
                  </a:lnTo>
                  <a:lnTo>
                    <a:pt x="340" y="36"/>
                  </a:lnTo>
                  <a:lnTo>
                    <a:pt x="335" y="45"/>
                  </a:lnTo>
                  <a:lnTo>
                    <a:pt x="333" y="47"/>
                  </a:lnTo>
                  <a:lnTo>
                    <a:pt x="326" y="47"/>
                  </a:lnTo>
                  <a:lnTo>
                    <a:pt x="323" y="45"/>
                  </a:lnTo>
                  <a:lnTo>
                    <a:pt x="321" y="40"/>
                  </a:lnTo>
                  <a:lnTo>
                    <a:pt x="319" y="38"/>
                  </a:lnTo>
                  <a:lnTo>
                    <a:pt x="269" y="36"/>
                  </a:lnTo>
                  <a:lnTo>
                    <a:pt x="269" y="31"/>
                  </a:lnTo>
                  <a:lnTo>
                    <a:pt x="267" y="31"/>
                  </a:lnTo>
                  <a:lnTo>
                    <a:pt x="260" y="38"/>
                  </a:lnTo>
                  <a:lnTo>
                    <a:pt x="87" y="36"/>
                  </a:lnTo>
                  <a:lnTo>
                    <a:pt x="87" y="99"/>
                  </a:lnTo>
                  <a:lnTo>
                    <a:pt x="56" y="99"/>
                  </a:lnTo>
                  <a:lnTo>
                    <a:pt x="59" y="241"/>
                  </a:lnTo>
                  <a:lnTo>
                    <a:pt x="54" y="241"/>
                  </a:lnTo>
                  <a:lnTo>
                    <a:pt x="49" y="239"/>
                  </a:lnTo>
                  <a:lnTo>
                    <a:pt x="33" y="239"/>
                  </a:lnTo>
                  <a:lnTo>
                    <a:pt x="28" y="244"/>
                  </a:lnTo>
                  <a:lnTo>
                    <a:pt x="30" y="246"/>
                  </a:lnTo>
                  <a:lnTo>
                    <a:pt x="30" y="251"/>
                  </a:lnTo>
                  <a:lnTo>
                    <a:pt x="33" y="253"/>
                  </a:lnTo>
                  <a:lnTo>
                    <a:pt x="33" y="255"/>
                  </a:lnTo>
                  <a:lnTo>
                    <a:pt x="30" y="258"/>
                  </a:lnTo>
                  <a:lnTo>
                    <a:pt x="26" y="260"/>
                  </a:lnTo>
                  <a:lnTo>
                    <a:pt x="21" y="265"/>
                  </a:lnTo>
                  <a:lnTo>
                    <a:pt x="21" y="272"/>
                  </a:lnTo>
                  <a:lnTo>
                    <a:pt x="16" y="272"/>
                  </a:lnTo>
                  <a:lnTo>
                    <a:pt x="19" y="281"/>
                  </a:lnTo>
                  <a:lnTo>
                    <a:pt x="21" y="288"/>
                  </a:lnTo>
                  <a:lnTo>
                    <a:pt x="14" y="293"/>
                  </a:lnTo>
                  <a:lnTo>
                    <a:pt x="7" y="300"/>
                  </a:lnTo>
                  <a:lnTo>
                    <a:pt x="9" y="303"/>
                  </a:lnTo>
                  <a:lnTo>
                    <a:pt x="14" y="312"/>
                  </a:lnTo>
                  <a:lnTo>
                    <a:pt x="14" y="317"/>
                  </a:lnTo>
                  <a:lnTo>
                    <a:pt x="9" y="322"/>
                  </a:lnTo>
                  <a:lnTo>
                    <a:pt x="4" y="324"/>
                  </a:lnTo>
                  <a:lnTo>
                    <a:pt x="0" y="329"/>
                  </a:lnTo>
                  <a:lnTo>
                    <a:pt x="0" y="336"/>
                  </a:lnTo>
                  <a:lnTo>
                    <a:pt x="4" y="338"/>
                  </a:lnTo>
                  <a:lnTo>
                    <a:pt x="9" y="338"/>
                  </a:lnTo>
                  <a:lnTo>
                    <a:pt x="12" y="336"/>
                  </a:lnTo>
                  <a:lnTo>
                    <a:pt x="16" y="336"/>
                  </a:lnTo>
                  <a:lnTo>
                    <a:pt x="19" y="338"/>
                  </a:lnTo>
                  <a:lnTo>
                    <a:pt x="19" y="355"/>
                  </a:lnTo>
                  <a:lnTo>
                    <a:pt x="26" y="362"/>
                  </a:lnTo>
                  <a:lnTo>
                    <a:pt x="19" y="364"/>
                  </a:lnTo>
                  <a:lnTo>
                    <a:pt x="21" y="373"/>
                  </a:lnTo>
                  <a:lnTo>
                    <a:pt x="23" y="373"/>
                  </a:lnTo>
                  <a:lnTo>
                    <a:pt x="28" y="376"/>
                  </a:lnTo>
                  <a:lnTo>
                    <a:pt x="33" y="383"/>
                  </a:lnTo>
                  <a:lnTo>
                    <a:pt x="35" y="385"/>
                  </a:lnTo>
                  <a:lnTo>
                    <a:pt x="35" y="388"/>
                  </a:lnTo>
                  <a:lnTo>
                    <a:pt x="30" y="388"/>
                  </a:lnTo>
                  <a:lnTo>
                    <a:pt x="30" y="397"/>
                  </a:lnTo>
                  <a:lnTo>
                    <a:pt x="42" y="409"/>
                  </a:lnTo>
                  <a:lnTo>
                    <a:pt x="45" y="414"/>
                  </a:lnTo>
                  <a:lnTo>
                    <a:pt x="49" y="418"/>
                  </a:lnTo>
                  <a:lnTo>
                    <a:pt x="52" y="425"/>
                  </a:lnTo>
                  <a:lnTo>
                    <a:pt x="54" y="430"/>
                  </a:lnTo>
                  <a:lnTo>
                    <a:pt x="54" y="442"/>
                  </a:lnTo>
                  <a:lnTo>
                    <a:pt x="52" y="444"/>
                  </a:lnTo>
                  <a:lnTo>
                    <a:pt x="49" y="449"/>
                  </a:lnTo>
                  <a:lnTo>
                    <a:pt x="47" y="451"/>
                  </a:lnTo>
                  <a:lnTo>
                    <a:pt x="47" y="454"/>
                  </a:lnTo>
                  <a:lnTo>
                    <a:pt x="49" y="456"/>
                  </a:lnTo>
                  <a:lnTo>
                    <a:pt x="52" y="456"/>
                  </a:lnTo>
                  <a:lnTo>
                    <a:pt x="49" y="463"/>
                  </a:lnTo>
                  <a:lnTo>
                    <a:pt x="66" y="466"/>
                  </a:lnTo>
                  <a:lnTo>
                    <a:pt x="66" y="461"/>
                  </a:lnTo>
                  <a:lnTo>
                    <a:pt x="68" y="459"/>
                  </a:lnTo>
                  <a:lnTo>
                    <a:pt x="73" y="456"/>
                  </a:lnTo>
                  <a:lnTo>
                    <a:pt x="73" y="456"/>
                  </a:lnTo>
                  <a:lnTo>
                    <a:pt x="73" y="454"/>
                  </a:lnTo>
                  <a:lnTo>
                    <a:pt x="73" y="451"/>
                  </a:lnTo>
                  <a:lnTo>
                    <a:pt x="78" y="447"/>
                  </a:lnTo>
                  <a:lnTo>
                    <a:pt x="78" y="437"/>
                  </a:lnTo>
                  <a:lnTo>
                    <a:pt x="82" y="437"/>
                  </a:lnTo>
                  <a:lnTo>
                    <a:pt x="82" y="428"/>
                  </a:lnTo>
                  <a:lnTo>
                    <a:pt x="89" y="418"/>
                  </a:lnTo>
                  <a:lnTo>
                    <a:pt x="92" y="411"/>
                  </a:lnTo>
                  <a:lnTo>
                    <a:pt x="101" y="409"/>
                  </a:lnTo>
                  <a:lnTo>
                    <a:pt x="113" y="407"/>
                  </a:lnTo>
                  <a:lnTo>
                    <a:pt x="115" y="416"/>
                  </a:lnTo>
                  <a:lnTo>
                    <a:pt x="118" y="418"/>
                  </a:lnTo>
                  <a:lnTo>
                    <a:pt x="123" y="421"/>
                  </a:lnTo>
                  <a:lnTo>
                    <a:pt x="123" y="423"/>
                  </a:lnTo>
                  <a:lnTo>
                    <a:pt x="125" y="430"/>
                  </a:lnTo>
                  <a:lnTo>
                    <a:pt x="127" y="433"/>
                  </a:lnTo>
                  <a:lnTo>
                    <a:pt x="137" y="440"/>
                  </a:lnTo>
                  <a:lnTo>
                    <a:pt x="146" y="435"/>
                  </a:lnTo>
                  <a:lnTo>
                    <a:pt x="170" y="433"/>
                  </a:lnTo>
                  <a:lnTo>
                    <a:pt x="175" y="435"/>
                  </a:lnTo>
                  <a:lnTo>
                    <a:pt x="177" y="442"/>
                  </a:lnTo>
                  <a:lnTo>
                    <a:pt x="177" y="442"/>
                  </a:lnTo>
                  <a:lnTo>
                    <a:pt x="196" y="442"/>
                  </a:lnTo>
                  <a:lnTo>
                    <a:pt x="205" y="430"/>
                  </a:lnTo>
                  <a:lnTo>
                    <a:pt x="219" y="430"/>
                  </a:lnTo>
                  <a:lnTo>
                    <a:pt x="222" y="418"/>
                  </a:lnTo>
                  <a:lnTo>
                    <a:pt x="234" y="411"/>
                  </a:lnTo>
                  <a:lnTo>
                    <a:pt x="250" y="421"/>
                  </a:lnTo>
                  <a:lnTo>
                    <a:pt x="260" y="430"/>
                  </a:lnTo>
                  <a:lnTo>
                    <a:pt x="274" y="430"/>
                  </a:lnTo>
                  <a:lnTo>
                    <a:pt x="290" y="409"/>
                  </a:lnTo>
                  <a:lnTo>
                    <a:pt x="295" y="397"/>
                  </a:lnTo>
                  <a:lnTo>
                    <a:pt x="309" y="388"/>
                  </a:lnTo>
                  <a:lnTo>
                    <a:pt x="307" y="381"/>
                  </a:lnTo>
                  <a:lnTo>
                    <a:pt x="307" y="364"/>
                  </a:lnTo>
                  <a:lnTo>
                    <a:pt x="300" y="357"/>
                  </a:lnTo>
                  <a:lnTo>
                    <a:pt x="319" y="357"/>
                  </a:lnTo>
                  <a:lnTo>
                    <a:pt x="319" y="350"/>
                  </a:lnTo>
                  <a:lnTo>
                    <a:pt x="331" y="347"/>
                  </a:lnTo>
                  <a:lnTo>
                    <a:pt x="328" y="357"/>
                  </a:lnTo>
                  <a:lnTo>
                    <a:pt x="328" y="366"/>
                  </a:lnTo>
                  <a:lnTo>
                    <a:pt x="326" y="369"/>
                  </a:lnTo>
                  <a:lnTo>
                    <a:pt x="328" y="378"/>
                  </a:lnTo>
                  <a:lnTo>
                    <a:pt x="331" y="385"/>
                  </a:lnTo>
                  <a:lnTo>
                    <a:pt x="331" y="390"/>
                  </a:lnTo>
                  <a:lnTo>
                    <a:pt x="328" y="395"/>
                  </a:lnTo>
                  <a:lnTo>
                    <a:pt x="335" y="399"/>
                  </a:lnTo>
                  <a:lnTo>
                    <a:pt x="345" y="407"/>
                  </a:lnTo>
                  <a:lnTo>
                    <a:pt x="352" y="414"/>
                  </a:lnTo>
                  <a:lnTo>
                    <a:pt x="354" y="418"/>
                  </a:lnTo>
                  <a:lnTo>
                    <a:pt x="357" y="423"/>
                  </a:lnTo>
                  <a:lnTo>
                    <a:pt x="359" y="423"/>
                  </a:lnTo>
                  <a:lnTo>
                    <a:pt x="361" y="421"/>
                  </a:lnTo>
                  <a:lnTo>
                    <a:pt x="361" y="414"/>
                  </a:lnTo>
                  <a:lnTo>
                    <a:pt x="359" y="409"/>
                  </a:lnTo>
                  <a:lnTo>
                    <a:pt x="359" y="402"/>
                  </a:lnTo>
                  <a:lnTo>
                    <a:pt x="366" y="395"/>
                  </a:lnTo>
                  <a:lnTo>
                    <a:pt x="368" y="395"/>
                  </a:lnTo>
                  <a:lnTo>
                    <a:pt x="368" y="399"/>
                  </a:lnTo>
                  <a:lnTo>
                    <a:pt x="371" y="402"/>
                  </a:lnTo>
                  <a:lnTo>
                    <a:pt x="378" y="402"/>
                  </a:lnTo>
                  <a:lnTo>
                    <a:pt x="380" y="399"/>
                  </a:lnTo>
                  <a:lnTo>
                    <a:pt x="380" y="385"/>
                  </a:lnTo>
                  <a:lnTo>
                    <a:pt x="378" y="383"/>
                  </a:lnTo>
                  <a:lnTo>
                    <a:pt x="378" y="381"/>
                  </a:lnTo>
                  <a:lnTo>
                    <a:pt x="382" y="373"/>
                  </a:lnTo>
                  <a:lnTo>
                    <a:pt x="382" y="364"/>
                  </a:lnTo>
                  <a:lnTo>
                    <a:pt x="385" y="362"/>
                  </a:lnTo>
                  <a:lnTo>
                    <a:pt x="390" y="362"/>
                  </a:lnTo>
                  <a:lnTo>
                    <a:pt x="392" y="357"/>
                  </a:lnTo>
                  <a:lnTo>
                    <a:pt x="392" y="343"/>
                  </a:lnTo>
                  <a:lnTo>
                    <a:pt x="394" y="340"/>
                  </a:lnTo>
                  <a:lnTo>
                    <a:pt x="397" y="336"/>
                  </a:lnTo>
                  <a:lnTo>
                    <a:pt x="399" y="333"/>
                  </a:lnTo>
                  <a:lnTo>
                    <a:pt x="411" y="333"/>
                  </a:lnTo>
                  <a:lnTo>
                    <a:pt x="411" y="314"/>
                  </a:lnTo>
                  <a:lnTo>
                    <a:pt x="413" y="310"/>
                  </a:lnTo>
                  <a:lnTo>
                    <a:pt x="416" y="307"/>
                  </a:lnTo>
                  <a:lnTo>
                    <a:pt x="418" y="303"/>
                  </a:lnTo>
                  <a:lnTo>
                    <a:pt x="420" y="300"/>
                  </a:lnTo>
                  <a:lnTo>
                    <a:pt x="420" y="284"/>
                  </a:lnTo>
                  <a:lnTo>
                    <a:pt x="418" y="265"/>
                  </a:lnTo>
                  <a:lnTo>
                    <a:pt x="416" y="262"/>
                  </a:lnTo>
                  <a:lnTo>
                    <a:pt x="416" y="255"/>
                  </a:lnTo>
                  <a:lnTo>
                    <a:pt x="420" y="253"/>
                  </a:lnTo>
                  <a:lnTo>
                    <a:pt x="423" y="253"/>
                  </a:lnTo>
                  <a:lnTo>
                    <a:pt x="423" y="239"/>
                  </a:lnTo>
                  <a:lnTo>
                    <a:pt x="425" y="239"/>
                  </a:lnTo>
                  <a:lnTo>
                    <a:pt x="427" y="236"/>
                  </a:lnTo>
                  <a:lnTo>
                    <a:pt x="430" y="232"/>
                  </a:lnTo>
                  <a:lnTo>
                    <a:pt x="430" y="215"/>
                  </a:lnTo>
                  <a:lnTo>
                    <a:pt x="427" y="213"/>
                  </a:lnTo>
                  <a:lnTo>
                    <a:pt x="427" y="208"/>
                  </a:lnTo>
                  <a:lnTo>
                    <a:pt x="432" y="208"/>
                  </a:lnTo>
                  <a:close/>
                </a:path>
              </a:pathLst>
            </a:custGeom>
            <a:solidFill>
              <a:srgbClr val="692864"/>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sp>
          <p:nvSpPr>
            <p:cNvPr id="217" name="Freeform 9"/>
            <p:cNvSpPr>
              <a:spLocks/>
            </p:cNvSpPr>
            <p:nvPr/>
          </p:nvSpPr>
          <p:spPr bwMode="gray">
            <a:xfrm>
              <a:off x="4899664" y="3677090"/>
              <a:ext cx="349247" cy="292061"/>
            </a:xfrm>
            <a:custGeom>
              <a:avLst/>
              <a:gdLst/>
              <a:ahLst/>
              <a:cxnLst>
                <a:cxn ang="0">
                  <a:pos x="269" y="52"/>
                </a:cxn>
                <a:cxn ang="0">
                  <a:pos x="265" y="38"/>
                </a:cxn>
                <a:cxn ang="0">
                  <a:pos x="262" y="19"/>
                </a:cxn>
                <a:cxn ang="0">
                  <a:pos x="253" y="3"/>
                </a:cxn>
                <a:cxn ang="0">
                  <a:pos x="241" y="17"/>
                </a:cxn>
                <a:cxn ang="0">
                  <a:pos x="229" y="50"/>
                </a:cxn>
                <a:cxn ang="0">
                  <a:pos x="194" y="83"/>
                </a:cxn>
                <a:cxn ang="0">
                  <a:pos x="156" y="71"/>
                </a:cxn>
                <a:cxn ang="0">
                  <a:pos x="130" y="95"/>
                </a:cxn>
                <a:cxn ang="0">
                  <a:pos x="109" y="88"/>
                </a:cxn>
                <a:cxn ang="0">
                  <a:pos x="71" y="93"/>
                </a:cxn>
                <a:cxn ang="0">
                  <a:pos x="57" y="76"/>
                </a:cxn>
                <a:cxn ang="0">
                  <a:pos x="49" y="69"/>
                </a:cxn>
                <a:cxn ang="0">
                  <a:pos x="26" y="64"/>
                </a:cxn>
                <a:cxn ang="0">
                  <a:pos x="16" y="90"/>
                </a:cxn>
                <a:cxn ang="0">
                  <a:pos x="7" y="104"/>
                </a:cxn>
                <a:cxn ang="0">
                  <a:pos x="7" y="109"/>
                </a:cxn>
                <a:cxn ang="0">
                  <a:pos x="0" y="119"/>
                </a:cxn>
                <a:cxn ang="0">
                  <a:pos x="12" y="135"/>
                </a:cxn>
                <a:cxn ang="0">
                  <a:pos x="28" y="142"/>
                </a:cxn>
                <a:cxn ang="0">
                  <a:pos x="38" y="152"/>
                </a:cxn>
                <a:cxn ang="0">
                  <a:pos x="33" y="154"/>
                </a:cxn>
                <a:cxn ang="0">
                  <a:pos x="42" y="164"/>
                </a:cxn>
                <a:cxn ang="0">
                  <a:pos x="54" y="173"/>
                </a:cxn>
                <a:cxn ang="0">
                  <a:pos x="59" y="182"/>
                </a:cxn>
                <a:cxn ang="0">
                  <a:pos x="68" y="190"/>
                </a:cxn>
                <a:cxn ang="0">
                  <a:pos x="68" y="197"/>
                </a:cxn>
                <a:cxn ang="0">
                  <a:pos x="83" y="208"/>
                </a:cxn>
                <a:cxn ang="0">
                  <a:pos x="92" y="218"/>
                </a:cxn>
                <a:cxn ang="0">
                  <a:pos x="106" y="241"/>
                </a:cxn>
                <a:cxn ang="0">
                  <a:pos x="127" y="258"/>
                </a:cxn>
                <a:cxn ang="0">
                  <a:pos x="137" y="251"/>
                </a:cxn>
                <a:cxn ang="0">
                  <a:pos x="146" y="258"/>
                </a:cxn>
                <a:cxn ang="0">
                  <a:pos x="156" y="251"/>
                </a:cxn>
                <a:cxn ang="0">
                  <a:pos x="168" y="251"/>
                </a:cxn>
                <a:cxn ang="0">
                  <a:pos x="177" y="267"/>
                </a:cxn>
                <a:cxn ang="0">
                  <a:pos x="187" y="272"/>
                </a:cxn>
                <a:cxn ang="0">
                  <a:pos x="203" y="275"/>
                </a:cxn>
                <a:cxn ang="0">
                  <a:pos x="215" y="279"/>
                </a:cxn>
                <a:cxn ang="0">
                  <a:pos x="222" y="275"/>
                </a:cxn>
                <a:cxn ang="0">
                  <a:pos x="243" y="277"/>
                </a:cxn>
                <a:cxn ang="0">
                  <a:pos x="262" y="272"/>
                </a:cxn>
                <a:cxn ang="0">
                  <a:pos x="274" y="277"/>
                </a:cxn>
                <a:cxn ang="0">
                  <a:pos x="283" y="265"/>
                </a:cxn>
                <a:cxn ang="0">
                  <a:pos x="295" y="251"/>
                </a:cxn>
                <a:cxn ang="0">
                  <a:pos x="340" y="239"/>
                </a:cxn>
                <a:cxn ang="0">
                  <a:pos x="335" y="225"/>
                </a:cxn>
                <a:cxn ang="0">
                  <a:pos x="316" y="208"/>
                </a:cxn>
                <a:cxn ang="0">
                  <a:pos x="312" y="185"/>
                </a:cxn>
                <a:cxn ang="0">
                  <a:pos x="293" y="175"/>
                </a:cxn>
                <a:cxn ang="0">
                  <a:pos x="286" y="159"/>
                </a:cxn>
                <a:cxn ang="0">
                  <a:pos x="276" y="149"/>
                </a:cxn>
                <a:cxn ang="0">
                  <a:pos x="260" y="147"/>
                </a:cxn>
                <a:cxn ang="0">
                  <a:pos x="265" y="135"/>
                </a:cxn>
                <a:cxn ang="0">
                  <a:pos x="279" y="128"/>
                </a:cxn>
                <a:cxn ang="0">
                  <a:pos x="288" y="123"/>
                </a:cxn>
                <a:cxn ang="0">
                  <a:pos x="291" y="100"/>
                </a:cxn>
                <a:cxn ang="0">
                  <a:pos x="286" y="88"/>
                </a:cxn>
                <a:cxn ang="0">
                  <a:pos x="291" y="76"/>
                </a:cxn>
              </a:cxnLst>
              <a:rect l="0" t="0" r="r" b="b"/>
              <a:pathLst>
                <a:path w="342" h="286">
                  <a:moveTo>
                    <a:pt x="286" y="67"/>
                  </a:moveTo>
                  <a:lnTo>
                    <a:pt x="279" y="60"/>
                  </a:lnTo>
                  <a:lnTo>
                    <a:pt x="269" y="52"/>
                  </a:lnTo>
                  <a:lnTo>
                    <a:pt x="262" y="48"/>
                  </a:lnTo>
                  <a:lnTo>
                    <a:pt x="265" y="43"/>
                  </a:lnTo>
                  <a:lnTo>
                    <a:pt x="265" y="38"/>
                  </a:lnTo>
                  <a:lnTo>
                    <a:pt x="262" y="31"/>
                  </a:lnTo>
                  <a:lnTo>
                    <a:pt x="260" y="22"/>
                  </a:lnTo>
                  <a:lnTo>
                    <a:pt x="262" y="19"/>
                  </a:lnTo>
                  <a:lnTo>
                    <a:pt x="262" y="10"/>
                  </a:lnTo>
                  <a:lnTo>
                    <a:pt x="265" y="0"/>
                  </a:lnTo>
                  <a:lnTo>
                    <a:pt x="253" y="3"/>
                  </a:lnTo>
                  <a:lnTo>
                    <a:pt x="253" y="10"/>
                  </a:lnTo>
                  <a:lnTo>
                    <a:pt x="234" y="10"/>
                  </a:lnTo>
                  <a:lnTo>
                    <a:pt x="241" y="17"/>
                  </a:lnTo>
                  <a:lnTo>
                    <a:pt x="241" y="34"/>
                  </a:lnTo>
                  <a:lnTo>
                    <a:pt x="243" y="41"/>
                  </a:lnTo>
                  <a:lnTo>
                    <a:pt x="229" y="50"/>
                  </a:lnTo>
                  <a:lnTo>
                    <a:pt x="224" y="62"/>
                  </a:lnTo>
                  <a:lnTo>
                    <a:pt x="208" y="83"/>
                  </a:lnTo>
                  <a:lnTo>
                    <a:pt x="194" y="83"/>
                  </a:lnTo>
                  <a:lnTo>
                    <a:pt x="184" y="74"/>
                  </a:lnTo>
                  <a:lnTo>
                    <a:pt x="168" y="64"/>
                  </a:lnTo>
                  <a:lnTo>
                    <a:pt x="156" y="71"/>
                  </a:lnTo>
                  <a:lnTo>
                    <a:pt x="153" y="83"/>
                  </a:lnTo>
                  <a:lnTo>
                    <a:pt x="139" y="83"/>
                  </a:lnTo>
                  <a:lnTo>
                    <a:pt x="130" y="95"/>
                  </a:lnTo>
                  <a:lnTo>
                    <a:pt x="111" y="95"/>
                  </a:lnTo>
                  <a:lnTo>
                    <a:pt x="111" y="95"/>
                  </a:lnTo>
                  <a:lnTo>
                    <a:pt x="109" y="88"/>
                  </a:lnTo>
                  <a:lnTo>
                    <a:pt x="104" y="86"/>
                  </a:lnTo>
                  <a:lnTo>
                    <a:pt x="80" y="88"/>
                  </a:lnTo>
                  <a:lnTo>
                    <a:pt x="71" y="93"/>
                  </a:lnTo>
                  <a:lnTo>
                    <a:pt x="61" y="86"/>
                  </a:lnTo>
                  <a:lnTo>
                    <a:pt x="59" y="83"/>
                  </a:lnTo>
                  <a:lnTo>
                    <a:pt x="57" y="76"/>
                  </a:lnTo>
                  <a:lnTo>
                    <a:pt x="57" y="74"/>
                  </a:lnTo>
                  <a:lnTo>
                    <a:pt x="52" y="71"/>
                  </a:lnTo>
                  <a:lnTo>
                    <a:pt x="49" y="69"/>
                  </a:lnTo>
                  <a:lnTo>
                    <a:pt x="47" y="60"/>
                  </a:lnTo>
                  <a:lnTo>
                    <a:pt x="35" y="62"/>
                  </a:lnTo>
                  <a:lnTo>
                    <a:pt x="26" y="64"/>
                  </a:lnTo>
                  <a:lnTo>
                    <a:pt x="23" y="71"/>
                  </a:lnTo>
                  <a:lnTo>
                    <a:pt x="16" y="81"/>
                  </a:lnTo>
                  <a:lnTo>
                    <a:pt x="16" y="90"/>
                  </a:lnTo>
                  <a:lnTo>
                    <a:pt x="12" y="90"/>
                  </a:lnTo>
                  <a:lnTo>
                    <a:pt x="12" y="100"/>
                  </a:lnTo>
                  <a:lnTo>
                    <a:pt x="7" y="104"/>
                  </a:lnTo>
                  <a:lnTo>
                    <a:pt x="7" y="107"/>
                  </a:lnTo>
                  <a:lnTo>
                    <a:pt x="7" y="109"/>
                  </a:lnTo>
                  <a:lnTo>
                    <a:pt x="7" y="109"/>
                  </a:lnTo>
                  <a:lnTo>
                    <a:pt x="2" y="112"/>
                  </a:lnTo>
                  <a:lnTo>
                    <a:pt x="0" y="114"/>
                  </a:lnTo>
                  <a:lnTo>
                    <a:pt x="0" y="119"/>
                  </a:lnTo>
                  <a:lnTo>
                    <a:pt x="2" y="119"/>
                  </a:lnTo>
                  <a:lnTo>
                    <a:pt x="2" y="130"/>
                  </a:lnTo>
                  <a:lnTo>
                    <a:pt x="12" y="135"/>
                  </a:lnTo>
                  <a:lnTo>
                    <a:pt x="26" y="135"/>
                  </a:lnTo>
                  <a:lnTo>
                    <a:pt x="26" y="142"/>
                  </a:lnTo>
                  <a:lnTo>
                    <a:pt x="28" y="142"/>
                  </a:lnTo>
                  <a:lnTo>
                    <a:pt x="33" y="145"/>
                  </a:lnTo>
                  <a:lnTo>
                    <a:pt x="38" y="149"/>
                  </a:lnTo>
                  <a:lnTo>
                    <a:pt x="38" y="152"/>
                  </a:lnTo>
                  <a:lnTo>
                    <a:pt x="35" y="152"/>
                  </a:lnTo>
                  <a:lnTo>
                    <a:pt x="35" y="154"/>
                  </a:lnTo>
                  <a:lnTo>
                    <a:pt x="33" y="154"/>
                  </a:lnTo>
                  <a:lnTo>
                    <a:pt x="33" y="156"/>
                  </a:lnTo>
                  <a:lnTo>
                    <a:pt x="38" y="161"/>
                  </a:lnTo>
                  <a:lnTo>
                    <a:pt x="42" y="164"/>
                  </a:lnTo>
                  <a:lnTo>
                    <a:pt x="45" y="164"/>
                  </a:lnTo>
                  <a:lnTo>
                    <a:pt x="49" y="166"/>
                  </a:lnTo>
                  <a:lnTo>
                    <a:pt x="54" y="173"/>
                  </a:lnTo>
                  <a:lnTo>
                    <a:pt x="57" y="178"/>
                  </a:lnTo>
                  <a:lnTo>
                    <a:pt x="59" y="180"/>
                  </a:lnTo>
                  <a:lnTo>
                    <a:pt x="59" y="182"/>
                  </a:lnTo>
                  <a:lnTo>
                    <a:pt x="66" y="182"/>
                  </a:lnTo>
                  <a:lnTo>
                    <a:pt x="68" y="185"/>
                  </a:lnTo>
                  <a:lnTo>
                    <a:pt x="68" y="190"/>
                  </a:lnTo>
                  <a:lnTo>
                    <a:pt x="64" y="190"/>
                  </a:lnTo>
                  <a:lnTo>
                    <a:pt x="64" y="192"/>
                  </a:lnTo>
                  <a:lnTo>
                    <a:pt x="68" y="197"/>
                  </a:lnTo>
                  <a:lnTo>
                    <a:pt x="68" y="204"/>
                  </a:lnTo>
                  <a:lnTo>
                    <a:pt x="80" y="206"/>
                  </a:lnTo>
                  <a:lnTo>
                    <a:pt x="83" y="208"/>
                  </a:lnTo>
                  <a:lnTo>
                    <a:pt x="87" y="211"/>
                  </a:lnTo>
                  <a:lnTo>
                    <a:pt x="90" y="213"/>
                  </a:lnTo>
                  <a:lnTo>
                    <a:pt x="92" y="218"/>
                  </a:lnTo>
                  <a:lnTo>
                    <a:pt x="92" y="227"/>
                  </a:lnTo>
                  <a:lnTo>
                    <a:pt x="94" y="232"/>
                  </a:lnTo>
                  <a:lnTo>
                    <a:pt x="106" y="241"/>
                  </a:lnTo>
                  <a:lnTo>
                    <a:pt x="106" y="251"/>
                  </a:lnTo>
                  <a:lnTo>
                    <a:pt x="125" y="260"/>
                  </a:lnTo>
                  <a:lnTo>
                    <a:pt x="127" y="258"/>
                  </a:lnTo>
                  <a:lnTo>
                    <a:pt x="130" y="253"/>
                  </a:lnTo>
                  <a:lnTo>
                    <a:pt x="132" y="251"/>
                  </a:lnTo>
                  <a:lnTo>
                    <a:pt x="137" y="251"/>
                  </a:lnTo>
                  <a:lnTo>
                    <a:pt x="142" y="253"/>
                  </a:lnTo>
                  <a:lnTo>
                    <a:pt x="142" y="256"/>
                  </a:lnTo>
                  <a:lnTo>
                    <a:pt x="146" y="258"/>
                  </a:lnTo>
                  <a:lnTo>
                    <a:pt x="149" y="258"/>
                  </a:lnTo>
                  <a:lnTo>
                    <a:pt x="156" y="253"/>
                  </a:lnTo>
                  <a:lnTo>
                    <a:pt x="156" y="251"/>
                  </a:lnTo>
                  <a:lnTo>
                    <a:pt x="161" y="246"/>
                  </a:lnTo>
                  <a:lnTo>
                    <a:pt x="163" y="249"/>
                  </a:lnTo>
                  <a:lnTo>
                    <a:pt x="168" y="251"/>
                  </a:lnTo>
                  <a:lnTo>
                    <a:pt x="170" y="258"/>
                  </a:lnTo>
                  <a:lnTo>
                    <a:pt x="172" y="263"/>
                  </a:lnTo>
                  <a:lnTo>
                    <a:pt x="177" y="267"/>
                  </a:lnTo>
                  <a:lnTo>
                    <a:pt x="182" y="270"/>
                  </a:lnTo>
                  <a:lnTo>
                    <a:pt x="184" y="272"/>
                  </a:lnTo>
                  <a:lnTo>
                    <a:pt x="187" y="272"/>
                  </a:lnTo>
                  <a:lnTo>
                    <a:pt x="189" y="282"/>
                  </a:lnTo>
                  <a:lnTo>
                    <a:pt x="196" y="282"/>
                  </a:lnTo>
                  <a:lnTo>
                    <a:pt x="203" y="275"/>
                  </a:lnTo>
                  <a:lnTo>
                    <a:pt x="208" y="275"/>
                  </a:lnTo>
                  <a:lnTo>
                    <a:pt x="210" y="277"/>
                  </a:lnTo>
                  <a:lnTo>
                    <a:pt x="215" y="279"/>
                  </a:lnTo>
                  <a:lnTo>
                    <a:pt x="220" y="279"/>
                  </a:lnTo>
                  <a:lnTo>
                    <a:pt x="220" y="277"/>
                  </a:lnTo>
                  <a:lnTo>
                    <a:pt x="222" y="275"/>
                  </a:lnTo>
                  <a:lnTo>
                    <a:pt x="224" y="275"/>
                  </a:lnTo>
                  <a:lnTo>
                    <a:pt x="236" y="286"/>
                  </a:lnTo>
                  <a:lnTo>
                    <a:pt x="243" y="277"/>
                  </a:lnTo>
                  <a:lnTo>
                    <a:pt x="253" y="277"/>
                  </a:lnTo>
                  <a:lnTo>
                    <a:pt x="257" y="272"/>
                  </a:lnTo>
                  <a:lnTo>
                    <a:pt x="262" y="272"/>
                  </a:lnTo>
                  <a:lnTo>
                    <a:pt x="262" y="275"/>
                  </a:lnTo>
                  <a:lnTo>
                    <a:pt x="265" y="277"/>
                  </a:lnTo>
                  <a:lnTo>
                    <a:pt x="274" y="277"/>
                  </a:lnTo>
                  <a:lnTo>
                    <a:pt x="281" y="270"/>
                  </a:lnTo>
                  <a:lnTo>
                    <a:pt x="281" y="267"/>
                  </a:lnTo>
                  <a:lnTo>
                    <a:pt x="283" y="265"/>
                  </a:lnTo>
                  <a:lnTo>
                    <a:pt x="283" y="263"/>
                  </a:lnTo>
                  <a:lnTo>
                    <a:pt x="288" y="263"/>
                  </a:lnTo>
                  <a:lnTo>
                    <a:pt x="295" y="251"/>
                  </a:lnTo>
                  <a:lnTo>
                    <a:pt x="333" y="251"/>
                  </a:lnTo>
                  <a:lnTo>
                    <a:pt x="342" y="246"/>
                  </a:lnTo>
                  <a:lnTo>
                    <a:pt x="340" y="239"/>
                  </a:lnTo>
                  <a:lnTo>
                    <a:pt x="340" y="232"/>
                  </a:lnTo>
                  <a:lnTo>
                    <a:pt x="338" y="227"/>
                  </a:lnTo>
                  <a:lnTo>
                    <a:pt x="335" y="225"/>
                  </a:lnTo>
                  <a:lnTo>
                    <a:pt x="328" y="225"/>
                  </a:lnTo>
                  <a:lnTo>
                    <a:pt x="324" y="223"/>
                  </a:lnTo>
                  <a:lnTo>
                    <a:pt x="316" y="208"/>
                  </a:lnTo>
                  <a:lnTo>
                    <a:pt x="316" y="201"/>
                  </a:lnTo>
                  <a:lnTo>
                    <a:pt x="312" y="199"/>
                  </a:lnTo>
                  <a:lnTo>
                    <a:pt x="312" y="185"/>
                  </a:lnTo>
                  <a:lnTo>
                    <a:pt x="305" y="185"/>
                  </a:lnTo>
                  <a:lnTo>
                    <a:pt x="302" y="175"/>
                  </a:lnTo>
                  <a:lnTo>
                    <a:pt x="293" y="175"/>
                  </a:lnTo>
                  <a:lnTo>
                    <a:pt x="291" y="168"/>
                  </a:lnTo>
                  <a:lnTo>
                    <a:pt x="291" y="161"/>
                  </a:lnTo>
                  <a:lnTo>
                    <a:pt x="286" y="159"/>
                  </a:lnTo>
                  <a:lnTo>
                    <a:pt x="283" y="154"/>
                  </a:lnTo>
                  <a:lnTo>
                    <a:pt x="279" y="152"/>
                  </a:lnTo>
                  <a:lnTo>
                    <a:pt x="276" y="149"/>
                  </a:lnTo>
                  <a:lnTo>
                    <a:pt x="267" y="149"/>
                  </a:lnTo>
                  <a:lnTo>
                    <a:pt x="262" y="147"/>
                  </a:lnTo>
                  <a:lnTo>
                    <a:pt x="260" y="147"/>
                  </a:lnTo>
                  <a:lnTo>
                    <a:pt x="260" y="142"/>
                  </a:lnTo>
                  <a:lnTo>
                    <a:pt x="262" y="138"/>
                  </a:lnTo>
                  <a:lnTo>
                    <a:pt x="265" y="135"/>
                  </a:lnTo>
                  <a:lnTo>
                    <a:pt x="262" y="126"/>
                  </a:lnTo>
                  <a:lnTo>
                    <a:pt x="276" y="126"/>
                  </a:lnTo>
                  <a:lnTo>
                    <a:pt x="279" y="128"/>
                  </a:lnTo>
                  <a:lnTo>
                    <a:pt x="281" y="126"/>
                  </a:lnTo>
                  <a:lnTo>
                    <a:pt x="286" y="126"/>
                  </a:lnTo>
                  <a:lnTo>
                    <a:pt x="288" y="123"/>
                  </a:lnTo>
                  <a:lnTo>
                    <a:pt x="288" y="119"/>
                  </a:lnTo>
                  <a:lnTo>
                    <a:pt x="291" y="114"/>
                  </a:lnTo>
                  <a:lnTo>
                    <a:pt x="291" y="100"/>
                  </a:lnTo>
                  <a:lnTo>
                    <a:pt x="288" y="97"/>
                  </a:lnTo>
                  <a:lnTo>
                    <a:pt x="288" y="93"/>
                  </a:lnTo>
                  <a:lnTo>
                    <a:pt x="286" y="88"/>
                  </a:lnTo>
                  <a:lnTo>
                    <a:pt x="286" y="83"/>
                  </a:lnTo>
                  <a:lnTo>
                    <a:pt x="288" y="78"/>
                  </a:lnTo>
                  <a:lnTo>
                    <a:pt x="291" y="76"/>
                  </a:lnTo>
                  <a:lnTo>
                    <a:pt x="288" y="71"/>
                  </a:lnTo>
                  <a:lnTo>
                    <a:pt x="286" y="67"/>
                  </a:lnTo>
                  <a:close/>
                </a:path>
              </a:pathLst>
            </a:custGeom>
            <a:solidFill>
              <a:srgbClr val="692864"/>
            </a:solidFill>
            <a:ln w="3175">
              <a:solidFill>
                <a:sysClr val="window" lastClr="FFFFFF"/>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Calibri" pitchFamily="34" charset="0"/>
              </a:endParaRPr>
            </a:p>
          </p:txBody>
        </p:sp>
      </p:grpSp>
      <p:graphicFrame>
        <p:nvGraphicFramePr>
          <p:cNvPr id="256" name="Tableau 255"/>
          <p:cNvGraphicFramePr>
            <a:graphicFrameLocks noGrp="1"/>
          </p:cNvGraphicFramePr>
          <p:nvPr/>
        </p:nvGraphicFramePr>
        <p:xfrm>
          <a:off x="8016285" y="1693252"/>
          <a:ext cx="1818089" cy="2213196"/>
        </p:xfrm>
        <a:graphic>
          <a:graphicData uri="http://schemas.openxmlformats.org/drawingml/2006/table">
            <a:tbl>
              <a:tblPr>
                <a:effectLst/>
                <a:tableStyleId>{5C22544A-7EE6-4342-B048-85BDC9FD1C3A}</a:tableStyleId>
              </a:tblPr>
              <a:tblGrid>
                <a:gridCol w="1007183">
                  <a:extLst>
                    <a:ext uri="{9D8B030D-6E8A-4147-A177-3AD203B41FA5}">
                      <a16:colId xmlns:a16="http://schemas.microsoft.com/office/drawing/2014/main" val="4049604807"/>
                    </a:ext>
                  </a:extLst>
                </a:gridCol>
                <a:gridCol w="810906">
                  <a:extLst>
                    <a:ext uri="{9D8B030D-6E8A-4147-A177-3AD203B41FA5}">
                      <a16:colId xmlns:a16="http://schemas.microsoft.com/office/drawing/2014/main" val="3717275618"/>
                    </a:ext>
                  </a:extLst>
                </a:gridCol>
              </a:tblGrid>
              <a:tr h="718616">
                <a:tc gridSpan="2">
                  <a:txBody>
                    <a:bodyPr/>
                    <a:lstStyle/>
                    <a:p>
                      <a:r>
                        <a:rPr lang="fr-FR" sz="1600" b="1" dirty="0"/>
                        <a:t>Chine,</a:t>
                      </a:r>
                      <a:r>
                        <a:rPr lang="fr-FR" sz="1600" b="1" baseline="0" dirty="0"/>
                        <a:t> Russie </a:t>
                      </a:r>
                      <a:br>
                        <a:rPr lang="fr-FR" sz="1600" b="1" baseline="0" dirty="0"/>
                      </a:br>
                      <a:r>
                        <a:rPr lang="fr-FR" sz="1600" b="1" baseline="0" dirty="0"/>
                        <a:t>et ex-URSS</a:t>
                      </a:r>
                      <a:endParaRPr lang="fr-FR" sz="1600" b="1" dirty="0"/>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90000"/>
                      </a:schemeClr>
                    </a:solidFill>
                  </a:tcPr>
                </a:tc>
                <a:tc hMerge="1">
                  <a:txBody>
                    <a:bodyPr/>
                    <a:lstStyle/>
                    <a:p>
                      <a:endParaRPr lang="fr-FR"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1976145"/>
                  </a:ext>
                </a:extLst>
              </a:tr>
              <a:tr h="373645">
                <a:tc>
                  <a:txBody>
                    <a:bodyPr/>
                    <a:lstStyle/>
                    <a:p>
                      <a:r>
                        <a:rPr lang="fr-FR" sz="1600" dirty="0"/>
                        <a:t>Réacteurs</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90000"/>
                      </a:schemeClr>
                    </a:solidFill>
                  </a:tcPr>
                </a:tc>
                <a:tc>
                  <a:txBody>
                    <a:bodyPr/>
                    <a:lstStyle/>
                    <a:p>
                      <a:r>
                        <a:rPr lang="fr-FR" sz="1600" dirty="0"/>
                        <a:t> 99</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90000"/>
                      </a:schemeClr>
                    </a:solidFill>
                  </a:tcPr>
                </a:tc>
                <a:extLst>
                  <a:ext uri="{0D108BD9-81ED-4DB2-BD59-A6C34878D82A}">
                    <a16:rowId xmlns:a16="http://schemas.microsoft.com/office/drawing/2014/main" val="2496100807"/>
                  </a:ext>
                </a:extLst>
              </a:tr>
              <a:tr h="373645">
                <a:tc>
                  <a:txBody>
                    <a:bodyPr/>
                    <a:lstStyle/>
                    <a:p>
                      <a:r>
                        <a:rPr lang="fr-FR" sz="1600" dirty="0"/>
                        <a:t>Chantiers </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90000"/>
                      </a:schemeClr>
                    </a:solidFill>
                  </a:tcPr>
                </a:tc>
                <a:tc>
                  <a:txBody>
                    <a:bodyPr/>
                    <a:lstStyle/>
                    <a:p>
                      <a:r>
                        <a:rPr lang="fr-FR" sz="1600" dirty="0"/>
                        <a:t> </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90000"/>
                      </a:schemeClr>
                    </a:solidFill>
                  </a:tcPr>
                </a:tc>
                <a:extLst>
                  <a:ext uri="{0D108BD9-81ED-4DB2-BD59-A6C34878D82A}">
                    <a16:rowId xmlns:a16="http://schemas.microsoft.com/office/drawing/2014/main" val="728824540"/>
                  </a:ext>
                </a:extLst>
              </a:tr>
              <a:tr h="373645">
                <a:tc>
                  <a:txBody>
                    <a:bodyPr/>
                    <a:lstStyle/>
                    <a:p>
                      <a:r>
                        <a:rPr lang="fr-FR" sz="1600" dirty="0"/>
                        <a:t>Partis</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90000"/>
                      </a:schemeClr>
                    </a:solidFill>
                  </a:tcPr>
                </a:tc>
                <a:tc>
                  <a:txBody>
                    <a:bodyPr/>
                    <a:lstStyle/>
                    <a:p>
                      <a:endParaRPr lang="fr-FR" sz="1600"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90000"/>
                      </a:schemeClr>
                    </a:solidFill>
                  </a:tcPr>
                </a:tc>
                <a:extLst>
                  <a:ext uri="{0D108BD9-81ED-4DB2-BD59-A6C34878D82A}">
                    <a16:rowId xmlns:a16="http://schemas.microsoft.com/office/drawing/2014/main" val="3947508378"/>
                  </a:ext>
                </a:extLst>
              </a:tr>
              <a:tr h="373645">
                <a:tc>
                  <a:txBody>
                    <a:bodyPr/>
                    <a:lstStyle/>
                    <a:p>
                      <a:r>
                        <a:rPr lang="fr-FR" sz="1600" dirty="0"/>
                        <a:t>Opinion</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90000"/>
                      </a:schemeClr>
                    </a:solidFill>
                  </a:tcPr>
                </a:tc>
                <a:tc>
                  <a:txBody>
                    <a:bodyPr/>
                    <a:lstStyle/>
                    <a:p>
                      <a:endParaRPr lang="fr-FR" sz="1600"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90000"/>
                      </a:schemeClr>
                    </a:solidFill>
                  </a:tcPr>
                </a:tc>
                <a:extLst>
                  <a:ext uri="{0D108BD9-81ED-4DB2-BD59-A6C34878D82A}">
                    <a16:rowId xmlns:a16="http://schemas.microsoft.com/office/drawing/2014/main" val="1964357637"/>
                  </a:ext>
                </a:extLst>
              </a:tr>
            </a:tbl>
          </a:graphicData>
        </a:graphic>
      </p:graphicFrame>
      <p:sp>
        <p:nvSpPr>
          <p:cNvPr id="304" name="Rectangle 303"/>
          <p:cNvSpPr/>
          <p:nvPr/>
        </p:nvSpPr>
        <p:spPr>
          <a:xfrm>
            <a:off x="9028455" y="2788450"/>
            <a:ext cx="621239" cy="36805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5" name="Rectangle 304"/>
          <p:cNvSpPr/>
          <p:nvPr/>
        </p:nvSpPr>
        <p:spPr>
          <a:xfrm>
            <a:off x="8904373" y="2789440"/>
            <a:ext cx="802611" cy="359549"/>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rPr>
              <a:t>24</a:t>
            </a:r>
          </a:p>
        </p:txBody>
      </p:sp>
      <p:sp>
        <p:nvSpPr>
          <p:cNvPr id="309" name="Rectangle 308"/>
          <p:cNvSpPr/>
          <p:nvPr/>
        </p:nvSpPr>
        <p:spPr>
          <a:xfrm>
            <a:off x="1035111" y="2761012"/>
            <a:ext cx="802611" cy="381273"/>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rPr>
              <a:t>0</a:t>
            </a:r>
          </a:p>
        </p:txBody>
      </p:sp>
      <p:sp>
        <p:nvSpPr>
          <p:cNvPr id="2" name="Titre 1"/>
          <p:cNvSpPr>
            <a:spLocks noGrp="1"/>
          </p:cNvSpPr>
          <p:nvPr>
            <p:ph type="title"/>
          </p:nvPr>
        </p:nvSpPr>
        <p:spPr/>
        <p:txBody>
          <a:bodyPr>
            <a:normAutofit/>
          </a:bodyPr>
          <a:lstStyle/>
          <a:p>
            <a:pPr marL="571500" indent="-571500">
              <a:buFont typeface="Arial" panose="020B0604020202020204" pitchFamily="34" charset="0"/>
              <a:buChar char="•"/>
            </a:pPr>
            <a:r>
              <a:rPr lang="fr-FR" dirty="0">
                <a:solidFill>
                  <a:schemeClr val="accent5">
                    <a:lumMod val="50000"/>
                  </a:schemeClr>
                </a:solidFill>
                <a:latin typeface="+mn-lt"/>
              </a:rPr>
              <a:t>Le nucléaire dans le monde</a:t>
            </a:r>
          </a:p>
        </p:txBody>
      </p:sp>
      <p:graphicFrame>
        <p:nvGraphicFramePr>
          <p:cNvPr id="9" name="Tableau 8"/>
          <p:cNvGraphicFramePr>
            <a:graphicFrameLocks noGrp="1"/>
          </p:cNvGraphicFramePr>
          <p:nvPr/>
        </p:nvGraphicFramePr>
        <p:xfrm>
          <a:off x="-2347189" y="1268268"/>
          <a:ext cx="1818089" cy="2213196"/>
        </p:xfrm>
        <a:graphic>
          <a:graphicData uri="http://schemas.openxmlformats.org/drawingml/2006/table">
            <a:tbl>
              <a:tblPr>
                <a:effectLst/>
                <a:tableStyleId>{5C22544A-7EE6-4342-B048-85BDC9FD1C3A}</a:tableStyleId>
              </a:tblPr>
              <a:tblGrid>
                <a:gridCol w="1818089">
                  <a:extLst>
                    <a:ext uri="{9D8B030D-6E8A-4147-A177-3AD203B41FA5}">
                      <a16:colId xmlns:a16="http://schemas.microsoft.com/office/drawing/2014/main" val="4049604807"/>
                    </a:ext>
                  </a:extLst>
                </a:gridCol>
              </a:tblGrid>
              <a:tr h="718616">
                <a:tc>
                  <a:txBody>
                    <a:bodyPr/>
                    <a:lstStyle/>
                    <a:p>
                      <a:r>
                        <a:rPr lang="fr-FR" sz="1600" b="1" dirty="0"/>
                        <a:t>Légende</a:t>
                      </a: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90000"/>
                      </a:schemeClr>
                    </a:solidFill>
                  </a:tcPr>
                </a:tc>
                <a:extLst>
                  <a:ext uri="{0D108BD9-81ED-4DB2-BD59-A6C34878D82A}">
                    <a16:rowId xmlns:a16="http://schemas.microsoft.com/office/drawing/2014/main" val="301976145"/>
                  </a:ext>
                </a:extLst>
              </a:tr>
              <a:tr h="1494580">
                <a:tc>
                  <a:txBody>
                    <a:bodyPr/>
                    <a:lstStyle/>
                    <a:p>
                      <a:endParaRPr lang="fr-FR" sz="1600"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2496100807"/>
                  </a:ext>
                </a:extLst>
              </a:tr>
            </a:tbl>
          </a:graphicData>
        </a:graphic>
      </p:graphicFrame>
      <p:sp>
        <p:nvSpPr>
          <p:cNvPr id="221" name="Flèche droite 220"/>
          <p:cNvSpPr/>
          <p:nvPr/>
        </p:nvSpPr>
        <p:spPr>
          <a:xfrm rot="18900000">
            <a:off x="6019831" y="-827959"/>
            <a:ext cx="163099" cy="190500"/>
          </a:xfrm>
          <a:prstGeom prst="rightArrow">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5" name="Flèche droite 224"/>
          <p:cNvSpPr/>
          <p:nvPr/>
        </p:nvSpPr>
        <p:spPr>
          <a:xfrm rot="2700000">
            <a:off x="8997144" y="-705387"/>
            <a:ext cx="163099" cy="190500"/>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7" name="Flèche droite 226"/>
          <p:cNvSpPr/>
          <p:nvPr/>
        </p:nvSpPr>
        <p:spPr>
          <a:xfrm>
            <a:off x="10059059" y="-912853"/>
            <a:ext cx="163099" cy="190500"/>
          </a:xfrm>
          <a:prstGeom prst="rightArrow">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3" name="Flèche droite 222"/>
          <p:cNvSpPr/>
          <p:nvPr/>
        </p:nvSpPr>
        <p:spPr>
          <a:xfrm rot="18900000">
            <a:off x="8093044" y="-431128"/>
            <a:ext cx="163099" cy="190500"/>
          </a:xfrm>
          <a:prstGeom prst="rightArrow">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Émoticône 9"/>
          <p:cNvSpPr/>
          <p:nvPr/>
        </p:nvSpPr>
        <p:spPr>
          <a:xfrm>
            <a:off x="11086166" y="-689272"/>
            <a:ext cx="296142" cy="280599"/>
          </a:xfrm>
          <a:prstGeom prst="smileyFace">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4" name="Émoticône 233"/>
          <p:cNvSpPr/>
          <p:nvPr/>
        </p:nvSpPr>
        <p:spPr>
          <a:xfrm>
            <a:off x="11878097" y="-696181"/>
            <a:ext cx="296142" cy="280599"/>
          </a:xfrm>
          <a:prstGeom prst="smileyFace">
            <a:avLst>
              <a:gd name="adj" fmla="val 863"/>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1" name="Émoticône 240"/>
          <p:cNvSpPr/>
          <p:nvPr/>
        </p:nvSpPr>
        <p:spPr>
          <a:xfrm>
            <a:off x="12571084" y="-677172"/>
            <a:ext cx="296142" cy="280599"/>
          </a:xfrm>
          <a:prstGeom prst="smileyFace">
            <a:avLst>
              <a:gd name="adj" fmla="val -4653"/>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Imag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12395" y="-1148663"/>
            <a:ext cx="339887" cy="339887"/>
          </a:xfrm>
          <a:prstGeom prst="rect">
            <a:avLst/>
          </a:prstGeom>
        </p:spPr>
      </p:pic>
      <p:pic>
        <p:nvPicPr>
          <p:cNvPr id="250" name="Image 24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73215" y="-1051019"/>
            <a:ext cx="338127" cy="338127"/>
          </a:xfrm>
          <a:prstGeom prst="rect">
            <a:avLst/>
          </a:prstGeom>
        </p:spPr>
      </p:pic>
      <p:pic>
        <p:nvPicPr>
          <p:cNvPr id="251" name="Image 25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243970" y="-1092027"/>
            <a:ext cx="338127" cy="338127"/>
          </a:xfrm>
          <a:prstGeom prst="rect">
            <a:avLst/>
          </a:prstGeom>
        </p:spPr>
      </p:pic>
      <p:graphicFrame>
        <p:nvGraphicFramePr>
          <p:cNvPr id="255" name="Tableau 254"/>
          <p:cNvGraphicFramePr>
            <a:graphicFrameLocks noGrp="1"/>
          </p:cNvGraphicFramePr>
          <p:nvPr/>
        </p:nvGraphicFramePr>
        <p:xfrm>
          <a:off x="138359" y="4106666"/>
          <a:ext cx="1818089" cy="2213196"/>
        </p:xfrm>
        <a:graphic>
          <a:graphicData uri="http://schemas.openxmlformats.org/drawingml/2006/table">
            <a:tbl>
              <a:tblPr>
                <a:effectLst/>
                <a:tableStyleId>{5C22544A-7EE6-4342-B048-85BDC9FD1C3A}</a:tableStyleId>
              </a:tblPr>
              <a:tblGrid>
                <a:gridCol w="1007183">
                  <a:extLst>
                    <a:ext uri="{9D8B030D-6E8A-4147-A177-3AD203B41FA5}">
                      <a16:colId xmlns:a16="http://schemas.microsoft.com/office/drawing/2014/main" val="4049604807"/>
                    </a:ext>
                  </a:extLst>
                </a:gridCol>
                <a:gridCol w="810906">
                  <a:extLst>
                    <a:ext uri="{9D8B030D-6E8A-4147-A177-3AD203B41FA5}">
                      <a16:colId xmlns:a16="http://schemas.microsoft.com/office/drawing/2014/main" val="3717275618"/>
                    </a:ext>
                  </a:extLst>
                </a:gridCol>
              </a:tblGrid>
              <a:tr h="718616">
                <a:tc gridSpan="2">
                  <a:txBody>
                    <a:bodyPr/>
                    <a:lstStyle/>
                    <a:p>
                      <a:r>
                        <a:rPr lang="fr-FR" sz="1600" b="1" dirty="0"/>
                        <a:t>Amérique</a:t>
                      </a:r>
                      <a:r>
                        <a:rPr lang="fr-FR" sz="1600" b="1" baseline="0" dirty="0"/>
                        <a:t> du Sud</a:t>
                      </a:r>
                      <a:endParaRPr lang="fr-FR" sz="1600" b="1" dirty="0"/>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tc hMerge="1">
                  <a:txBody>
                    <a:bodyPr/>
                    <a:lstStyle/>
                    <a:p>
                      <a:endParaRPr lang="fr-FR"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1976145"/>
                  </a:ext>
                </a:extLst>
              </a:tr>
              <a:tr h="373645">
                <a:tc>
                  <a:txBody>
                    <a:bodyPr/>
                    <a:lstStyle/>
                    <a:p>
                      <a:r>
                        <a:rPr lang="fr-FR" sz="1600" dirty="0"/>
                        <a:t>Réacteurs</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tc>
                  <a:txBody>
                    <a:bodyPr/>
                    <a:lstStyle/>
                    <a:p>
                      <a:r>
                        <a:rPr lang="fr-FR" sz="1600" dirty="0"/>
                        <a:t>   5</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2496100807"/>
                  </a:ext>
                </a:extLst>
              </a:tr>
              <a:tr h="373645">
                <a:tc>
                  <a:txBody>
                    <a:bodyPr/>
                    <a:lstStyle/>
                    <a:p>
                      <a:r>
                        <a:rPr lang="fr-FR" sz="1600" dirty="0"/>
                        <a:t>Chantiers </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tc>
                  <a:txBody>
                    <a:bodyPr/>
                    <a:lstStyle/>
                    <a:p>
                      <a:r>
                        <a:rPr lang="fr-FR" sz="1600" dirty="0"/>
                        <a:t>   1</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728824540"/>
                  </a:ext>
                </a:extLst>
              </a:tr>
              <a:tr h="373645">
                <a:tc>
                  <a:txBody>
                    <a:bodyPr/>
                    <a:lstStyle/>
                    <a:p>
                      <a:r>
                        <a:rPr lang="fr-FR" sz="1600" dirty="0"/>
                        <a:t>Partis</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tc>
                  <a:txBody>
                    <a:bodyPr/>
                    <a:lstStyle/>
                    <a:p>
                      <a:endParaRPr lang="fr-FR" sz="1600"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3947508378"/>
                  </a:ext>
                </a:extLst>
              </a:tr>
              <a:tr h="373645">
                <a:tc>
                  <a:txBody>
                    <a:bodyPr/>
                    <a:lstStyle/>
                    <a:p>
                      <a:r>
                        <a:rPr lang="fr-FR" sz="1600" dirty="0"/>
                        <a:t>Opinion</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tc>
                  <a:txBody>
                    <a:bodyPr/>
                    <a:lstStyle/>
                    <a:p>
                      <a:endParaRPr lang="fr-FR" sz="1600"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1964357637"/>
                  </a:ext>
                </a:extLst>
              </a:tr>
            </a:tbl>
          </a:graphicData>
        </a:graphic>
      </p:graphicFrame>
      <p:graphicFrame>
        <p:nvGraphicFramePr>
          <p:cNvPr id="257" name="Tableau 256"/>
          <p:cNvGraphicFramePr>
            <a:graphicFrameLocks noGrp="1"/>
          </p:cNvGraphicFramePr>
          <p:nvPr/>
        </p:nvGraphicFramePr>
        <p:xfrm>
          <a:off x="5895092" y="1691979"/>
          <a:ext cx="1818089" cy="2213196"/>
        </p:xfrm>
        <a:graphic>
          <a:graphicData uri="http://schemas.openxmlformats.org/drawingml/2006/table">
            <a:tbl>
              <a:tblPr>
                <a:effectLst/>
                <a:tableStyleId>{5C22544A-7EE6-4342-B048-85BDC9FD1C3A}</a:tableStyleId>
              </a:tblPr>
              <a:tblGrid>
                <a:gridCol w="1007183">
                  <a:extLst>
                    <a:ext uri="{9D8B030D-6E8A-4147-A177-3AD203B41FA5}">
                      <a16:colId xmlns:a16="http://schemas.microsoft.com/office/drawing/2014/main" val="4049604807"/>
                    </a:ext>
                  </a:extLst>
                </a:gridCol>
                <a:gridCol w="810906">
                  <a:extLst>
                    <a:ext uri="{9D8B030D-6E8A-4147-A177-3AD203B41FA5}">
                      <a16:colId xmlns:a16="http://schemas.microsoft.com/office/drawing/2014/main" val="3717275618"/>
                    </a:ext>
                  </a:extLst>
                </a:gridCol>
              </a:tblGrid>
              <a:tr h="718616">
                <a:tc gridSpan="2">
                  <a:txBody>
                    <a:bodyPr/>
                    <a:lstStyle/>
                    <a:p>
                      <a:r>
                        <a:rPr lang="fr-FR" sz="1600" b="1" dirty="0"/>
                        <a:t>Europe de l’Est</a:t>
                      </a: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90000"/>
                      </a:schemeClr>
                    </a:solidFill>
                  </a:tcPr>
                </a:tc>
                <a:tc hMerge="1">
                  <a:txBody>
                    <a:bodyPr/>
                    <a:lstStyle/>
                    <a:p>
                      <a:endParaRPr lang="fr-FR"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1976145"/>
                  </a:ext>
                </a:extLst>
              </a:tr>
              <a:tr h="373645">
                <a:tc>
                  <a:txBody>
                    <a:bodyPr/>
                    <a:lstStyle/>
                    <a:p>
                      <a:r>
                        <a:rPr lang="fr-FR" sz="1600" dirty="0"/>
                        <a:t>Réacteurs</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90000"/>
                      </a:schemeClr>
                    </a:solidFill>
                  </a:tcPr>
                </a:tc>
                <a:tc>
                  <a:txBody>
                    <a:bodyPr/>
                    <a:lstStyle/>
                    <a:p>
                      <a:r>
                        <a:rPr lang="fr-FR" sz="1600" dirty="0"/>
                        <a:t> </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90000"/>
                      </a:schemeClr>
                    </a:solidFill>
                  </a:tcPr>
                </a:tc>
                <a:extLst>
                  <a:ext uri="{0D108BD9-81ED-4DB2-BD59-A6C34878D82A}">
                    <a16:rowId xmlns:a16="http://schemas.microsoft.com/office/drawing/2014/main" val="2496100807"/>
                  </a:ext>
                </a:extLst>
              </a:tr>
              <a:tr h="373645">
                <a:tc>
                  <a:txBody>
                    <a:bodyPr/>
                    <a:lstStyle/>
                    <a:p>
                      <a:r>
                        <a:rPr lang="fr-FR" sz="1600" dirty="0"/>
                        <a:t>Chantiers </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90000"/>
                      </a:schemeClr>
                    </a:solidFill>
                  </a:tcPr>
                </a:tc>
                <a:tc>
                  <a:txBody>
                    <a:bodyPr/>
                    <a:lstStyle/>
                    <a:p>
                      <a:r>
                        <a:rPr lang="fr-FR" sz="1600" dirty="0"/>
                        <a:t>   4</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90000"/>
                      </a:schemeClr>
                    </a:solidFill>
                  </a:tcPr>
                </a:tc>
                <a:extLst>
                  <a:ext uri="{0D108BD9-81ED-4DB2-BD59-A6C34878D82A}">
                    <a16:rowId xmlns:a16="http://schemas.microsoft.com/office/drawing/2014/main" val="728824540"/>
                  </a:ext>
                </a:extLst>
              </a:tr>
              <a:tr h="373645">
                <a:tc>
                  <a:txBody>
                    <a:bodyPr/>
                    <a:lstStyle/>
                    <a:p>
                      <a:r>
                        <a:rPr lang="fr-FR" sz="1600" dirty="0"/>
                        <a:t>Partis</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90000"/>
                      </a:schemeClr>
                    </a:solidFill>
                  </a:tcPr>
                </a:tc>
                <a:tc>
                  <a:txBody>
                    <a:bodyPr/>
                    <a:lstStyle/>
                    <a:p>
                      <a:endParaRPr lang="fr-FR" sz="1600"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90000"/>
                      </a:schemeClr>
                    </a:solidFill>
                  </a:tcPr>
                </a:tc>
                <a:extLst>
                  <a:ext uri="{0D108BD9-81ED-4DB2-BD59-A6C34878D82A}">
                    <a16:rowId xmlns:a16="http://schemas.microsoft.com/office/drawing/2014/main" val="3947508378"/>
                  </a:ext>
                </a:extLst>
              </a:tr>
              <a:tr h="373645">
                <a:tc>
                  <a:txBody>
                    <a:bodyPr/>
                    <a:lstStyle/>
                    <a:p>
                      <a:r>
                        <a:rPr lang="fr-FR" sz="1600" dirty="0"/>
                        <a:t>Opinion</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90000"/>
                      </a:schemeClr>
                    </a:solidFill>
                  </a:tcPr>
                </a:tc>
                <a:tc>
                  <a:txBody>
                    <a:bodyPr/>
                    <a:lstStyle/>
                    <a:p>
                      <a:endParaRPr lang="fr-FR" sz="1600"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90000"/>
                      </a:schemeClr>
                    </a:solidFill>
                  </a:tcPr>
                </a:tc>
                <a:extLst>
                  <a:ext uri="{0D108BD9-81ED-4DB2-BD59-A6C34878D82A}">
                    <a16:rowId xmlns:a16="http://schemas.microsoft.com/office/drawing/2014/main" val="1964357637"/>
                  </a:ext>
                </a:extLst>
              </a:tr>
            </a:tbl>
          </a:graphicData>
        </a:graphic>
      </p:graphicFrame>
      <p:graphicFrame>
        <p:nvGraphicFramePr>
          <p:cNvPr id="258" name="Tableau 257"/>
          <p:cNvGraphicFramePr>
            <a:graphicFrameLocks noGrp="1"/>
          </p:cNvGraphicFramePr>
          <p:nvPr/>
        </p:nvGraphicFramePr>
        <p:xfrm>
          <a:off x="3677332" y="1684779"/>
          <a:ext cx="1818089" cy="2213196"/>
        </p:xfrm>
        <a:graphic>
          <a:graphicData uri="http://schemas.openxmlformats.org/drawingml/2006/table">
            <a:tbl>
              <a:tblPr>
                <a:effectLst/>
                <a:tableStyleId>{5C22544A-7EE6-4342-B048-85BDC9FD1C3A}</a:tableStyleId>
              </a:tblPr>
              <a:tblGrid>
                <a:gridCol w="1007183">
                  <a:extLst>
                    <a:ext uri="{9D8B030D-6E8A-4147-A177-3AD203B41FA5}">
                      <a16:colId xmlns:a16="http://schemas.microsoft.com/office/drawing/2014/main" val="4049604807"/>
                    </a:ext>
                  </a:extLst>
                </a:gridCol>
                <a:gridCol w="810906">
                  <a:extLst>
                    <a:ext uri="{9D8B030D-6E8A-4147-A177-3AD203B41FA5}">
                      <a16:colId xmlns:a16="http://schemas.microsoft.com/office/drawing/2014/main" val="3717275618"/>
                    </a:ext>
                  </a:extLst>
                </a:gridCol>
              </a:tblGrid>
              <a:tr h="718616">
                <a:tc gridSpan="2">
                  <a:txBody>
                    <a:bodyPr/>
                    <a:lstStyle/>
                    <a:p>
                      <a:r>
                        <a:rPr lang="fr-FR" sz="1600" b="1" dirty="0"/>
                        <a:t>Europe</a:t>
                      </a:r>
                      <a:r>
                        <a:rPr lang="fr-FR" sz="1600" b="1" baseline="0" dirty="0"/>
                        <a:t> de l’Ouest</a:t>
                      </a:r>
                      <a:endParaRPr lang="fr-FR" sz="1600" b="1" dirty="0"/>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90000"/>
                      </a:schemeClr>
                    </a:solidFill>
                  </a:tcPr>
                </a:tc>
                <a:tc hMerge="1">
                  <a:txBody>
                    <a:bodyPr/>
                    <a:lstStyle/>
                    <a:p>
                      <a:endParaRPr lang="fr-FR"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1976145"/>
                  </a:ext>
                </a:extLst>
              </a:tr>
              <a:tr h="373645">
                <a:tc>
                  <a:txBody>
                    <a:bodyPr/>
                    <a:lstStyle/>
                    <a:p>
                      <a:r>
                        <a:rPr lang="fr-FR" sz="1600" dirty="0"/>
                        <a:t>Réacteurs</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90000"/>
                      </a:schemeClr>
                    </a:solidFill>
                  </a:tcPr>
                </a:tc>
                <a:tc>
                  <a:txBody>
                    <a:bodyPr/>
                    <a:lstStyle/>
                    <a:p>
                      <a:r>
                        <a:rPr lang="fr-FR" sz="1600" dirty="0"/>
                        <a:t>109</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90000"/>
                      </a:schemeClr>
                    </a:solidFill>
                  </a:tcPr>
                </a:tc>
                <a:extLst>
                  <a:ext uri="{0D108BD9-81ED-4DB2-BD59-A6C34878D82A}">
                    <a16:rowId xmlns:a16="http://schemas.microsoft.com/office/drawing/2014/main" val="2496100807"/>
                  </a:ext>
                </a:extLst>
              </a:tr>
              <a:tr h="373645">
                <a:tc>
                  <a:txBody>
                    <a:bodyPr/>
                    <a:lstStyle/>
                    <a:p>
                      <a:r>
                        <a:rPr lang="fr-FR" sz="1600" dirty="0"/>
                        <a:t>Chantiers </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90000"/>
                      </a:schemeClr>
                    </a:solidFill>
                  </a:tcPr>
                </a:tc>
                <a:tc>
                  <a:txBody>
                    <a:bodyPr/>
                    <a:lstStyle/>
                    <a:p>
                      <a:r>
                        <a:rPr lang="fr-FR" sz="1600" dirty="0"/>
                        <a:t>    5</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90000"/>
                      </a:schemeClr>
                    </a:solidFill>
                  </a:tcPr>
                </a:tc>
                <a:extLst>
                  <a:ext uri="{0D108BD9-81ED-4DB2-BD59-A6C34878D82A}">
                    <a16:rowId xmlns:a16="http://schemas.microsoft.com/office/drawing/2014/main" val="728824540"/>
                  </a:ext>
                </a:extLst>
              </a:tr>
              <a:tr h="373645">
                <a:tc>
                  <a:txBody>
                    <a:bodyPr/>
                    <a:lstStyle/>
                    <a:p>
                      <a:r>
                        <a:rPr lang="fr-FR" sz="1600" dirty="0"/>
                        <a:t>Partis</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90000"/>
                      </a:schemeClr>
                    </a:solidFill>
                  </a:tcPr>
                </a:tc>
                <a:tc>
                  <a:txBody>
                    <a:bodyPr/>
                    <a:lstStyle/>
                    <a:p>
                      <a:endParaRPr lang="fr-FR" sz="1600"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90000"/>
                      </a:schemeClr>
                    </a:solidFill>
                  </a:tcPr>
                </a:tc>
                <a:extLst>
                  <a:ext uri="{0D108BD9-81ED-4DB2-BD59-A6C34878D82A}">
                    <a16:rowId xmlns:a16="http://schemas.microsoft.com/office/drawing/2014/main" val="3947508378"/>
                  </a:ext>
                </a:extLst>
              </a:tr>
              <a:tr h="373645">
                <a:tc>
                  <a:txBody>
                    <a:bodyPr/>
                    <a:lstStyle/>
                    <a:p>
                      <a:r>
                        <a:rPr lang="fr-FR" sz="1600" dirty="0"/>
                        <a:t>Opinion</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90000"/>
                      </a:schemeClr>
                    </a:solidFill>
                  </a:tcPr>
                </a:tc>
                <a:tc>
                  <a:txBody>
                    <a:bodyPr/>
                    <a:lstStyle/>
                    <a:p>
                      <a:endParaRPr lang="fr-FR" sz="1600"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90000"/>
                      </a:schemeClr>
                    </a:solidFill>
                  </a:tcPr>
                </a:tc>
                <a:extLst>
                  <a:ext uri="{0D108BD9-81ED-4DB2-BD59-A6C34878D82A}">
                    <a16:rowId xmlns:a16="http://schemas.microsoft.com/office/drawing/2014/main" val="1964357637"/>
                  </a:ext>
                </a:extLst>
              </a:tr>
            </a:tbl>
          </a:graphicData>
        </a:graphic>
      </p:graphicFrame>
      <p:graphicFrame>
        <p:nvGraphicFramePr>
          <p:cNvPr id="259" name="Tableau 258"/>
          <p:cNvGraphicFramePr>
            <a:graphicFrameLocks noGrp="1"/>
          </p:cNvGraphicFramePr>
          <p:nvPr/>
        </p:nvGraphicFramePr>
        <p:xfrm>
          <a:off x="4216318" y="4093011"/>
          <a:ext cx="1818089" cy="2213196"/>
        </p:xfrm>
        <a:graphic>
          <a:graphicData uri="http://schemas.openxmlformats.org/drawingml/2006/table">
            <a:tbl>
              <a:tblPr>
                <a:effectLst/>
                <a:tableStyleId>{5C22544A-7EE6-4342-B048-85BDC9FD1C3A}</a:tableStyleId>
              </a:tblPr>
              <a:tblGrid>
                <a:gridCol w="1007183">
                  <a:extLst>
                    <a:ext uri="{9D8B030D-6E8A-4147-A177-3AD203B41FA5}">
                      <a16:colId xmlns:a16="http://schemas.microsoft.com/office/drawing/2014/main" val="4049604807"/>
                    </a:ext>
                  </a:extLst>
                </a:gridCol>
                <a:gridCol w="810906">
                  <a:extLst>
                    <a:ext uri="{9D8B030D-6E8A-4147-A177-3AD203B41FA5}">
                      <a16:colId xmlns:a16="http://schemas.microsoft.com/office/drawing/2014/main" val="3717275618"/>
                    </a:ext>
                  </a:extLst>
                </a:gridCol>
              </a:tblGrid>
              <a:tr h="718616">
                <a:tc gridSpan="2">
                  <a:txBody>
                    <a:bodyPr/>
                    <a:lstStyle/>
                    <a:p>
                      <a:r>
                        <a:rPr lang="fr-FR" sz="1600" b="1" dirty="0"/>
                        <a:t>Afrique</a:t>
                      </a: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tc hMerge="1">
                  <a:txBody>
                    <a:bodyPr/>
                    <a:lstStyle/>
                    <a:p>
                      <a:endParaRPr lang="fr-FR"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1976145"/>
                  </a:ext>
                </a:extLst>
              </a:tr>
              <a:tr h="373645">
                <a:tc>
                  <a:txBody>
                    <a:bodyPr/>
                    <a:lstStyle/>
                    <a:p>
                      <a:r>
                        <a:rPr lang="fr-FR" sz="1600" dirty="0"/>
                        <a:t>Réacteurs</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tc>
                  <a:txBody>
                    <a:bodyPr/>
                    <a:lstStyle/>
                    <a:p>
                      <a:r>
                        <a:rPr lang="fr-FR" sz="1600" dirty="0"/>
                        <a:t>   2</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extLst>
                  <a:ext uri="{0D108BD9-81ED-4DB2-BD59-A6C34878D82A}">
                    <a16:rowId xmlns:a16="http://schemas.microsoft.com/office/drawing/2014/main" val="2496100807"/>
                  </a:ext>
                </a:extLst>
              </a:tr>
              <a:tr h="373645">
                <a:tc>
                  <a:txBody>
                    <a:bodyPr/>
                    <a:lstStyle/>
                    <a:p>
                      <a:r>
                        <a:rPr lang="fr-FR" sz="1600" dirty="0"/>
                        <a:t>Chantiers </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tc>
                  <a:txBody>
                    <a:bodyPr/>
                    <a:lstStyle/>
                    <a:p>
                      <a:endParaRPr lang="fr-FR" sz="1600"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extLst>
                  <a:ext uri="{0D108BD9-81ED-4DB2-BD59-A6C34878D82A}">
                    <a16:rowId xmlns:a16="http://schemas.microsoft.com/office/drawing/2014/main" val="728824540"/>
                  </a:ext>
                </a:extLst>
              </a:tr>
              <a:tr h="373645">
                <a:tc>
                  <a:txBody>
                    <a:bodyPr/>
                    <a:lstStyle/>
                    <a:p>
                      <a:r>
                        <a:rPr lang="fr-FR" sz="1600" dirty="0"/>
                        <a:t>Partis</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tc>
                  <a:txBody>
                    <a:bodyPr/>
                    <a:lstStyle/>
                    <a:p>
                      <a:endParaRPr lang="fr-FR" sz="1600"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extLst>
                  <a:ext uri="{0D108BD9-81ED-4DB2-BD59-A6C34878D82A}">
                    <a16:rowId xmlns:a16="http://schemas.microsoft.com/office/drawing/2014/main" val="3947508378"/>
                  </a:ext>
                </a:extLst>
              </a:tr>
              <a:tr h="373645">
                <a:tc>
                  <a:txBody>
                    <a:bodyPr/>
                    <a:lstStyle/>
                    <a:p>
                      <a:r>
                        <a:rPr lang="fr-FR" sz="1600" dirty="0"/>
                        <a:t>Opinion</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tc>
                  <a:txBody>
                    <a:bodyPr/>
                    <a:lstStyle/>
                    <a:p>
                      <a:endParaRPr lang="fr-FR" sz="1600"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extLst>
                  <a:ext uri="{0D108BD9-81ED-4DB2-BD59-A6C34878D82A}">
                    <a16:rowId xmlns:a16="http://schemas.microsoft.com/office/drawing/2014/main" val="1964357637"/>
                  </a:ext>
                </a:extLst>
              </a:tr>
            </a:tbl>
          </a:graphicData>
        </a:graphic>
      </p:graphicFrame>
      <p:graphicFrame>
        <p:nvGraphicFramePr>
          <p:cNvPr id="260" name="Tableau 259"/>
          <p:cNvGraphicFramePr>
            <a:graphicFrameLocks noGrp="1"/>
          </p:cNvGraphicFramePr>
          <p:nvPr/>
        </p:nvGraphicFramePr>
        <p:xfrm>
          <a:off x="7082848" y="4121980"/>
          <a:ext cx="1818089" cy="2213196"/>
        </p:xfrm>
        <a:graphic>
          <a:graphicData uri="http://schemas.openxmlformats.org/drawingml/2006/table">
            <a:tbl>
              <a:tblPr>
                <a:effectLst/>
                <a:tableStyleId>{5C22544A-7EE6-4342-B048-85BDC9FD1C3A}</a:tableStyleId>
              </a:tblPr>
              <a:tblGrid>
                <a:gridCol w="1007183">
                  <a:extLst>
                    <a:ext uri="{9D8B030D-6E8A-4147-A177-3AD203B41FA5}">
                      <a16:colId xmlns:a16="http://schemas.microsoft.com/office/drawing/2014/main" val="4049604807"/>
                    </a:ext>
                  </a:extLst>
                </a:gridCol>
                <a:gridCol w="810906">
                  <a:extLst>
                    <a:ext uri="{9D8B030D-6E8A-4147-A177-3AD203B41FA5}">
                      <a16:colId xmlns:a16="http://schemas.microsoft.com/office/drawing/2014/main" val="3717275618"/>
                    </a:ext>
                  </a:extLst>
                </a:gridCol>
              </a:tblGrid>
              <a:tr h="718616">
                <a:tc gridSpan="2">
                  <a:txBody>
                    <a:bodyPr/>
                    <a:lstStyle/>
                    <a:p>
                      <a:r>
                        <a:rPr lang="fr-FR" sz="1600" b="1" dirty="0"/>
                        <a:t>Moyen-Orient et Asie du Sud-Est</a:t>
                      </a: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tc hMerge="1">
                  <a:txBody>
                    <a:bodyPr/>
                    <a:lstStyle/>
                    <a:p>
                      <a:endParaRPr lang="fr-FR"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1976145"/>
                  </a:ext>
                </a:extLst>
              </a:tr>
              <a:tr h="373645">
                <a:tc>
                  <a:txBody>
                    <a:bodyPr/>
                    <a:lstStyle/>
                    <a:p>
                      <a:r>
                        <a:rPr lang="fr-FR" sz="1600" dirty="0"/>
                        <a:t>Réacteurs</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tc>
                  <a:txBody>
                    <a:bodyPr/>
                    <a:lstStyle/>
                    <a:p>
                      <a:r>
                        <a:rPr lang="fr-FR" sz="1600" dirty="0"/>
                        <a:t> </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2496100807"/>
                  </a:ext>
                </a:extLst>
              </a:tr>
              <a:tr h="373645">
                <a:tc>
                  <a:txBody>
                    <a:bodyPr/>
                    <a:lstStyle/>
                    <a:p>
                      <a:r>
                        <a:rPr lang="fr-FR" sz="1600" dirty="0"/>
                        <a:t>Chantiers </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tc>
                  <a:txBody>
                    <a:bodyPr/>
                    <a:lstStyle/>
                    <a:p>
                      <a:r>
                        <a:rPr lang="fr-FR" sz="1600" dirty="0"/>
                        <a:t> </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728824540"/>
                  </a:ext>
                </a:extLst>
              </a:tr>
              <a:tr h="373645">
                <a:tc>
                  <a:txBody>
                    <a:bodyPr/>
                    <a:lstStyle/>
                    <a:p>
                      <a:r>
                        <a:rPr lang="fr-FR" sz="1600" dirty="0"/>
                        <a:t>Partis</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tc>
                  <a:txBody>
                    <a:bodyPr/>
                    <a:lstStyle/>
                    <a:p>
                      <a:endParaRPr lang="fr-FR" sz="1600"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3947508378"/>
                  </a:ext>
                </a:extLst>
              </a:tr>
              <a:tr h="373645">
                <a:tc>
                  <a:txBody>
                    <a:bodyPr/>
                    <a:lstStyle/>
                    <a:p>
                      <a:r>
                        <a:rPr lang="fr-FR" sz="1600" dirty="0"/>
                        <a:t>Opinion</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tc>
                  <a:txBody>
                    <a:bodyPr/>
                    <a:lstStyle/>
                    <a:p>
                      <a:endParaRPr lang="fr-FR" sz="1600"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1964357637"/>
                  </a:ext>
                </a:extLst>
              </a:tr>
            </a:tbl>
          </a:graphicData>
        </a:graphic>
      </p:graphicFrame>
      <p:sp>
        <p:nvSpPr>
          <p:cNvPr id="237" name="Émoticône 236"/>
          <p:cNvSpPr/>
          <p:nvPr/>
        </p:nvSpPr>
        <p:spPr>
          <a:xfrm>
            <a:off x="7124296" y="3576010"/>
            <a:ext cx="296142" cy="280599"/>
          </a:xfrm>
          <a:prstGeom prst="smileyFace">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48" name="Image 24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07247" y="3176321"/>
            <a:ext cx="339887" cy="339887"/>
          </a:xfrm>
          <a:prstGeom prst="rect">
            <a:avLst/>
          </a:prstGeom>
        </p:spPr>
      </p:pic>
      <p:pic>
        <p:nvPicPr>
          <p:cNvPr id="254" name="Image 25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79810" y="3168931"/>
            <a:ext cx="338127" cy="338127"/>
          </a:xfrm>
          <a:prstGeom prst="rect">
            <a:avLst/>
          </a:prstGeom>
        </p:spPr>
      </p:pic>
      <p:sp>
        <p:nvSpPr>
          <p:cNvPr id="236" name="Émoticône 235"/>
          <p:cNvSpPr/>
          <p:nvPr/>
        </p:nvSpPr>
        <p:spPr>
          <a:xfrm>
            <a:off x="9273527" y="3574845"/>
            <a:ext cx="296142" cy="280599"/>
          </a:xfrm>
          <a:prstGeom prst="smileyFace">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49" name="Image 24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260827" y="3176517"/>
            <a:ext cx="339887" cy="339887"/>
          </a:xfrm>
          <a:prstGeom prst="rect">
            <a:avLst/>
          </a:prstGeom>
        </p:spPr>
      </p:pic>
      <p:graphicFrame>
        <p:nvGraphicFramePr>
          <p:cNvPr id="261" name="Tableau 260"/>
          <p:cNvGraphicFramePr>
            <a:graphicFrameLocks noGrp="1"/>
          </p:cNvGraphicFramePr>
          <p:nvPr/>
        </p:nvGraphicFramePr>
        <p:xfrm>
          <a:off x="10180766" y="1710581"/>
          <a:ext cx="1818089" cy="2213196"/>
        </p:xfrm>
        <a:graphic>
          <a:graphicData uri="http://schemas.openxmlformats.org/drawingml/2006/table">
            <a:tbl>
              <a:tblPr>
                <a:effectLst/>
                <a:tableStyleId>{5C22544A-7EE6-4342-B048-85BDC9FD1C3A}</a:tableStyleId>
              </a:tblPr>
              <a:tblGrid>
                <a:gridCol w="1007183">
                  <a:extLst>
                    <a:ext uri="{9D8B030D-6E8A-4147-A177-3AD203B41FA5}">
                      <a16:colId xmlns:a16="http://schemas.microsoft.com/office/drawing/2014/main" val="4049604807"/>
                    </a:ext>
                  </a:extLst>
                </a:gridCol>
                <a:gridCol w="810906">
                  <a:extLst>
                    <a:ext uri="{9D8B030D-6E8A-4147-A177-3AD203B41FA5}">
                      <a16:colId xmlns:a16="http://schemas.microsoft.com/office/drawing/2014/main" val="3717275618"/>
                    </a:ext>
                  </a:extLst>
                </a:gridCol>
              </a:tblGrid>
              <a:tr h="718616">
                <a:tc gridSpan="2">
                  <a:txBody>
                    <a:bodyPr/>
                    <a:lstStyle/>
                    <a:p>
                      <a:r>
                        <a:rPr lang="fr-FR" sz="1600" b="1" dirty="0"/>
                        <a:t>Corée, Japon, Taiwan</a:t>
                      </a: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tc hMerge="1">
                  <a:txBody>
                    <a:bodyPr/>
                    <a:lstStyle/>
                    <a:p>
                      <a:endParaRPr lang="fr-FR"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1976145"/>
                  </a:ext>
                </a:extLst>
              </a:tr>
              <a:tr h="373645">
                <a:tc>
                  <a:txBody>
                    <a:bodyPr/>
                    <a:lstStyle/>
                    <a:p>
                      <a:r>
                        <a:rPr lang="fr-FR" sz="1600" dirty="0"/>
                        <a:t>Réacteurs</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tc>
                  <a:txBody>
                    <a:bodyPr/>
                    <a:lstStyle/>
                    <a:p>
                      <a:r>
                        <a:rPr lang="fr-FR" sz="1600" dirty="0"/>
                        <a:t> 65</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extLst>
                  <a:ext uri="{0D108BD9-81ED-4DB2-BD59-A6C34878D82A}">
                    <a16:rowId xmlns:a16="http://schemas.microsoft.com/office/drawing/2014/main" val="2496100807"/>
                  </a:ext>
                </a:extLst>
              </a:tr>
              <a:tr h="373645">
                <a:tc>
                  <a:txBody>
                    <a:bodyPr/>
                    <a:lstStyle/>
                    <a:p>
                      <a:r>
                        <a:rPr lang="fr-FR" sz="1600" dirty="0"/>
                        <a:t>Chantiers </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tc>
                  <a:txBody>
                    <a:bodyPr/>
                    <a:lstStyle/>
                    <a:p>
                      <a:r>
                        <a:rPr lang="fr-FR" sz="1600" dirty="0"/>
                        <a:t>  8</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extLst>
                  <a:ext uri="{0D108BD9-81ED-4DB2-BD59-A6C34878D82A}">
                    <a16:rowId xmlns:a16="http://schemas.microsoft.com/office/drawing/2014/main" val="728824540"/>
                  </a:ext>
                </a:extLst>
              </a:tr>
              <a:tr h="373645">
                <a:tc>
                  <a:txBody>
                    <a:bodyPr/>
                    <a:lstStyle/>
                    <a:p>
                      <a:r>
                        <a:rPr lang="fr-FR" sz="1600" dirty="0"/>
                        <a:t>Partis</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tc>
                  <a:txBody>
                    <a:bodyPr/>
                    <a:lstStyle/>
                    <a:p>
                      <a:endParaRPr lang="fr-FR" sz="1600"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extLst>
                  <a:ext uri="{0D108BD9-81ED-4DB2-BD59-A6C34878D82A}">
                    <a16:rowId xmlns:a16="http://schemas.microsoft.com/office/drawing/2014/main" val="3947508378"/>
                  </a:ext>
                </a:extLst>
              </a:tr>
              <a:tr h="373645">
                <a:tc>
                  <a:txBody>
                    <a:bodyPr/>
                    <a:lstStyle/>
                    <a:p>
                      <a:r>
                        <a:rPr lang="fr-FR" sz="1600" dirty="0"/>
                        <a:t>Opinion</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tc>
                  <a:txBody>
                    <a:bodyPr/>
                    <a:lstStyle/>
                    <a:p>
                      <a:endParaRPr lang="fr-FR" sz="1600"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extLst>
                  <a:ext uri="{0D108BD9-81ED-4DB2-BD59-A6C34878D82A}">
                    <a16:rowId xmlns:a16="http://schemas.microsoft.com/office/drawing/2014/main" val="1964357637"/>
                  </a:ext>
                </a:extLst>
              </a:tr>
            </a:tbl>
          </a:graphicData>
        </a:graphic>
      </p:graphicFrame>
      <p:pic>
        <p:nvPicPr>
          <p:cNvPr id="253" name="Image 25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430916" y="3188252"/>
            <a:ext cx="338127" cy="338127"/>
          </a:xfrm>
          <a:prstGeom prst="rect">
            <a:avLst/>
          </a:prstGeom>
        </p:spPr>
      </p:pic>
      <p:graphicFrame>
        <p:nvGraphicFramePr>
          <p:cNvPr id="262" name="Tableau 261"/>
          <p:cNvGraphicFramePr>
            <a:graphicFrameLocks noGrp="1"/>
          </p:cNvGraphicFramePr>
          <p:nvPr/>
        </p:nvGraphicFramePr>
        <p:xfrm>
          <a:off x="10202170" y="4102409"/>
          <a:ext cx="1818089" cy="2213196"/>
        </p:xfrm>
        <a:graphic>
          <a:graphicData uri="http://schemas.openxmlformats.org/drawingml/2006/table">
            <a:tbl>
              <a:tblPr>
                <a:effectLst/>
                <a:tableStyleId>{5C22544A-7EE6-4342-B048-85BDC9FD1C3A}</a:tableStyleId>
              </a:tblPr>
              <a:tblGrid>
                <a:gridCol w="1007183">
                  <a:extLst>
                    <a:ext uri="{9D8B030D-6E8A-4147-A177-3AD203B41FA5}">
                      <a16:colId xmlns:a16="http://schemas.microsoft.com/office/drawing/2014/main" val="4049604807"/>
                    </a:ext>
                  </a:extLst>
                </a:gridCol>
                <a:gridCol w="810906">
                  <a:extLst>
                    <a:ext uri="{9D8B030D-6E8A-4147-A177-3AD203B41FA5}">
                      <a16:colId xmlns:a16="http://schemas.microsoft.com/office/drawing/2014/main" val="3717275618"/>
                    </a:ext>
                  </a:extLst>
                </a:gridCol>
              </a:tblGrid>
              <a:tr h="718616">
                <a:tc gridSpan="2">
                  <a:txBody>
                    <a:bodyPr/>
                    <a:lstStyle/>
                    <a:p>
                      <a:r>
                        <a:rPr lang="fr-FR" sz="1600" b="1" dirty="0"/>
                        <a:t>Océanie</a:t>
                      </a: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tc hMerge="1">
                  <a:txBody>
                    <a:bodyPr/>
                    <a:lstStyle/>
                    <a:p>
                      <a:endParaRPr lang="fr-FR"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1976145"/>
                  </a:ext>
                </a:extLst>
              </a:tr>
              <a:tr h="373645">
                <a:tc>
                  <a:txBody>
                    <a:bodyPr/>
                    <a:lstStyle/>
                    <a:p>
                      <a:r>
                        <a:rPr lang="fr-FR" sz="1600" dirty="0"/>
                        <a:t>Réacteurs</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tc>
                  <a:txBody>
                    <a:bodyPr/>
                    <a:lstStyle/>
                    <a:p>
                      <a:r>
                        <a:rPr lang="fr-FR" sz="1600" baseline="0" dirty="0"/>
                        <a:t>   </a:t>
                      </a:r>
                      <a:r>
                        <a:rPr lang="fr-FR" sz="1600" dirty="0"/>
                        <a:t>0</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extLst>
                  <a:ext uri="{0D108BD9-81ED-4DB2-BD59-A6C34878D82A}">
                    <a16:rowId xmlns:a16="http://schemas.microsoft.com/office/drawing/2014/main" val="2496100807"/>
                  </a:ext>
                </a:extLst>
              </a:tr>
              <a:tr h="373645">
                <a:tc>
                  <a:txBody>
                    <a:bodyPr/>
                    <a:lstStyle/>
                    <a:p>
                      <a:r>
                        <a:rPr lang="fr-FR" sz="1600" dirty="0"/>
                        <a:t>Chantiers </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tc>
                  <a:txBody>
                    <a:bodyPr/>
                    <a:lstStyle/>
                    <a:p>
                      <a:r>
                        <a:rPr lang="fr-FR" sz="1600" baseline="0" dirty="0"/>
                        <a:t>   0</a:t>
                      </a:r>
                      <a:endParaRPr lang="fr-FR" sz="1600"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extLst>
                  <a:ext uri="{0D108BD9-81ED-4DB2-BD59-A6C34878D82A}">
                    <a16:rowId xmlns:a16="http://schemas.microsoft.com/office/drawing/2014/main" val="728824540"/>
                  </a:ext>
                </a:extLst>
              </a:tr>
              <a:tr h="373645">
                <a:tc>
                  <a:txBody>
                    <a:bodyPr/>
                    <a:lstStyle/>
                    <a:p>
                      <a:r>
                        <a:rPr lang="fr-FR" sz="1600" dirty="0"/>
                        <a:t>Partis</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tc>
                  <a:txBody>
                    <a:bodyPr/>
                    <a:lstStyle/>
                    <a:p>
                      <a:endParaRPr lang="fr-FR" sz="1600"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extLst>
                  <a:ext uri="{0D108BD9-81ED-4DB2-BD59-A6C34878D82A}">
                    <a16:rowId xmlns:a16="http://schemas.microsoft.com/office/drawing/2014/main" val="3947508378"/>
                  </a:ext>
                </a:extLst>
              </a:tr>
              <a:tr h="373645">
                <a:tc>
                  <a:txBody>
                    <a:bodyPr/>
                    <a:lstStyle/>
                    <a:p>
                      <a:r>
                        <a:rPr lang="fr-FR" sz="1600" dirty="0"/>
                        <a:t>Opinion</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tc>
                  <a:txBody>
                    <a:bodyPr/>
                    <a:lstStyle/>
                    <a:p>
                      <a:endParaRPr lang="fr-FR" sz="1600"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extLst>
                  <a:ext uri="{0D108BD9-81ED-4DB2-BD59-A6C34878D82A}">
                    <a16:rowId xmlns:a16="http://schemas.microsoft.com/office/drawing/2014/main" val="1964357637"/>
                  </a:ext>
                </a:extLst>
              </a:tr>
            </a:tbl>
          </a:graphicData>
        </a:graphic>
      </p:graphicFrame>
      <p:pic>
        <p:nvPicPr>
          <p:cNvPr id="252" name="Image 25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473673" y="5586853"/>
            <a:ext cx="338127" cy="338127"/>
          </a:xfrm>
          <a:prstGeom prst="rect">
            <a:avLst/>
          </a:prstGeom>
        </p:spPr>
      </p:pic>
      <p:sp>
        <p:nvSpPr>
          <p:cNvPr id="242" name="Émoticône 241"/>
          <p:cNvSpPr/>
          <p:nvPr/>
        </p:nvSpPr>
        <p:spPr>
          <a:xfrm>
            <a:off x="11469265" y="6005825"/>
            <a:ext cx="296142" cy="280599"/>
          </a:xfrm>
          <a:prstGeom prst="smileyFace">
            <a:avLst>
              <a:gd name="adj" fmla="val -4653"/>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47" name="Image 24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58628" y="5614524"/>
            <a:ext cx="339887" cy="339887"/>
          </a:xfrm>
          <a:prstGeom prst="rect">
            <a:avLst/>
          </a:prstGeom>
        </p:spPr>
      </p:pic>
      <p:pic>
        <p:nvPicPr>
          <p:cNvPr id="246" name="Image 24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51553" y="5580554"/>
            <a:ext cx="339887" cy="339887"/>
          </a:xfrm>
          <a:prstGeom prst="rect">
            <a:avLst/>
          </a:prstGeom>
        </p:spPr>
      </p:pic>
      <p:sp>
        <p:nvSpPr>
          <p:cNvPr id="239" name="Émoticône 238"/>
          <p:cNvSpPr/>
          <p:nvPr/>
        </p:nvSpPr>
        <p:spPr>
          <a:xfrm>
            <a:off x="5478789" y="5971263"/>
            <a:ext cx="296142" cy="280599"/>
          </a:xfrm>
          <a:prstGeom prst="smileyFace">
            <a:avLst>
              <a:gd name="adj" fmla="val 863"/>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8" name="Émoticône 237"/>
          <p:cNvSpPr/>
          <p:nvPr/>
        </p:nvSpPr>
        <p:spPr>
          <a:xfrm>
            <a:off x="8380500" y="6005516"/>
            <a:ext cx="296142" cy="280599"/>
          </a:xfrm>
          <a:prstGeom prst="smileyFace">
            <a:avLst>
              <a:gd name="adj" fmla="val 863"/>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45" name="Image 24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94190" y="5599720"/>
            <a:ext cx="339887" cy="339887"/>
          </a:xfrm>
          <a:prstGeom prst="rect">
            <a:avLst/>
          </a:prstGeom>
        </p:spPr>
      </p:pic>
      <p:sp>
        <p:nvSpPr>
          <p:cNvPr id="263" name="Émoticône 262"/>
          <p:cNvSpPr/>
          <p:nvPr/>
        </p:nvSpPr>
        <p:spPr>
          <a:xfrm>
            <a:off x="1420467" y="5984750"/>
            <a:ext cx="296142" cy="280599"/>
          </a:xfrm>
          <a:prstGeom prst="smileyFace">
            <a:avLst>
              <a:gd name="adj" fmla="val 863"/>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4" name="Flèche droite 263"/>
          <p:cNvSpPr/>
          <p:nvPr/>
        </p:nvSpPr>
        <p:spPr>
          <a:xfrm rot="18900000">
            <a:off x="5636445" y="5250138"/>
            <a:ext cx="163099" cy="190500"/>
          </a:xfrm>
          <a:prstGeom prst="rightArrow">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6" name="Flèche droite 265"/>
          <p:cNvSpPr/>
          <p:nvPr/>
        </p:nvSpPr>
        <p:spPr>
          <a:xfrm rot="18900000">
            <a:off x="1598062" y="5275516"/>
            <a:ext cx="163099" cy="190500"/>
          </a:xfrm>
          <a:prstGeom prst="rightArrow">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7" name="Émoticône 266"/>
          <p:cNvSpPr/>
          <p:nvPr/>
        </p:nvSpPr>
        <p:spPr>
          <a:xfrm>
            <a:off x="11438872" y="-1106919"/>
            <a:ext cx="296142" cy="280599"/>
          </a:xfrm>
          <a:prstGeom prst="smileyFace">
            <a:avLst>
              <a:gd name="adj" fmla="val 863"/>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69" name="Image 26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64795" y="-996263"/>
            <a:ext cx="339887" cy="339887"/>
          </a:xfrm>
          <a:prstGeom prst="rect">
            <a:avLst/>
          </a:prstGeom>
        </p:spPr>
      </p:pic>
      <p:pic>
        <p:nvPicPr>
          <p:cNvPr id="270" name="Image 26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17195" y="-843863"/>
            <a:ext cx="339887" cy="339887"/>
          </a:xfrm>
          <a:prstGeom prst="rect">
            <a:avLst/>
          </a:prstGeom>
        </p:spPr>
      </p:pic>
      <p:sp>
        <p:nvSpPr>
          <p:cNvPr id="231" name="Émoticône 230"/>
          <p:cNvSpPr/>
          <p:nvPr/>
        </p:nvSpPr>
        <p:spPr>
          <a:xfrm>
            <a:off x="11451908" y="3577738"/>
            <a:ext cx="296142" cy="280599"/>
          </a:xfrm>
          <a:prstGeom prst="smileyFace">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0" name="Flèche droite 229"/>
          <p:cNvSpPr/>
          <p:nvPr/>
        </p:nvSpPr>
        <p:spPr>
          <a:xfrm>
            <a:off x="1598062" y="4905461"/>
            <a:ext cx="163099" cy="190500"/>
          </a:xfrm>
          <a:prstGeom prst="rightArrow">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6" name="Flèche droite 225"/>
          <p:cNvSpPr/>
          <p:nvPr/>
        </p:nvSpPr>
        <p:spPr>
          <a:xfrm rot="2700000">
            <a:off x="11671531" y="2864470"/>
            <a:ext cx="163099" cy="190500"/>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5" name="Flèche droite 264"/>
          <p:cNvSpPr/>
          <p:nvPr/>
        </p:nvSpPr>
        <p:spPr>
          <a:xfrm rot="18900000">
            <a:off x="7365584" y="2859873"/>
            <a:ext cx="163099" cy="190500"/>
          </a:xfrm>
          <a:prstGeom prst="rightArrow">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72" name="Flèche droite 271"/>
          <p:cNvSpPr/>
          <p:nvPr/>
        </p:nvSpPr>
        <p:spPr>
          <a:xfrm rot="2700000">
            <a:off x="9149544" y="-552987"/>
            <a:ext cx="163099" cy="190500"/>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3" name="Flèche droite 272"/>
          <p:cNvSpPr/>
          <p:nvPr/>
        </p:nvSpPr>
        <p:spPr>
          <a:xfrm rot="2700000">
            <a:off x="8537937" y="5287414"/>
            <a:ext cx="163099" cy="190500"/>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5" name="Flèche droite 274"/>
          <p:cNvSpPr/>
          <p:nvPr/>
        </p:nvSpPr>
        <p:spPr>
          <a:xfrm>
            <a:off x="11633057" y="4889319"/>
            <a:ext cx="163099" cy="190500"/>
          </a:xfrm>
          <a:prstGeom prst="rightArrow">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6" name="Flèche droite 275"/>
          <p:cNvSpPr/>
          <p:nvPr/>
        </p:nvSpPr>
        <p:spPr>
          <a:xfrm>
            <a:off x="5176801" y="2844534"/>
            <a:ext cx="163099" cy="190500"/>
          </a:xfrm>
          <a:prstGeom prst="rightArrow">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7" name="Flèche droite 276"/>
          <p:cNvSpPr/>
          <p:nvPr/>
        </p:nvSpPr>
        <p:spPr>
          <a:xfrm>
            <a:off x="11645757" y="5270319"/>
            <a:ext cx="163099" cy="190500"/>
          </a:xfrm>
          <a:prstGeom prst="rightArrow">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8" name="Flèche droite 277"/>
          <p:cNvSpPr/>
          <p:nvPr/>
        </p:nvSpPr>
        <p:spPr>
          <a:xfrm>
            <a:off x="5647941" y="4889200"/>
            <a:ext cx="163099" cy="190500"/>
          </a:xfrm>
          <a:prstGeom prst="rightArrow">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0" name="Flèche droite 219"/>
          <p:cNvSpPr/>
          <p:nvPr/>
        </p:nvSpPr>
        <p:spPr>
          <a:xfrm rot="18900000">
            <a:off x="8523849" y="4926057"/>
            <a:ext cx="163099" cy="190500"/>
          </a:xfrm>
          <a:prstGeom prst="rightArrow">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Ellipse 2"/>
          <p:cNvSpPr/>
          <p:nvPr/>
        </p:nvSpPr>
        <p:spPr>
          <a:xfrm>
            <a:off x="160665" y="-3184560"/>
            <a:ext cx="2416670" cy="2378851"/>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4" name="Flèche droite 223"/>
          <p:cNvSpPr/>
          <p:nvPr/>
        </p:nvSpPr>
        <p:spPr>
          <a:xfrm rot="2700000">
            <a:off x="1278967" y="-1876736"/>
            <a:ext cx="163099" cy="190500"/>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4" name="Diagramme 3"/>
          <p:cNvGraphicFramePr/>
          <p:nvPr/>
        </p:nvGraphicFramePr>
        <p:xfrm>
          <a:off x="178600" y="-3391664"/>
          <a:ext cx="2348186" cy="211579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79" name="Flèche droite 278"/>
          <p:cNvSpPr/>
          <p:nvPr/>
        </p:nvSpPr>
        <p:spPr>
          <a:xfrm rot="2700000">
            <a:off x="1476002" y="-2753962"/>
            <a:ext cx="163099" cy="190500"/>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4" name="Flèche droite 243"/>
          <p:cNvSpPr/>
          <p:nvPr/>
        </p:nvSpPr>
        <p:spPr>
          <a:xfrm rot="2700000">
            <a:off x="1262447" y="-1881582"/>
            <a:ext cx="163099" cy="190500"/>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8" name="Émoticône 267"/>
          <p:cNvSpPr/>
          <p:nvPr/>
        </p:nvSpPr>
        <p:spPr>
          <a:xfrm>
            <a:off x="478897" y="-1656852"/>
            <a:ext cx="296142" cy="280599"/>
          </a:xfrm>
          <a:prstGeom prst="smileyFace">
            <a:avLst>
              <a:gd name="adj" fmla="val 863"/>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71" name="Image 27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97427" y="-1694121"/>
            <a:ext cx="339887" cy="339887"/>
          </a:xfrm>
          <a:prstGeom prst="rect">
            <a:avLst/>
          </a:prstGeom>
        </p:spPr>
      </p:pic>
      <p:graphicFrame>
        <p:nvGraphicFramePr>
          <p:cNvPr id="281" name="Tableau 280"/>
          <p:cNvGraphicFramePr>
            <a:graphicFrameLocks noGrp="1"/>
          </p:cNvGraphicFramePr>
          <p:nvPr/>
        </p:nvGraphicFramePr>
        <p:xfrm>
          <a:off x="142045" y="1690692"/>
          <a:ext cx="1818089" cy="2213196"/>
        </p:xfrm>
        <a:graphic>
          <a:graphicData uri="http://schemas.openxmlformats.org/drawingml/2006/table">
            <a:tbl>
              <a:tblPr>
                <a:effectLst/>
                <a:tableStyleId>{5C22544A-7EE6-4342-B048-85BDC9FD1C3A}</a:tableStyleId>
              </a:tblPr>
              <a:tblGrid>
                <a:gridCol w="1007183">
                  <a:extLst>
                    <a:ext uri="{9D8B030D-6E8A-4147-A177-3AD203B41FA5}">
                      <a16:colId xmlns:a16="http://schemas.microsoft.com/office/drawing/2014/main" val="4049604807"/>
                    </a:ext>
                  </a:extLst>
                </a:gridCol>
                <a:gridCol w="810906">
                  <a:extLst>
                    <a:ext uri="{9D8B030D-6E8A-4147-A177-3AD203B41FA5}">
                      <a16:colId xmlns:a16="http://schemas.microsoft.com/office/drawing/2014/main" val="3717275618"/>
                    </a:ext>
                  </a:extLst>
                </a:gridCol>
              </a:tblGrid>
              <a:tr h="718616">
                <a:tc gridSpan="2">
                  <a:txBody>
                    <a:bodyPr/>
                    <a:lstStyle/>
                    <a:p>
                      <a:r>
                        <a:rPr lang="fr-FR" sz="1600" b="1" dirty="0"/>
                        <a:t>Amérique</a:t>
                      </a:r>
                      <a:r>
                        <a:rPr lang="fr-FR" sz="1600" b="1" baseline="0" dirty="0"/>
                        <a:t> du Nord</a:t>
                      </a:r>
                      <a:endParaRPr lang="fr-FR" sz="1600" b="1" dirty="0"/>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90000"/>
                      </a:schemeClr>
                    </a:solidFill>
                  </a:tcPr>
                </a:tc>
                <a:tc hMerge="1">
                  <a:txBody>
                    <a:bodyPr/>
                    <a:lstStyle/>
                    <a:p>
                      <a:endParaRPr lang="fr-FR"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1976145"/>
                  </a:ext>
                </a:extLst>
              </a:tr>
              <a:tr h="373645">
                <a:tc>
                  <a:txBody>
                    <a:bodyPr/>
                    <a:lstStyle/>
                    <a:p>
                      <a:r>
                        <a:rPr lang="fr-FR" sz="1600" dirty="0"/>
                        <a:t>Réacteurs</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tc>
                  <a:txBody>
                    <a:bodyPr/>
                    <a:lstStyle/>
                    <a:p>
                      <a:r>
                        <a:rPr lang="fr-FR" sz="1600" dirty="0"/>
                        <a:t>123</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90000"/>
                      </a:schemeClr>
                    </a:solidFill>
                  </a:tcPr>
                </a:tc>
                <a:extLst>
                  <a:ext uri="{0D108BD9-81ED-4DB2-BD59-A6C34878D82A}">
                    <a16:rowId xmlns:a16="http://schemas.microsoft.com/office/drawing/2014/main" val="2496100807"/>
                  </a:ext>
                </a:extLst>
              </a:tr>
              <a:tr h="373645">
                <a:tc>
                  <a:txBody>
                    <a:bodyPr/>
                    <a:lstStyle/>
                    <a:p>
                      <a:r>
                        <a:rPr lang="fr-FR" sz="1600" dirty="0"/>
                        <a:t>Chantiers </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tc>
                  <a:txBody>
                    <a:bodyPr/>
                    <a:lstStyle/>
                    <a:p>
                      <a:r>
                        <a:rPr lang="fr-FR" sz="1600" dirty="0"/>
                        <a:t>  2</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90000"/>
                      </a:schemeClr>
                    </a:solidFill>
                  </a:tcPr>
                </a:tc>
                <a:extLst>
                  <a:ext uri="{0D108BD9-81ED-4DB2-BD59-A6C34878D82A}">
                    <a16:rowId xmlns:a16="http://schemas.microsoft.com/office/drawing/2014/main" val="728824540"/>
                  </a:ext>
                </a:extLst>
              </a:tr>
              <a:tr h="373645">
                <a:tc>
                  <a:txBody>
                    <a:bodyPr/>
                    <a:lstStyle/>
                    <a:p>
                      <a:r>
                        <a:rPr lang="fr-FR" sz="1600" dirty="0"/>
                        <a:t>Partis</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tc>
                  <a:txBody>
                    <a:bodyPr/>
                    <a:lstStyle/>
                    <a:p>
                      <a:endParaRPr lang="fr-FR" sz="1600"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90000"/>
                      </a:schemeClr>
                    </a:solidFill>
                  </a:tcPr>
                </a:tc>
                <a:extLst>
                  <a:ext uri="{0D108BD9-81ED-4DB2-BD59-A6C34878D82A}">
                    <a16:rowId xmlns:a16="http://schemas.microsoft.com/office/drawing/2014/main" val="3947508378"/>
                  </a:ext>
                </a:extLst>
              </a:tr>
              <a:tr h="373645">
                <a:tc>
                  <a:txBody>
                    <a:bodyPr/>
                    <a:lstStyle/>
                    <a:p>
                      <a:r>
                        <a:rPr lang="fr-FR" sz="1600" dirty="0"/>
                        <a:t>Opinion</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tc>
                  <a:txBody>
                    <a:bodyPr/>
                    <a:lstStyle/>
                    <a:p>
                      <a:endParaRPr lang="fr-FR" sz="1600"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90000"/>
                      </a:schemeClr>
                    </a:solidFill>
                  </a:tcPr>
                </a:tc>
                <a:extLst>
                  <a:ext uri="{0D108BD9-81ED-4DB2-BD59-A6C34878D82A}">
                    <a16:rowId xmlns:a16="http://schemas.microsoft.com/office/drawing/2014/main" val="1964357637"/>
                  </a:ext>
                </a:extLst>
              </a:tr>
            </a:tbl>
          </a:graphicData>
        </a:graphic>
      </p:graphicFrame>
      <p:sp>
        <p:nvSpPr>
          <p:cNvPr id="11" name="Rectangle 10"/>
          <p:cNvSpPr/>
          <p:nvPr/>
        </p:nvSpPr>
        <p:spPr>
          <a:xfrm>
            <a:off x="1151397" y="2409825"/>
            <a:ext cx="803116" cy="364563"/>
          </a:xfrm>
          <a:prstGeom prst="rect">
            <a:avLst/>
          </a:prstGeom>
          <a:solidFill>
            <a:srgbClr val="17F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Rectangle 12"/>
          <p:cNvSpPr/>
          <p:nvPr/>
        </p:nvSpPr>
        <p:spPr>
          <a:xfrm>
            <a:off x="1034168" y="2410454"/>
            <a:ext cx="802611" cy="381273"/>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rPr>
              <a:t>115</a:t>
            </a:r>
          </a:p>
        </p:txBody>
      </p:sp>
      <p:sp>
        <p:nvSpPr>
          <p:cNvPr id="283" name="Rectangle 282"/>
          <p:cNvSpPr/>
          <p:nvPr/>
        </p:nvSpPr>
        <p:spPr>
          <a:xfrm>
            <a:off x="4687535" y="2407931"/>
            <a:ext cx="603750" cy="368056"/>
          </a:xfrm>
          <a:prstGeom prst="rect">
            <a:avLst/>
          </a:prstGeom>
          <a:solidFill>
            <a:srgbClr val="17F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84" name="Rectangle 283"/>
          <p:cNvSpPr/>
          <p:nvPr/>
        </p:nvSpPr>
        <p:spPr>
          <a:xfrm>
            <a:off x="-1053251" y="3650688"/>
            <a:ext cx="802611" cy="381273"/>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rPr>
              <a:t>123</a:t>
            </a:r>
          </a:p>
        </p:txBody>
      </p:sp>
      <p:sp>
        <p:nvSpPr>
          <p:cNvPr id="288" name="Rectangle 287"/>
          <p:cNvSpPr/>
          <p:nvPr/>
        </p:nvSpPr>
        <p:spPr>
          <a:xfrm>
            <a:off x="4553939" y="2426297"/>
            <a:ext cx="802611" cy="359549"/>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rPr>
              <a:t>101</a:t>
            </a:r>
          </a:p>
        </p:txBody>
      </p:sp>
      <p:sp>
        <p:nvSpPr>
          <p:cNvPr id="289" name="Rectangle 288"/>
          <p:cNvSpPr/>
          <p:nvPr/>
        </p:nvSpPr>
        <p:spPr>
          <a:xfrm>
            <a:off x="-1657001" y="4181254"/>
            <a:ext cx="603750" cy="368056"/>
          </a:xfrm>
          <a:prstGeom prst="rect">
            <a:avLst/>
          </a:prstGeom>
          <a:solidFill>
            <a:srgbClr val="17F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91" name="Rectangle 290"/>
          <p:cNvSpPr/>
          <p:nvPr/>
        </p:nvSpPr>
        <p:spPr>
          <a:xfrm>
            <a:off x="1153801" y="4829060"/>
            <a:ext cx="53861" cy="368056"/>
          </a:xfrm>
          <a:prstGeom prst="rect">
            <a:avLst/>
          </a:prstGeom>
          <a:solidFill>
            <a:srgbClr val="17F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92" name="Rectangle 291"/>
          <p:cNvSpPr/>
          <p:nvPr/>
        </p:nvSpPr>
        <p:spPr>
          <a:xfrm>
            <a:off x="6904150" y="2411974"/>
            <a:ext cx="173754" cy="368056"/>
          </a:xfrm>
          <a:prstGeom prst="rect">
            <a:avLst/>
          </a:prstGeom>
          <a:solidFill>
            <a:srgbClr val="17F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93" name="Rectangle 292"/>
          <p:cNvSpPr/>
          <p:nvPr/>
        </p:nvSpPr>
        <p:spPr>
          <a:xfrm>
            <a:off x="9028318" y="2414551"/>
            <a:ext cx="549017" cy="368056"/>
          </a:xfrm>
          <a:prstGeom prst="rect">
            <a:avLst/>
          </a:prstGeom>
          <a:solidFill>
            <a:srgbClr val="17F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Flèche droite 7"/>
          <p:cNvSpPr/>
          <p:nvPr/>
        </p:nvSpPr>
        <p:spPr>
          <a:xfrm rot="18900000">
            <a:off x="9514734" y="2503492"/>
            <a:ext cx="163099" cy="190500"/>
          </a:xfrm>
          <a:prstGeom prst="rightArrow">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4" name="Rectangle 293"/>
          <p:cNvSpPr/>
          <p:nvPr/>
        </p:nvSpPr>
        <p:spPr>
          <a:xfrm>
            <a:off x="8897201" y="2400708"/>
            <a:ext cx="802611" cy="359549"/>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rPr>
              <a:t>108</a:t>
            </a:r>
          </a:p>
        </p:txBody>
      </p:sp>
      <p:sp>
        <p:nvSpPr>
          <p:cNvPr id="295" name="Flèche droite 294"/>
          <p:cNvSpPr/>
          <p:nvPr/>
        </p:nvSpPr>
        <p:spPr>
          <a:xfrm rot="2700000">
            <a:off x="1662533" y="2491931"/>
            <a:ext cx="163099" cy="190500"/>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4" name="Flèche droite 273"/>
          <p:cNvSpPr/>
          <p:nvPr/>
        </p:nvSpPr>
        <p:spPr>
          <a:xfrm rot="2700000">
            <a:off x="5181752" y="2508396"/>
            <a:ext cx="163099" cy="190500"/>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8" name="Flèche droite 227"/>
          <p:cNvSpPr/>
          <p:nvPr/>
        </p:nvSpPr>
        <p:spPr>
          <a:xfrm>
            <a:off x="7361030" y="2463734"/>
            <a:ext cx="163099" cy="190500"/>
          </a:xfrm>
          <a:prstGeom prst="rightArrow">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9" name="Flèche droite 228"/>
          <p:cNvSpPr/>
          <p:nvPr/>
        </p:nvSpPr>
        <p:spPr>
          <a:xfrm>
            <a:off x="11653465" y="2490319"/>
            <a:ext cx="163099" cy="190500"/>
          </a:xfrm>
          <a:prstGeom prst="rightArrow">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8" name="Rectangle 297"/>
          <p:cNvSpPr/>
          <p:nvPr/>
        </p:nvSpPr>
        <p:spPr>
          <a:xfrm>
            <a:off x="8093172" y="4843332"/>
            <a:ext cx="206438" cy="369931"/>
          </a:xfrm>
          <a:prstGeom prst="rect">
            <a:avLst/>
          </a:prstGeom>
          <a:solidFill>
            <a:srgbClr val="17F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99" name="Rectangle 298"/>
          <p:cNvSpPr/>
          <p:nvPr/>
        </p:nvSpPr>
        <p:spPr>
          <a:xfrm>
            <a:off x="7972010" y="4848758"/>
            <a:ext cx="802611" cy="359549"/>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rPr>
              <a:t>31</a:t>
            </a:r>
          </a:p>
        </p:txBody>
      </p:sp>
      <p:sp>
        <p:nvSpPr>
          <p:cNvPr id="300" name="Rectangle 299"/>
          <p:cNvSpPr/>
          <p:nvPr/>
        </p:nvSpPr>
        <p:spPr>
          <a:xfrm>
            <a:off x="5228020" y="4814560"/>
            <a:ext cx="53861" cy="368056"/>
          </a:xfrm>
          <a:prstGeom prst="rect">
            <a:avLst/>
          </a:prstGeom>
          <a:solidFill>
            <a:srgbClr val="17F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1" name="Rectangle 300"/>
          <p:cNvSpPr/>
          <p:nvPr/>
        </p:nvSpPr>
        <p:spPr>
          <a:xfrm>
            <a:off x="6779899" y="2402957"/>
            <a:ext cx="802611" cy="359549"/>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rPr>
              <a:t>19</a:t>
            </a:r>
          </a:p>
        </p:txBody>
      </p:sp>
      <p:sp>
        <p:nvSpPr>
          <p:cNvPr id="297" name="Rectangle 296"/>
          <p:cNvSpPr/>
          <p:nvPr/>
        </p:nvSpPr>
        <p:spPr>
          <a:xfrm>
            <a:off x="11196340" y="2426728"/>
            <a:ext cx="373965" cy="368056"/>
          </a:xfrm>
          <a:prstGeom prst="rect">
            <a:avLst/>
          </a:prstGeom>
          <a:solidFill>
            <a:srgbClr val="17F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96" name="Rectangle 295"/>
          <p:cNvSpPr/>
          <p:nvPr/>
        </p:nvSpPr>
        <p:spPr>
          <a:xfrm>
            <a:off x="11037566" y="2427494"/>
            <a:ext cx="758589" cy="359549"/>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rPr>
              <a:t>61</a:t>
            </a:r>
          </a:p>
        </p:txBody>
      </p:sp>
      <p:sp>
        <p:nvSpPr>
          <p:cNvPr id="280" name="Rectangle 279"/>
          <p:cNvSpPr/>
          <p:nvPr/>
        </p:nvSpPr>
        <p:spPr>
          <a:xfrm>
            <a:off x="4688974" y="2775309"/>
            <a:ext cx="53861" cy="36805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82" name="Rectangle 281"/>
          <p:cNvSpPr/>
          <p:nvPr/>
        </p:nvSpPr>
        <p:spPr>
          <a:xfrm>
            <a:off x="6902369" y="2786421"/>
            <a:ext cx="114716" cy="36805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85" name="Rectangle 284"/>
          <p:cNvSpPr/>
          <p:nvPr/>
        </p:nvSpPr>
        <p:spPr>
          <a:xfrm>
            <a:off x="5227285" y="5185629"/>
            <a:ext cx="54596" cy="36805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86" name="Rectangle 285"/>
          <p:cNvSpPr/>
          <p:nvPr/>
        </p:nvSpPr>
        <p:spPr>
          <a:xfrm>
            <a:off x="5121563" y="5183299"/>
            <a:ext cx="802611" cy="359549"/>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rPr>
              <a:t> 4</a:t>
            </a:r>
          </a:p>
        </p:txBody>
      </p:sp>
      <p:sp>
        <p:nvSpPr>
          <p:cNvPr id="287" name="Rectangle 286"/>
          <p:cNvSpPr/>
          <p:nvPr/>
        </p:nvSpPr>
        <p:spPr>
          <a:xfrm>
            <a:off x="8089867" y="5217137"/>
            <a:ext cx="193200" cy="36805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2" name="Rectangle 301"/>
          <p:cNvSpPr/>
          <p:nvPr/>
        </p:nvSpPr>
        <p:spPr>
          <a:xfrm>
            <a:off x="7949119" y="5245337"/>
            <a:ext cx="802611" cy="359549"/>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rPr>
              <a:t>19</a:t>
            </a:r>
          </a:p>
        </p:txBody>
      </p:sp>
      <p:sp>
        <p:nvSpPr>
          <p:cNvPr id="303" name="Rectangle 302"/>
          <p:cNvSpPr/>
          <p:nvPr/>
        </p:nvSpPr>
        <p:spPr>
          <a:xfrm>
            <a:off x="11191460" y="2801245"/>
            <a:ext cx="114716" cy="36805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2" name="Flèche droite 221"/>
          <p:cNvSpPr/>
          <p:nvPr/>
        </p:nvSpPr>
        <p:spPr>
          <a:xfrm rot="18900000">
            <a:off x="9462320" y="2869608"/>
            <a:ext cx="163099" cy="190500"/>
          </a:xfrm>
          <a:prstGeom prst="rightArrow">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8" name="Rectangle 307"/>
          <p:cNvSpPr/>
          <p:nvPr/>
        </p:nvSpPr>
        <p:spPr>
          <a:xfrm>
            <a:off x="1149667" y="5206490"/>
            <a:ext cx="53861" cy="36805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10" name="Flèche droite 309"/>
          <p:cNvSpPr/>
          <p:nvPr/>
        </p:nvSpPr>
        <p:spPr>
          <a:xfrm rot="2700000">
            <a:off x="1658693" y="2869607"/>
            <a:ext cx="163099" cy="190500"/>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1" name="Émoticône 310"/>
          <p:cNvSpPr/>
          <p:nvPr/>
        </p:nvSpPr>
        <p:spPr>
          <a:xfrm>
            <a:off x="1383868" y="3580748"/>
            <a:ext cx="296142" cy="280599"/>
          </a:xfrm>
          <a:prstGeom prst="smileyFace">
            <a:avLst>
              <a:gd name="adj" fmla="val 863"/>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12" name="Image 3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52752" y="3183184"/>
            <a:ext cx="339887" cy="339887"/>
          </a:xfrm>
          <a:prstGeom prst="rect">
            <a:avLst/>
          </a:prstGeom>
        </p:spPr>
      </p:pic>
      <p:sp>
        <p:nvSpPr>
          <p:cNvPr id="5" name="ZoneTexte 4"/>
          <p:cNvSpPr txBox="1"/>
          <p:nvPr/>
        </p:nvSpPr>
        <p:spPr>
          <a:xfrm>
            <a:off x="3442658" y="182880"/>
            <a:ext cx="681698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prstClr val="white"/>
                </a:solidFill>
                <a:effectLst/>
                <a:uLnTx/>
                <a:uFillTx/>
                <a:latin typeface="Calibri" panose="020F0502020204030204"/>
                <a:ea typeface="+mn-ea"/>
                <a:cs typeface="+mn-cs"/>
              </a:rPr>
              <a:t>1 – Le projet   &lt;   </a:t>
            </a:r>
            <a:r>
              <a:rPr kumimoji="0" lang="fr-FR" sz="1800" b="1" i="0" u="none" strike="noStrike" kern="1200" cap="none" spc="0" normalizeH="0" baseline="0" noProof="0" dirty="0">
                <a:ln>
                  <a:noFill/>
                </a:ln>
                <a:solidFill>
                  <a:prstClr val="white"/>
                </a:solidFill>
                <a:effectLst/>
                <a:uLnTx/>
                <a:uFillTx/>
                <a:latin typeface="Calibri" panose="020F0502020204030204"/>
                <a:ea typeface="+mn-ea"/>
                <a:cs typeface="+mn-cs"/>
              </a:rPr>
              <a:t>2- Le nucléaire dans le monde   </a:t>
            </a:r>
            <a:r>
              <a:rPr kumimoji="0" lang="fr-FR" sz="1400" b="0" i="0" u="none" strike="noStrike" kern="1200" cap="none" spc="0" normalizeH="0" baseline="0" noProof="0" dirty="0">
                <a:ln>
                  <a:noFill/>
                </a:ln>
                <a:solidFill>
                  <a:prstClr val="white"/>
                </a:solidFill>
                <a:effectLst/>
                <a:uLnTx/>
                <a:uFillTx/>
                <a:latin typeface="Calibri" panose="020F0502020204030204"/>
                <a:ea typeface="+mn-ea"/>
                <a:cs typeface="+mn-cs"/>
              </a:rPr>
              <a:t>&lt;   3 – Analyse</a:t>
            </a:r>
          </a:p>
        </p:txBody>
      </p:sp>
      <p:sp>
        <p:nvSpPr>
          <p:cNvPr id="290" name="Émoticône 289"/>
          <p:cNvSpPr/>
          <p:nvPr/>
        </p:nvSpPr>
        <p:spPr>
          <a:xfrm>
            <a:off x="4930072" y="3562086"/>
            <a:ext cx="296142" cy="280599"/>
          </a:xfrm>
          <a:prstGeom prst="smileyFace">
            <a:avLst>
              <a:gd name="adj" fmla="val 863"/>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51952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5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5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7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8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8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7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8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9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8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9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0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10"/>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11"/>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12"/>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62"/>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52"/>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42"/>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75"/>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77"/>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261"/>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253"/>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231"/>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226"/>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229"/>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297"/>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296"/>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303"/>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nodeType="clickEffect">
                                  <p:stCondLst>
                                    <p:cond delay="0"/>
                                  </p:stCondLst>
                                  <p:childTnLst>
                                    <p:set>
                                      <p:cBhvr>
                                        <p:cTn id="72" dur="1" fill="hold">
                                          <p:stCondLst>
                                            <p:cond delay="0"/>
                                          </p:stCondLst>
                                        </p:cTn>
                                        <p:tgtEl>
                                          <p:spTgt spid="257"/>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237"/>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248"/>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265"/>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292"/>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228"/>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301"/>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282"/>
                                        </p:tgtEl>
                                        <p:attrNameLst>
                                          <p:attrName>style.visibility</p:attrName>
                                        </p:attrNameLst>
                                      </p:cBhvr>
                                      <p:to>
                                        <p:strVal val="visible"/>
                                      </p:to>
                                    </p:set>
                                  </p:childTnLst>
                                </p:cTn>
                              </p:par>
                            </p:childTnLst>
                          </p:cTn>
                        </p:par>
                      </p:childTnLst>
                    </p:cTn>
                  </p:par>
                  <p:par>
                    <p:cTn id="87" fill="hold">
                      <p:stCondLst>
                        <p:cond delay="indefinite"/>
                      </p:stCondLst>
                      <p:childTnLst>
                        <p:par>
                          <p:cTn id="88" fill="hold">
                            <p:stCondLst>
                              <p:cond delay="0"/>
                            </p:stCondLst>
                            <p:childTnLst>
                              <p:par>
                                <p:cTn id="89" presetID="1" presetClass="entr" presetSubtype="0" fill="hold" nodeType="clickEffect">
                                  <p:stCondLst>
                                    <p:cond delay="0"/>
                                  </p:stCondLst>
                                  <p:childTnLst>
                                    <p:set>
                                      <p:cBhvr>
                                        <p:cTn id="90" dur="1" fill="hold">
                                          <p:stCondLst>
                                            <p:cond delay="0"/>
                                          </p:stCondLst>
                                        </p:cTn>
                                        <p:tgtEl>
                                          <p:spTgt spid="256"/>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236"/>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249"/>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293"/>
                                        </p:tgtEl>
                                        <p:attrNameLst>
                                          <p:attrName>style.visibility</p:attrName>
                                        </p:attrNameLst>
                                      </p:cBhvr>
                                      <p:to>
                                        <p:strVal val="visible"/>
                                      </p:to>
                                    </p:set>
                                  </p:childTnLst>
                                </p:cTn>
                              </p:par>
                              <p:par>
                                <p:cTn id="97" presetID="1" presetClass="entr" presetSubtype="0" fill="hold" grpId="0" nodeType="withEffect">
                                  <p:stCondLst>
                                    <p:cond delay="0"/>
                                  </p:stCondLst>
                                  <p:childTnLst>
                                    <p:set>
                                      <p:cBhvr>
                                        <p:cTn id="98" dur="1" fill="hold">
                                          <p:stCondLst>
                                            <p:cond delay="0"/>
                                          </p:stCondLst>
                                        </p:cTn>
                                        <p:tgtEl>
                                          <p:spTgt spid="8"/>
                                        </p:tgtEl>
                                        <p:attrNameLst>
                                          <p:attrName>style.visibility</p:attrName>
                                        </p:attrNameLst>
                                      </p:cBhvr>
                                      <p:to>
                                        <p:strVal val="visible"/>
                                      </p:to>
                                    </p:set>
                                  </p:childTnLst>
                                </p:cTn>
                              </p:par>
                              <p:par>
                                <p:cTn id="99" presetID="1" presetClass="entr" presetSubtype="0" fill="hold" grpId="0" nodeType="withEffect">
                                  <p:stCondLst>
                                    <p:cond delay="0"/>
                                  </p:stCondLst>
                                  <p:childTnLst>
                                    <p:set>
                                      <p:cBhvr>
                                        <p:cTn id="100" dur="1" fill="hold">
                                          <p:stCondLst>
                                            <p:cond delay="0"/>
                                          </p:stCondLst>
                                        </p:cTn>
                                        <p:tgtEl>
                                          <p:spTgt spid="294"/>
                                        </p:tgtEl>
                                        <p:attrNameLst>
                                          <p:attrName>style.visibility</p:attrName>
                                        </p:attrNameLst>
                                      </p:cBhvr>
                                      <p:to>
                                        <p:strVal val="visible"/>
                                      </p:to>
                                    </p:set>
                                  </p:childTnLst>
                                </p:cTn>
                              </p:par>
                              <p:par>
                                <p:cTn id="101" presetID="1" presetClass="entr" presetSubtype="0" fill="hold" grpId="0" nodeType="withEffect">
                                  <p:stCondLst>
                                    <p:cond delay="0"/>
                                  </p:stCondLst>
                                  <p:childTnLst>
                                    <p:set>
                                      <p:cBhvr>
                                        <p:cTn id="102" dur="1" fill="hold">
                                          <p:stCondLst>
                                            <p:cond delay="0"/>
                                          </p:stCondLst>
                                        </p:cTn>
                                        <p:tgtEl>
                                          <p:spTgt spid="304"/>
                                        </p:tgtEl>
                                        <p:attrNameLst>
                                          <p:attrName>style.visibility</p:attrName>
                                        </p:attrNameLst>
                                      </p:cBhvr>
                                      <p:to>
                                        <p:strVal val="visible"/>
                                      </p:to>
                                    </p:set>
                                  </p:childTnLst>
                                </p:cTn>
                              </p:par>
                              <p:par>
                                <p:cTn id="103" presetID="1" presetClass="entr" presetSubtype="0" fill="hold" grpId="0" nodeType="withEffect">
                                  <p:stCondLst>
                                    <p:cond delay="0"/>
                                  </p:stCondLst>
                                  <p:childTnLst>
                                    <p:set>
                                      <p:cBhvr>
                                        <p:cTn id="104" dur="1" fill="hold">
                                          <p:stCondLst>
                                            <p:cond delay="0"/>
                                          </p:stCondLst>
                                        </p:cTn>
                                        <p:tgtEl>
                                          <p:spTgt spid="222"/>
                                        </p:tgtEl>
                                        <p:attrNameLst>
                                          <p:attrName>style.visibility</p:attrName>
                                        </p:attrNameLst>
                                      </p:cBhvr>
                                      <p:to>
                                        <p:strVal val="visible"/>
                                      </p:to>
                                    </p:set>
                                  </p:childTnLst>
                                </p:cTn>
                              </p:par>
                              <p:par>
                                <p:cTn id="105" presetID="1" presetClass="entr" presetSubtype="0" fill="hold" grpId="0" nodeType="withEffect">
                                  <p:stCondLst>
                                    <p:cond delay="0"/>
                                  </p:stCondLst>
                                  <p:childTnLst>
                                    <p:set>
                                      <p:cBhvr>
                                        <p:cTn id="106" dur="1" fill="hold">
                                          <p:stCondLst>
                                            <p:cond delay="0"/>
                                          </p:stCondLst>
                                        </p:cTn>
                                        <p:tgtEl>
                                          <p:spTgt spid="305"/>
                                        </p:tgtEl>
                                        <p:attrNameLst>
                                          <p:attrName>style.visibility</p:attrName>
                                        </p:attrNameLst>
                                      </p:cBhvr>
                                      <p:to>
                                        <p:strVal val="visible"/>
                                      </p:to>
                                    </p:set>
                                  </p:childTnLst>
                                </p:cTn>
                              </p:par>
                            </p:childTnLst>
                          </p:cTn>
                        </p:par>
                      </p:childTnLst>
                    </p:cTn>
                  </p:par>
                  <p:par>
                    <p:cTn id="107" fill="hold">
                      <p:stCondLst>
                        <p:cond delay="indefinite"/>
                      </p:stCondLst>
                      <p:childTnLst>
                        <p:par>
                          <p:cTn id="108" fill="hold">
                            <p:stCondLst>
                              <p:cond delay="0"/>
                            </p:stCondLst>
                            <p:childTnLst>
                              <p:par>
                                <p:cTn id="109" presetID="1" presetClass="entr" presetSubtype="0" fill="hold" nodeType="clickEffect">
                                  <p:stCondLst>
                                    <p:cond delay="0"/>
                                  </p:stCondLst>
                                  <p:childTnLst>
                                    <p:set>
                                      <p:cBhvr>
                                        <p:cTn id="110" dur="1" fill="hold">
                                          <p:stCondLst>
                                            <p:cond delay="0"/>
                                          </p:stCondLst>
                                        </p:cTn>
                                        <p:tgtEl>
                                          <p:spTgt spid="255"/>
                                        </p:tgtEl>
                                        <p:attrNameLst>
                                          <p:attrName>style.visibility</p:attrName>
                                        </p:attrNameLst>
                                      </p:cBhvr>
                                      <p:to>
                                        <p:strVal val="visible"/>
                                      </p:to>
                                    </p:set>
                                  </p:childTnLst>
                                </p:cTn>
                              </p:par>
                              <p:par>
                                <p:cTn id="111" presetID="1" presetClass="entr" presetSubtype="0" fill="hold" nodeType="withEffect">
                                  <p:stCondLst>
                                    <p:cond delay="0"/>
                                  </p:stCondLst>
                                  <p:childTnLst>
                                    <p:set>
                                      <p:cBhvr>
                                        <p:cTn id="112" dur="1" fill="hold">
                                          <p:stCondLst>
                                            <p:cond delay="0"/>
                                          </p:stCondLst>
                                        </p:cTn>
                                        <p:tgtEl>
                                          <p:spTgt spid="245"/>
                                        </p:tgtEl>
                                        <p:attrNameLst>
                                          <p:attrName>style.visibility</p:attrName>
                                        </p:attrNameLst>
                                      </p:cBhvr>
                                      <p:to>
                                        <p:strVal val="visible"/>
                                      </p:to>
                                    </p:set>
                                  </p:childTnLst>
                                </p:cTn>
                              </p:par>
                              <p:par>
                                <p:cTn id="113" presetID="1" presetClass="entr" presetSubtype="0" fill="hold" grpId="0" nodeType="withEffect">
                                  <p:stCondLst>
                                    <p:cond delay="0"/>
                                  </p:stCondLst>
                                  <p:childTnLst>
                                    <p:set>
                                      <p:cBhvr>
                                        <p:cTn id="114" dur="1" fill="hold">
                                          <p:stCondLst>
                                            <p:cond delay="0"/>
                                          </p:stCondLst>
                                        </p:cTn>
                                        <p:tgtEl>
                                          <p:spTgt spid="263"/>
                                        </p:tgtEl>
                                        <p:attrNameLst>
                                          <p:attrName>style.visibility</p:attrName>
                                        </p:attrNameLst>
                                      </p:cBhvr>
                                      <p:to>
                                        <p:strVal val="visible"/>
                                      </p:to>
                                    </p:set>
                                  </p:childTnLst>
                                </p:cTn>
                              </p:par>
                              <p:par>
                                <p:cTn id="115" presetID="1" presetClass="entr" presetSubtype="0" fill="hold" grpId="0" nodeType="withEffect">
                                  <p:stCondLst>
                                    <p:cond delay="0"/>
                                  </p:stCondLst>
                                  <p:childTnLst>
                                    <p:set>
                                      <p:cBhvr>
                                        <p:cTn id="116" dur="1" fill="hold">
                                          <p:stCondLst>
                                            <p:cond delay="0"/>
                                          </p:stCondLst>
                                        </p:cTn>
                                        <p:tgtEl>
                                          <p:spTgt spid="266"/>
                                        </p:tgtEl>
                                        <p:attrNameLst>
                                          <p:attrName>style.visibility</p:attrName>
                                        </p:attrNameLst>
                                      </p:cBhvr>
                                      <p:to>
                                        <p:strVal val="visible"/>
                                      </p:to>
                                    </p:set>
                                  </p:childTnLst>
                                </p:cTn>
                              </p:par>
                              <p:par>
                                <p:cTn id="117" presetID="1" presetClass="entr" presetSubtype="0" fill="hold" grpId="0" nodeType="withEffect">
                                  <p:stCondLst>
                                    <p:cond delay="0"/>
                                  </p:stCondLst>
                                  <p:childTnLst>
                                    <p:set>
                                      <p:cBhvr>
                                        <p:cTn id="118" dur="1" fill="hold">
                                          <p:stCondLst>
                                            <p:cond delay="0"/>
                                          </p:stCondLst>
                                        </p:cTn>
                                        <p:tgtEl>
                                          <p:spTgt spid="230"/>
                                        </p:tgtEl>
                                        <p:attrNameLst>
                                          <p:attrName>style.visibility</p:attrName>
                                        </p:attrNameLst>
                                      </p:cBhvr>
                                      <p:to>
                                        <p:strVal val="visible"/>
                                      </p:to>
                                    </p:set>
                                  </p:childTnLst>
                                </p:cTn>
                              </p:par>
                              <p:par>
                                <p:cTn id="119" presetID="1" presetClass="entr" presetSubtype="0" fill="hold" grpId="0" nodeType="withEffect">
                                  <p:stCondLst>
                                    <p:cond delay="0"/>
                                  </p:stCondLst>
                                  <p:childTnLst>
                                    <p:set>
                                      <p:cBhvr>
                                        <p:cTn id="120" dur="1" fill="hold">
                                          <p:stCondLst>
                                            <p:cond delay="0"/>
                                          </p:stCondLst>
                                        </p:cTn>
                                        <p:tgtEl>
                                          <p:spTgt spid="291"/>
                                        </p:tgtEl>
                                        <p:attrNameLst>
                                          <p:attrName>style.visibility</p:attrName>
                                        </p:attrNameLst>
                                      </p:cBhvr>
                                      <p:to>
                                        <p:strVal val="visible"/>
                                      </p:to>
                                    </p:set>
                                  </p:childTnLst>
                                </p:cTn>
                              </p:par>
                              <p:par>
                                <p:cTn id="121" presetID="1" presetClass="entr" presetSubtype="0" fill="hold" grpId="0" nodeType="withEffect">
                                  <p:stCondLst>
                                    <p:cond delay="0"/>
                                  </p:stCondLst>
                                  <p:childTnLst>
                                    <p:set>
                                      <p:cBhvr>
                                        <p:cTn id="122" dur="1" fill="hold">
                                          <p:stCondLst>
                                            <p:cond delay="0"/>
                                          </p:stCondLst>
                                        </p:cTn>
                                        <p:tgtEl>
                                          <p:spTgt spid="308"/>
                                        </p:tgtEl>
                                        <p:attrNameLst>
                                          <p:attrName>style.visibility</p:attrName>
                                        </p:attrNameLst>
                                      </p:cBhvr>
                                      <p:to>
                                        <p:strVal val="visible"/>
                                      </p:to>
                                    </p:set>
                                  </p:childTnLst>
                                </p:cTn>
                              </p:par>
                            </p:childTnLst>
                          </p:cTn>
                        </p:par>
                      </p:childTnLst>
                    </p:cTn>
                  </p:par>
                  <p:par>
                    <p:cTn id="123" fill="hold">
                      <p:stCondLst>
                        <p:cond delay="indefinite"/>
                      </p:stCondLst>
                      <p:childTnLst>
                        <p:par>
                          <p:cTn id="124" fill="hold">
                            <p:stCondLst>
                              <p:cond delay="0"/>
                            </p:stCondLst>
                            <p:childTnLst>
                              <p:par>
                                <p:cTn id="125" presetID="1" presetClass="entr" presetSubtype="0" fill="hold" nodeType="clickEffect">
                                  <p:stCondLst>
                                    <p:cond delay="0"/>
                                  </p:stCondLst>
                                  <p:childTnLst>
                                    <p:set>
                                      <p:cBhvr>
                                        <p:cTn id="126" dur="1" fill="hold">
                                          <p:stCondLst>
                                            <p:cond delay="0"/>
                                          </p:stCondLst>
                                        </p:cTn>
                                        <p:tgtEl>
                                          <p:spTgt spid="259"/>
                                        </p:tgtEl>
                                        <p:attrNameLst>
                                          <p:attrName>style.visibility</p:attrName>
                                        </p:attrNameLst>
                                      </p:cBhvr>
                                      <p:to>
                                        <p:strVal val="visible"/>
                                      </p:to>
                                    </p:set>
                                  </p:childTnLst>
                                </p:cTn>
                              </p:par>
                              <p:par>
                                <p:cTn id="127" presetID="1" presetClass="entr" presetSubtype="0" fill="hold" nodeType="withEffect">
                                  <p:stCondLst>
                                    <p:cond delay="0"/>
                                  </p:stCondLst>
                                  <p:childTnLst>
                                    <p:set>
                                      <p:cBhvr>
                                        <p:cTn id="128" dur="1" fill="hold">
                                          <p:stCondLst>
                                            <p:cond delay="0"/>
                                          </p:stCondLst>
                                        </p:cTn>
                                        <p:tgtEl>
                                          <p:spTgt spid="246"/>
                                        </p:tgtEl>
                                        <p:attrNameLst>
                                          <p:attrName>style.visibility</p:attrName>
                                        </p:attrNameLst>
                                      </p:cBhvr>
                                      <p:to>
                                        <p:strVal val="visible"/>
                                      </p:to>
                                    </p:set>
                                  </p:childTnLst>
                                </p:cTn>
                              </p:par>
                              <p:par>
                                <p:cTn id="129" presetID="1" presetClass="entr" presetSubtype="0" fill="hold" grpId="0" nodeType="withEffect">
                                  <p:stCondLst>
                                    <p:cond delay="0"/>
                                  </p:stCondLst>
                                  <p:childTnLst>
                                    <p:set>
                                      <p:cBhvr>
                                        <p:cTn id="130" dur="1" fill="hold">
                                          <p:stCondLst>
                                            <p:cond delay="0"/>
                                          </p:stCondLst>
                                        </p:cTn>
                                        <p:tgtEl>
                                          <p:spTgt spid="239"/>
                                        </p:tgtEl>
                                        <p:attrNameLst>
                                          <p:attrName>style.visibility</p:attrName>
                                        </p:attrNameLst>
                                      </p:cBhvr>
                                      <p:to>
                                        <p:strVal val="visible"/>
                                      </p:to>
                                    </p:set>
                                  </p:childTnLst>
                                </p:cTn>
                              </p:par>
                              <p:par>
                                <p:cTn id="131" presetID="1" presetClass="entr" presetSubtype="0" fill="hold" grpId="0" nodeType="withEffect">
                                  <p:stCondLst>
                                    <p:cond delay="0"/>
                                  </p:stCondLst>
                                  <p:childTnLst>
                                    <p:set>
                                      <p:cBhvr>
                                        <p:cTn id="132" dur="1" fill="hold">
                                          <p:stCondLst>
                                            <p:cond delay="0"/>
                                          </p:stCondLst>
                                        </p:cTn>
                                        <p:tgtEl>
                                          <p:spTgt spid="264"/>
                                        </p:tgtEl>
                                        <p:attrNameLst>
                                          <p:attrName>style.visibility</p:attrName>
                                        </p:attrNameLst>
                                      </p:cBhvr>
                                      <p:to>
                                        <p:strVal val="visible"/>
                                      </p:to>
                                    </p:set>
                                  </p:childTnLst>
                                </p:cTn>
                              </p:par>
                              <p:par>
                                <p:cTn id="133" presetID="1" presetClass="entr" presetSubtype="0" fill="hold" grpId="0" nodeType="withEffect">
                                  <p:stCondLst>
                                    <p:cond delay="0"/>
                                  </p:stCondLst>
                                  <p:childTnLst>
                                    <p:set>
                                      <p:cBhvr>
                                        <p:cTn id="134" dur="1" fill="hold">
                                          <p:stCondLst>
                                            <p:cond delay="0"/>
                                          </p:stCondLst>
                                        </p:cTn>
                                        <p:tgtEl>
                                          <p:spTgt spid="278"/>
                                        </p:tgtEl>
                                        <p:attrNameLst>
                                          <p:attrName>style.visibility</p:attrName>
                                        </p:attrNameLst>
                                      </p:cBhvr>
                                      <p:to>
                                        <p:strVal val="visible"/>
                                      </p:to>
                                    </p:set>
                                  </p:childTnLst>
                                </p:cTn>
                              </p:par>
                              <p:par>
                                <p:cTn id="135" presetID="1" presetClass="entr" presetSubtype="0" fill="hold" grpId="0" nodeType="withEffect">
                                  <p:stCondLst>
                                    <p:cond delay="0"/>
                                  </p:stCondLst>
                                  <p:childTnLst>
                                    <p:set>
                                      <p:cBhvr>
                                        <p:cTn id="136" dur="1" fill="hold">
                                          <p:stCondLst>
                                            <p:cond delay="0"/>
                                          </p:stCondLst>
                                        </p:cTn>
                                        <p:tgtEl>
                                          <p:spTgt spid="300"/>
                                        </p:tgtEl>
                                        <p:attrNameLst>
                                          <p:attrName>style.visibility</p:attrName>
                                        </p:attrNameLst>
                                      </p:cBhvr>
                                      <p:to>
                                        <p:strVal val="visible"/>
                                      </p:to>
                                    </p:set>
                                  </p:childTnLst>
                                </p:cTn>
                              </p:par>
                              <p:par>
                                <p:cTn id="137" presetID="1" presetClass="entr" presetSubtype="0" fill="hold" grpId="0" nodeType="withEffect">
                                  <p:stCondLst>
                                    <p:cond delay="0"/>
                                  </p:stCondLst>
                                  <p:childTnLst>
                                    <p:set>
                                      <p:cBhvr>
                                        <p:cTn id="138" dur="1" fill="hold">
                                          <p:stCondLst>
                                            <p:cond delay="0"/>
                                          </p:stCondLst>
                                        </p:cTn>
                                        <p:tgtEl>
                                          <p:spTgt spid="285"/>
                                        </p:tgtEl>
                                        <p:attrNameLst>
                                          <p:attrName>style.visibility</p:attrName>
                                        </p:attrNameLst>
                                      </p:cBhvr>
                                      <p:to>
                                        <p:strVal val="visible"/>
                                      </p:to>
                                    </p:set>
                                  </p:childTnLst>
                                </p:cTn>
                              </p:par>
                              <p:par>
                                <p:cTn id="139" presetID="1" presetClass="entr" presetSubtype="0" fill="hold" grpId="0" nodeType="withEffect">
                                  <p:stCondLst>
                                    <p:cond delay="0"/>
                                  </p:stCondLst>
                                  <p:childTnLst>
                                    <p:set>
                                      <p:cBhvr>
                                        <p:cTn id="140" dur="1" fill="hold">
                                          <p:stCondLst>
                                            <p:cond delay="0"/>
                                          </p:stCondLst>
                                        </p:cTn>
                                        <p:tgtEl>
                                          <p:spTgt spid="286"/>
                                        </p:tgtEl>
                                        <p:attrNameLst>
                                          <p:attrName>style.visibility</p:attrName>
                                        </p:attrNameLst>
                                      </p:cBhvr>
                                      <p:to>
                                        <p:strVal val="visible"/>
                                      </p:to>
                                    </p:set>
                                  </p:childTnLst>
                                </p:cTn>
                              </p:par>
                            </p:childTnLst>
                          </p:cTn>
                        </p:par>
                      </p:childTnLst>
                    </p:cTn>
                  </p:par>
                  <p:par>
                    <p:cTn id="141" fill="hold">
                      <p:stCondLst>
                        <p:cond delay="indefinite"/>
                      </p:stCondLst>
                      <p:childTnLst>
                        <p:par>
                          <p:cTn id="142" fill="hold">
                            <p:stCondLst>
                              <p:cond delay="0"/>
                            </p:stCondLst>
                            <p:childTnLst>
                              <p:par>
                                <p:cTn id="143" presetID="1" presetClass="entr" presetSubtype="0" fill="hold" nodeType="clickEffect">
                                  <p:stCondLst>
                                    <p:cond delay="0"/>
                                  </p:stCondLst>
                                  <p:childTnLst>
                                    <p:set>
                                      <p:cBhvr>
                                        <p:cTn id="144" dur="1" fill="hold">
                                          <p:stCondLst>
                                            <p:cond delay="0"/>
                                          </p:stCondLst>
                                        </p:cTn>
                                        <p:tgtEl>
                                          <p:spTgt spid="260"/>
                                        </p:tgtEl>
                                        <p:attrNameLst>
                                          <p:attrName>style.visibility</p:attrName>
                                        </p:attrNameLst>
                                      </p:cBhvr>
                                      <p:to>
                                        <p:strVal val="visible"/>
                                      </p:to>
                                    </p:set>
                                  </p:childTnLst>
                                </p:cTn>
                              </p:par>
                              <p:par>
                                <p:cTn id="145" presetID="1" presetClass="entr" presetSubtype="0" fill="hold" nodeType="withEffect">
                                  <p:stCondLst>
                                    <p:cond delay="0"/>
                                  </p:stCondLst>
                                  <p:childTnLst>
                                    <p:set>
                                      <p:cBhvr>
                                        <p:cTn id="146" dur="1" fill="hold">
                                          <p:stCondLst>
                                            <p:cond delay="0"/>
                                          </p:stCondLst>
                                        </p:cTn>
                                        <p:tgtEl>
                                          <p:spTgt spid="247"/>
                                        </p:tgtEl>
                                        <p:attrNameLst>
                                          <p:attrName>style.visibility</p:attrName>
                                        </p:attrNameLst>
                                      </p:cBhvr>
                                      <p:to>
                                        <p:strVal val="visible"/>
                                      </p:to>
                                    </p:set>
                                  </p:childTnLst>
                                </p:cTn>
                              </p:par>
                              <p:par>
                                <p:cTn id="147" presetID="1" presetClass="entr" presetSubtype="0" fill="hold" grpId="0" nodeType="withEffect">
                                  <p:stCondLst>
                                    <p:cond delay="0"/>
                                  </p:stCondLst>
                                  <p:childTnLst>
                                    <p:set>
                                      <p:cBhvr>
                                        <p:cTn id="148" dur="1" fill="hold">
                                          <p:stCondLst>
                                            <p:cond delay="0"/>
                                          </p:stCondLst>
                                        </p:cTn>
                                        <p:tgtEl>
                                          <p:spTgt spid="238"/>
                                        </p:tgtEl>
                                        <p:attrNameLst>
                                          <p:attrName>style.visibility</p:attrName>
                                        </p:attrNameLst>
                                      </p:cBhvr>
                                      <p:to>
                                        <p:strVal val="visible"/>
                                      </p:to>
                                    </p:set>
                                  </p:childTnLst>
                                </p:cTn>
                              </p:par>
                              <p:par>
                                <p:cTn id="149" presetID="1" presetClass="entr" presetSubtype="0" fill="hold" grpId="0" nodeType="withEffect">
                                  <p:stCondLst>
                                    <p:cond delay="0"/>
                                  </p:stCondLst>
                                  <p:childTnLst>
                                    <p:set>
                                      <p:cBhvr>
                                        <p:cTn id="150" dur="1" fill="hold">
                                          <p:stCondLst>
                                            <p:cond delay="0"/>
                                          </p:stCondLst>
                                        </p:cTn>
                                        <p:tgtEl>
                                          <p:spTgt spid="273"/>
                                        </p:tgtEl>
                                        <p:attrNameLst>
                                          <p:attrName>style.visibility</p:attrName>
                                        </p:attrNameLst>
                                      </p:cBhvr>
                                      <p:to>
                                        <p:strVal val="visible"/>
                                      </p:to>
                                    </p:set>
                                  </p:childTnLst>
                                </p:cTn>
                              </p:par>
                              <p:par>
                                <p:cTn id="151" presetID="1" presetClass="entr" presetSubtype="0" fill="hold" grpId="0" nodeType="withEffect">
                                  <p:stCondLst>
                                    <p:cond delay="0"/>
                                  </p:stCondLst>
                                  <p:childTnLst>
                                    <p:set>
                                      <p:cBhvr>
                                        <p:cTn id="152" dur="1" fill="hold">
                                          <p:stCondLst>
                                            <p:cond delay="0"/>
                                          </p:stCondLst>
                                        </p:cTn>
                                        <p:tgtEl>
                                          <p:spTgt spid="220"/>
                                        </p:tgtEl>
                                        <p:attrNameLst>
                                          <p:attrName>style.visibility</p:attrName>
                                        </p:attrNameLst>
                                      </p:cBhvr>
                                      <p:to>
                                        <p:strVal val="visible"/>
                                      </p:to>
                                    </p:set>
                                  </p:childTnLst>
                                </p:cTn>
                              </p:par>
                              <p:par>
                                <p:cTn id="153" presetID="1" presetClass="entr" presetSubtype="0" fill="hold" grpId="0" nodeType="withEffect">
                                  <p:stCondLst>
                                    <p:cond delay="0"/>
                                  </p:stCondLst>
                                  <p:childTnLst>
                                    <p:set>
                                      <p:cBhvr>
                                        <p:cTn id="154" dur="1" fill="hold">
                                          <p:stCondLst>
                                            <p:cond delay="0"/>
                                          </p:stCondLst>
                                        </p:cTn>
                                        <p:tgtEl>
                                          <p:spTgt spid="298"/>
                                        </p:tgtEl>
                                        <p:attrNameLst>
                                          <p:attrName>style.visibility</p:attrName>
                                        </p:attrNameLst>
                                      </p:cBhvr>
                                      <p:to>
                                        <p:strVal val="visible"/>
                                      </p:to>
                                    </p:set>
                                  </p:childTnLst>
                                </p:cTn>
                              </p:par>
                              <p:par>
                                <p:cTn id="155" presetID="1" presetClass="entr" presetSubtype="0" fill="hold" grpId="0" nodeType="withEffect">
                                  <p:stCondLst>
                                    <p:cond delay="0"/>
                                  </p:stCondLst>
                                  <p:childTnLst>
                                    <p:set>
                                      <p:cBhvr>
                                        <p:cTn id="156" dur="1" fill="hold">
                                          <p:stCondLst>
                                            <p:cond delay="0"/>
                                          </p:stCondLst>
                                        </p:cTn>
                                        <p:tgtEl>
                                          <p:spTgt spid="299"/>
                                        </p:tgtEl>
                                        <p:attrNameLst>
                                          <p:attrName>style.visibility</p:attrName>
                                        </p:attrNameLst>
                                      </p:cBhvr>
                                      <p:to>
                                        <p:strVal val="visible"/>
                                      </p:to>
                                    </p:set>
                                  </p:childTnLst>
                                </p:cTn>
                              </p:par>
                              <p:par>
                                <p:cTn id="157" presetID="1" presetClass="entr" presetSubtype="0" fill="hold" grpId="0" nodeType="withEffect">
                                  <p:stCondLst>
                                    <p:cond delay="0"/>
                                  </p:stCondLst>
                                  <p:childTnLst>
                                    <p:set>
                                      <p:cBhvr>
                                        <p:cTn id="158" dur="1" fill="hold">
                                          <p:stCondLst>
                                            <p:cond delay="0"/>
                                          </p:stCondLst>
                                        </p:cTn>
                                        <p:tgtEl>
                                          <p:spTgt spid="287"/>
                                        </p:tgtEl>
                                        <p:attrNameLst>
                                          <p:attrName>style.visibility</p:attrName>
                                        </p:attrNameLst>
                                      </p:cBhvr>
                                      <p:to>
                                        <p:strVal val="visible"/>
                                      </p:to>
                                    </p:set>
                                  </p:childTnLst>
                                </p:cTn>
                              </p:par>
                              <p:par>
                                <p:cTn id="159" presetID="1" presetClass="entr" presetSubtype="0" fill="hold" grpId="0" nodeType="withEffect">
                                  <p:stCondLst>
                                    <p:cond delay="0"/>
                                  </p:stCondLst>
                                  <p:childTnLst>
                                    <p:set>
                                      <p:cBhvr>
                                        <p:cTn id="160" dur="1" fill="hold">
                                          <p:stCondLst>
                                            <p:cond delay="0"/>
                                          </p:stCondLst>
                                        </p:cTn>
                                        <p:tgtEl>
                                          <p:spTgt spid="30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4" grpId="0" animBg="1"/>
      <p:bldP spid="305" grpId="0" animBg="1"/>
      <p:bldP spid="309" grpId="0" animBg="1"/>
      <p:bldP spid="237" grpId="0" animBg="1"/>
      <p:bldP spid="236" grpId="0" animBg="1"/>
      <p:bldP spid="242" grpId="0" animBg="1"/>
      <p:bldP spid="239" grpId="0" animBg="1"/>
      <p:bldP spid="238" grpId="0" animBg="1"/>
      <p:bldP spid="263" grpId="0" animBg="1"/>
      <p:bldP spid="264" grpId="0" animBg="1"/>
      <p:bldP spid="266" grpId="0" animBg="1"/>
      <p:bldP spid="231" grpId="0" animBg="1"/>
      <p:bldP spid="230" grpId="0" animBg="1"/>
      <p:bldP spid="226" grpId="0" animBg="1"/>
      <p:bldP spid="265" grpId="0" animBg="1"/>
      <p:bldP spid="273" grpId="0" animBg="1"/>
      <p:bldP spid="275" grpId="0" animBg="1"/>
      <p:bldP spid="276" grpId="0" animBg="1"/>
      <p:bldP spid="277" grpId="0" animBg="1"/>
      <p:bldP spid="278" grpId="0" animBg="1"/>
      <p:bldP spid="220" grpId="0" animBg="1"/>
      <p:bldP spid="11" grpId="0" animBg="1"/>
      <p:bldP spid="13" grpId="0" animBg="1"/>
      <p:bldP spid="283" grpId="0" animBg="1"/>
      <p:bldP spid="288" grpId="0" animBg="1"/>
      <p:bldP spid="291" grpId="0" animBg="1"/>
      <p:bldP spid="292" grpId="0" animBg="1"/>
      <p:bldP spid="293" grpId="0" animBg="1"/>
      <p:bldP spid="8" grpId="0" animBg="1"/>
      <p:bldP spid="294" grpId="0" animBg="1"/>
      <p:bldP spid="295" grpId="0" animBg="1"/>
      <p:bldP spid="274" grpId="0" animBg="1"/>
      <p:bldP spid="228" grpId="0" animBg="1"/>
      <p:bldP spid="229" grpId="0" animBg="1"/>
      <p:bldP spid="298" grpId="0" animBg="1"/>
      <p:bldP spid="299" grpId="0" animBg="1"/>
      <p:bldP spid="300" grpId="0" animBg="1"/>
      <p:bldP spid="301" grpId="0" animBg="1"/>
      <p:bldP spid="297" grpId="0" animBg="1"/>
      <p:bldP spid="296" grpId="0" animBg="1"/>
      <p:bldP spid="280" grpId="0" animBg="1"/>
      <p:bldP spid="282" grpId="0" animBg="1"/>
      <p:bldP spid="285" grpId="0" animBg="1"/>
      <p:bldP spid="286" grpId="0" animBg="1"/>
      <p:bldP spid="287" grpId="0" animBg="1"/>
      <p:bldP spid="302" grpId="0" animBg="1"/>
      <p:bldP spid="303" grpId="0" animBg="1"/>
      <p:bldP spid="222" grpId="0" animBg="1"/>
      <p:bldP spid="308" grpId="0" animBg="1"/>
      <p:bldP spid="310" grpId="0" animBg="1"/>
      <p:bldP spid="311" grpId="0" animBg="1"/>
      <p:bldP spid="29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KtZ66bsp6q4wV5lOBmDEjw"/>
</p:tagLst>
</file>

<file path=ppt/theme/theme1.xml><?xml version="1.0" encoding="utf-8"?>
<a:theme xmlns:a="http://schemas.openxmlformats.org/drawingml/2006/main" name="Titres et chapitres">
  <a:themeElements>
    <a:clrScheme name="Shifters">
      <a:dk1>
        <a:srgbClr val="00004B"/>
      </a:dk1>
      <a:lt1>
        <a:srgbClr val="FFFFFF"/>
      </a:lt1>
      <a:dk2>
        <a:srgbClr val="00004B"/>
      </a:dk2>
      <a:lt2>
        <a:srgbClr val="0023AA"/>
      </a:lt2>
      <a:accent1>
        <a:srgbClr val="4BD2AF"/>
      </a:accent1>
      <a:accent2>
        <a:srgbClr val="00788C"/>
      </a:accent2>
      <a:accent3>
        <a:srgbClr val="2D4182"/>
      </a:accent3>
      <a:accent4>
        <a:srgbClr val="DC4B78"/>
      </a:accent4>
      <a:accent5>
        <a:srgbClr val="F091B9"/>
      </a:accent5>
      <a:accent6>
        <a:srgbClr val="B7ECDE"/>
      </a:accent6>
      <a:hlink>
        <a:srgbClr val="00788C"/>
      </a:hlink>
      <a:folHlink>
        <a:srgbClr val="00788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xte et figures">
  <a:themeElements>
    <a:clrScheme name="Shifters">
      <a:dk1>
        <a:srgbClr val="282828"/>
      </a:dk1>
      <a:lt1>
        <a:srgbClr val="FFFFFF"/>
      </a:lt1>
      <a:dk2>
        <a:srgbClr val="00004B"/>
      </a:dk2>
      <a:lt2>
        <a:srgbClr val="0023AA"/>
      </a:lt2>
      <a:accent1>
        <a:srgbClr val="4BD2AF"/>
      </a:accent1>
      <a:accent2>
        <a:srgbClr val="00788C"/>
      </a:accent2>
      <a:accent3>
        <a:srgbClr val="2D4182"/>
      </a:accent3>
      <a:accent4>
        <a:srgbClr val="DC4B78"/>
      </a:accent4>
      <a:accent5>
        <a:srgbClr val="F091B9"/>
      </a:accent5>
      <a:accent6>
        <a:srgbClr val="B7ECDE"/>
      </a:accent6>
      <a:hlink>
        <a:srgbClr val="00788C"/>
      </a:hlink>
      <a:folHlink>
        <a:srgbClr val="00788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hème Offic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546</Words>
  <Application>Microsoft Office PowerPoint</Application>
  <PresentationFormat>Grand écran</PresentationFormat>
  <Paragraphs>252</Paragraphs>
  <Slides>9</Slides>
  <Notes>5</Notes>
  <HiddenSlides>0</HiddenSlides>
  <MMClips>0</MMClips>
  <ScaleCrop>false</ScaleCrop>
  <HeadingPairs>
    <vt:vector size="8" baseType="variant">
      <vt:variant>
        <vt:lpstr>Polices utilisées</vt:lpstr>
      </vt:variant>
      <vt:variant>
        <vt:i4>6</vt:i4>
      </vt:variant>
      <vt:variant>
        <vt:lpstr>Thème</vt:lpstr>
      </vt:variant>
      <vt:variant>
        <vt:i4>3</vt:i4>
      </vt:variant>
      <vt:variant>
        <vt:lpstr>Serveurs OLE incorporés</vt:lpstr>
      </vt:variant>
      <vt:variant>
        <vt:i4>1</vt:i4>
      </vt:variant>
      <vt:variant>
        <vt:lpstr>Titres des diapositives</vt:lpstr>
      </vt:variant>
      <vt:variant>
        <vt:i4>9</vt:i4>
      </vt:variant>
    </vt:vector>
  </HeadingPairs>
  <TitlesOfParts>
    <vt:vector size="19" baseType="lpstr">
      <vt:lpstr>Arial</vt:lpstr>
      <vt:lpstr>Arial Rounded MT Bold</vt:lpstr>
      <vt:lpstr>Calibri</vt:lpstr>
      <vt:lpstr>Calibri Light</vt:lpstr>
      <vt:lpstr>Century Gothic</vt:lpstr>
      <vt:lpstr>Tahoma</vt:lpstr>
      <vt:lpstr>Titres et chapitres</vt:lpstr>
      <vt:lpstr>Texte et figures</vt:lpstr>
      <vt:lpstr>Thème Office</vt:lpstr>
      <vt:lpstr>think-cell Folie</vt:lpstr>
      <vt:lpstr>Présentation PowerPoint</vt:lpstr>
      <vt:lpstr>Transformer l’économie française, avec ou sans nucléaire ?</vt:lpstr>
      <vt:lpstr>Présentation PowerPoint</vt:lpstr>
      <vt:lpstr>Présentation PowerPoint</vt:lpstr>
      <vt:lpstr>Transformer l’économie française, avec ou sans nucléaire ?</vt:lpstr>
      <vt:lpstr>2- Consommation mondiale d’énergie </vt:lpstr>
      <vt:lpstr>2- Consommation mondiale d’énergie</vt:lpstr>
      <vt:lpstr>Transformer l’économie française, avec ou sans nucléaire ?</vt:lpstr>
      <vt:lpstr>Le nucléaire dans le mond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Nicolas Hervé</dc:creator>
  <cp:lastModifiedBy>FNE IDF Comptabilité</cp:lastModifiedBy>
  <cp:revision>81</cp:revision>
  <dcterms:created xsi:type="dcterms:W3CDTF">2021-05-25T14:39:04Z</dcterms:created>
  <dcterms:modified xsi:type="dcterms:W3CDTF">2023-01-26T14:04:45Z</dcterms:modified>
</cp:coreProperties>
</file>